
<file path=[Content_Types].xml><?xml version="1.0" encoding="utf-8"?>
<Types xmlns="http://schemas.openxmlformats.org/package/2006/content-types">
  <Default Extension="rels" ContentType="application/vnd.openxmlformats-package.relationships+xml"/>
  <Default Extension="xml" ContentType="application/xml"/>
  <Default Extension="jpeg" ContentType="image/jpe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png" ContentType="image/png"/>
  <Default Extension="wdp" ContentType="image/vnd.ms-photo"/>
  <Override PartName="/docProps/app.xml" ContentType="application/vnd.openxmlformats-officedocument.extended-properties+xml"/>
  <Override PartName="/docProps/core.xml" ContentType="application/vnd.openxmlformats-package.core-properties+xml"/>
  <Override PartName="/ppt/charts/chart1.xml" ContentType="application/vnd.openxmlformats-officedocument.drawingml.chart+xml"/>
  <Override PartName="/ppt/charts/colors1.xml" ContentType="application/vnd.ms-office.chartcolorstyle+xml"/>
  <Override PartName="/ppt/charts/style1.xml" ContentType="application/vnd.ms-office.chart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65279;<?xml version="1.0" encoding="utf-8" standalone="yes"?><Relationships xmlns="http://schemas.openxmlformats.org/package/2006/relationships"><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package/2006/relationships/metadata/thumbnail" Target="docProps/thumbnail.jpeg" /></Relationships>
</file>

<file path=ppt/presentation.xml><?xml version="1.0" encoding="utf-8"?>
<!--Generated by Aspose.Slides for .NET 19.12-->
<p:presentation xmlns:r="http://schemas.openxmlformats.org/officeDocument/2006/relationships" xmlns:a="http://schemas.openxmlformats.org/drawingml/2006/main" xmlns:p="http://schemas.openxmlformats.org/presentationml/2006/main" saveSubsetFonts="1">
  <p:sldMasterIdLst>
    <p:sldMasterId id="2147483648" r:id="rId1"/>
  </p:sldMasterIdLst>
  <p:notesMasterIdLst>
    <p:notesMasterId r:id="rId2"/>
  </p:notesMasterIdLst>
  <p:handoutMasterIdLst>
    <p:handoutMasterId r:id="rId3"/>
  </p:handoutMasterIdLst>
  <p:sldIdLst>
    <p:sldId id="439" r:id="rId4"/>
    <p:sldId id="440" r:id="rId5"/>
    <p:sldId id="295" r:id="rId6"/>
    <p:sldId id="437" r:id="rId7"/>
    <p:sldId id="441" r:id="rId8"/>
    <p:sldId id="296" r:id="rId9"/>
    <p:sldId id="297" r:id="rId10"/>
    <p:sldId id="298" r:id="rId11"/>
    <p:sldId id="299" r:id="rId12"/>
    <p:sldId id="300" r:id="rId13"/>
    <p:sldId id="442" r:id="rId14"/>
    <p:sldId id="443" r:id="rId15"/>
    <p:sldId id="444" r:id="rId16"/>
    <p:sldId id="308" r:id="rId17"/>
    <p:sldId id="309" r:id="rId18"/>
    <p:sldId id="284" r:id="rId19"/>
    <p:sldId id="447" r:id="rId20"/>
    <p:sldId id="448" r:id="rId21"/>
    <p:sldId id="445" r:id="rId22"/>
    <p:sldId id="317" r:id="rId23"/>
    <p:sldId id="323" r:id="rId24"/>
    <p:sldId id="436" r:id="rId25"/>
    <p:sldId id="321" r:id="rId26"/>
    <p:sldId id="446" r:id="rId27"/>
  </p:sldIdLst>
  <p:sldSz cx="12192000" cy="6858000"/>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77F"/>
    <a:srgbClr val="02BAC8"/>
    <a:srgbClr val="06DBE7"/>
    <a:srgbClr val="00ABF7"/>
    <a:srgbClr val="EBBF20"/>
    <a:srgbClr val="047CC5"/>
    <a:srgbClr val="85BB24"/>
    <a:srgbClr val="BAE36F"/>
    <a:srgbClr val="86BC25"/>
    <a:srgbClr val="43631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r="http://schemas.openxmlformats.org/officeDocument/2006/relationships"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427" autoAdjust="0"/>
    <p:restoredTop sz="94934" autoAdjust="0"/>
  </p:normalViewPr>
  <p:slideViewPr>
    <p:cSldViewPr snapToGrid="0" showGuides="1">
      <p:cViewPr>
        <p:scale>
          <a:sx n="50" d="100"/>
          <a:sy n="50" d="100"/>
        </p:scale>
        <p:origin x="744" y="378"/>
      </p:cViewPr>
      <p:guideLst>
        <p:guide pos="3840"/>
        <p:guide orient="horz" pos="2160"/>
      </p:guideLst>
    </p:cSldViewPr>
  </p:slideViewPr>
  <p:notesTextViewPr>
    <p:cViewPr>
      <p:scale>
        <a:sx n="1" d="1"/>
        <a:sy n="1" d="1"/>
      </p:scale>
      <p:origin x="0" y="0"/>
    </p:cViewPr>
  </p:notesTextViewPr>
  <p:sorterViewPr>
    <p:cViewPr>
      <p:scale>
        <a:sx n="60" d="100"/>
        <a:sy n="60" d="100"/>
      </p:scale>
      <p:origin x="0" y="0"/>
    </p:cViewPr>
  </p:sorterViewPr>
  <p:notesViewPr>
    <p:cSldViewPr snapToGrid="0" showGuides="1">
      <p:cViewPr varScale="1">
        <p:scale>
          <a:sx n="70" d="100"/>
          <a:sy n="70" d="100"/>
        </p:scale>
        <p:origin x="2416" y="176"/>
      </p:cViewPr>
      <p:guideLst/>
    </p:cSldViewPr>
  </p:notesViewPr>
  <p:gridSpacing cx="76200" cy="76200"/>
</p:viewPr>
</file>

<file path=ppt/_rels/presentation.xml.rels>&#65279;<?xml version="1.0" encoding="utf-8" standalone="yes"?><Relationships xmlns="http://schemas.openxmlformats.org/package/2006/relationships"><Relationship Id="rId1" Type="http://schemas.openxmlformats.org/officeDocument/2006/relationships/slideMaster" Target="slideMasters/slideMaster1.xml" /><Relationship Id="rId10" Type="http://schemas.openxmlformats.org/officeDocument/2006/relationships/slide" Target="slides/slide7.xml" /><Relationship Id="rId11" Type="http://schemas.openxmlformats.org/officeDocument/2006/relationships/slide" Target="slides/slide8.xml" /><Relationship Id="rId12" Type="http://schemas.openxmlformats.org/officeDocument/2006/relationships/slide" Target="slides/slide9.xml" /><Relationship Id="rId13" Type="http://schemas.openxmlformats.org/officeDocument/2006/relationships/slide" Target="slides/slide10.xml" /><Relationship Id="rId14" Type="http://schemas.openxmlformats.org/officeDocument/2006/relationships/slide" Target="slides/slide11.xml" /><Relationship Id="rId15" Type="http://schemas.openxmlformats.org/officeDocument/2006/relationships/slide" Target="slides/slide12.xml" /><Relationship Id="rId16" Type="http://schemas.openxmlformats.org/officeDocument/2006/relationships/slide" Target="slides/slide13.xml" /><Relationship Id="rId17" Type="http://schemas.openxmlformats.org/officeDocument/2006/relationships/slide" Target="slides/slide14.xml" /><Relationship Id="rId18" Type="http://schemas.openxmlformats.org/officeDocument/2006/relationships/slide" Target="slides/slide15.xml" /><Relationship Id="rId19" Type="http://schemas.openxmlformats.org/officeDocument/2006/relationships/slide" Target="slides/slide16.xml" /><Relationship Id="rId2" Type="http://schemas.openxmlformats.org/officeDocument/2006/relationships/notesMaster" Target="notesMasters/notesMaster1.xml" /><Relationship Id="rId20" Type="http://schemas.openxmlformats.org/officeDocument/2006/relationships/slide" Target="slides/slide17.xml" /><Relationship Id="rId21" Type="http://schemas.openxmlformats.org/officeDocument/2006/relationships/slide" Target="slides/slide18.xml" /><Relationship Id="rId22" Type="http://schemas.openxmlformats.org/officeDocument/2006/relationships/slide" Target="slides/slide19.xml" /><Relationship Id="rId23" Type="http://schemas.openxmlformats.org/officeDocument/2006/relationships/slide" Target="slides/slide20.xml" /><Relationship Id="rId24" Type="http://schemas.openxmlformats.org/officeDocument/2006/relationships/slide" Target="slides/slide21.xml" /><Relationship Id="rId25" Type="http://schemas.openxmlformats.org/officeDocument/2006/relationships/slide" Target="slides/slide22.xml" /><Relationship Id="rId26" Type="http://schemas.openxmlformats.org/officeDocument/2006/relationships/slide" Target="slides/slide23.xml" /><Relationship Id="rId27" Type="http://schemas.openxmlformats.org/officeDocument/2006/relationships/slide" Target="slides/slide24.xml" /><Relationship Id="rId28" Type="http://schemas.openxmlformats.org/officeDocument/2006/relationships/tags" Target="tags/tag3.xml" /><Relationship Id="rId29" Type="http://schemas.openxmlformats.org/officeDocument/2006/relationships/presProps" Target="presProps.xml" /><Relationship Id="rId3" Type="http://schemas.openxmlformats.org/officeDocument/2006/relationships/handoutMaster" Target="handoutMasters/handoutMaster1.xml" /><Relationship Id="rId30" Type="http://schemas.openxmlformats.org/officeDocument/2006/relationships/viewProps" Target="viewProps.xml" /><Relationship Id="rId31" Type="http://schemas.openxmlformats.org/officeDocument/2006/relationships/theme" Target="theme/theme1.xml" /><Relationship Id="rId32" Type="http://schemas.openxmlformats.org/officeDocument/2006/relationships/tableStyles" Target="tableStyles.xml" /><Relationship Id="rId4" Type="http://schemas.openxmlformats.org/officeDocument/2006/relationships/slide" Target="slides/slide1.xml" /><Relationship Id="rId5" Type="http://schemas.openxmlformats.org/officeDocument/2006/relationships/slide" Target="slides/slide2.xml" /><Relationship Id="rId6" Type="http://schemas.openxmlformats.org/officeDocument/2006/relationships/slide" Target="slides/slide3.xml" /><Relationship Id="rId7" Type="http://schemas.openxmlformats.org/officeDocument/2006/relationships/slide" Target="slides/slide4.xml" /><Relationship Id="rId8" Type="http://schemas.openxmlformats.org/officeDocument/2006/relationships/slide" Target="slides/slide5.xml" /><Relationship Id="rId9" Type="http://schemas.openxmlformats.org/officeDocument/2006/relationships/slide" Target="slides/slide6.xml" /></Relationships>
</file>

<file path=ppt/charts/_rels/chart1.xml.rels>&#65279;<?xml version="1.0" encoding="utf-8" standalone="yes"?><Relationships xmlns="http://schemas.openxmlformats.org/package/2006/relationships"><Relationship Id="rId1" Type="http://schemas.openxmlformats.org/officeDocument/2006/relationships/package" Target="../embeddings/Microsoft_Excel_Worksheet2.xlsx" /><Relationship Id="rId2" Type="http://schemas.microsoft.com/office/2011/relationships/chartColorStyle" Target="colors1.xml" /><Relationship Id="rId3" Type="http://schemas.microsoft.com/office/2011/relationships/chartStyle" Target="style1.xml" /></Relationships>
</file>

<file path=ppt/charts/chart1.xml><?xml version="1.0" encoding="utf-8"?>
<c:chartSpace xmlns:a="http://schemas.openxmlformats.org/drawingml/2006/main" xmlns:r="http://schemas.openxmlformats.org/officeDocument/2006/relationships" xmlns:c="http://schemas.openxmlformats.org/drawingml/20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doughnutChart>
        <c:varyColors val="1"/>
        <c:ser>
          <c:idx val="0"/>
          <c:order val="0"/>
          <c:tx>
            <c:strRef>
              <c:f>Sheet1!$B$1</c:f>
              <c:strCache>
                <c:ptCount val="1"/>
                <c:pt idx="0">
                  <c:v>Sales</c:v>
                </c:pt>
              </c:strCache>
            </c:strRef>
          </c:tx>
          <c:dPt>
            <c:idx val="0"/>
            <c:invertIfNegative val="1"/>
            <c:spPr>
              <a:solidFill>
                <a:srgbClr val="00ABF7"/>
              </a:solidFill>
              <a:ln w="19050">
                <a:solidFill>
                  <a:schemeClr val="lt1"/>
                </a:solidFill>
              </a:ln>
            </c:spPr>
            <c:extLst>
              <c:ext xmlns:c16="http://schemas.microsoft.com/office/drawing/2014/chart" uri="{C3380CC4-5D6E-409C-BE32-E72D297353CC}">
                <c16:uniqueId val="{00000001-765A-604F-A893-241DF5B9DEEA}"/>
              </c:ext>
            </c:extLst>
          </c:dPt>
          <c:dPt>
            <c:idx val="1"/>
            <c:invertIfNegative val="1"/>
            <c:spPr>
              <a:solidFill>
                <a:srgbClr val="00677F"/>
              </a:solidFill>
              <a:ln w="19050">
                <a:solidFill>
                  <a:schemeClr val="lt1"/>
                </a:solidFill>
              </a:ln>
            </c:spPr>
            <c:extLst>
              <c:ext xmlns:c16="http://schemas.microsoft.com/office/drawing/2014/chart" uri="{C3380CC4-5D6E-409C-BE32-E72D297353CC}">
                <c16:uniqueId val="{00000002-105A-4E45-8553-17481BFF3EFA}"/>
              </c:ext>
            </c:extLst>
          </c:dPt>
          <c:dPt>
            <c:idx val="2"/>
            <c:invertIfNegative val="1"/>
            <c:spPr>
              <a:solidFill>
                <a:schemeClr val="accent3"/>
              </a:solidFill>
              <a:ln w="19050">
                <a:solidFill>
                  <a:schemeClr val="lt1"/>
                </a:solidFill>
              </a:ln>
            </c:spPr>
            <c:extLst>
              <c:ext xmlns:c16="http://schemas.microsoft.com/office/drawing/2014/chart" uri="{C3380CC4-5D6E-409C-BE32-E72D297353CC}">
                <c16:uniqueId val="{00000003-105A-4E45-8553-17481BFF3EFA}"/>
              </c:ext>
            </c:extLst>
          </c:dPt>
          <c:dPt>
            <c:idx val="3"/>
            <c:invertIfNegative val="1"/>
            <c:spPr>
              <a:solidFill>
                <a:schemeClr val="bg1">
                  <a:lumMod val="95000"/>
                </a:schemeClr>
              </a:solidFill>
              <a:ln w="19050">
                <a:solidFill>
                  <a:schemeClr val="lt1"/>
                </a:solidFill>
              </a:ln>
            </c:spPr>
            <c:extLst>
              <c:ext xmlns:c16="http://schemas.microsoft.com/office/drawing/2014/chart" uri="{C3380CC4-5D6E-409C-BE32-E72D297353CC}">
                <c16:uniqueId val="{00000001-105A-4E45-8553-17481BFF3EFA}"/>
              </c:ext>
            </c:extLst>
          </c:dPt>
          <c:dLbls>
            <c:dLbl>
              <c:idx val="0"/>
              <c:showLegendKey val="0"/>
              <c:showVal val="1"/>
              <c:showCatName val="0"/>
              <c:showSerName val="0"/>
              <c:showPercent val="0"/>
              <c:showBubbleSize val="0"/>
              <c:extLst/>
            </c:dLbl>
            <c:dLbl>
              <c:idx val="1"/>
              <c:showLegendKey val="0"/>
              <c:showVal val="1"/>
              <c:showCatName val="0"/>
              <c:showSerName val="0"/>
              <c:showPercent val="0"/>
              <c:showBubbleSize val="0"/>
              <c:extLst/>
            </c:dLbl>
            <c:dLbl>
              <c:idx val="2"/>
              <c:tx>
                <c:rich>
                  <a:bodyPr/>
                  <a:lstStyle/>
                  <a:p>
                    <a:pPr>
                      <a:defRPr/>
                    </a:pPr>
                    <a:fld id="{09D66A15-6662-2C4B-9F31-497558D1414E}" type="VALUE">
                      <a:rPr lang="en-US">
                        <a:solidFill>
                          <a:schemeClr val="tx1"/>
                        </a:solidFill>
                      </a:rPr>
                      <a:t>[VALOR]</a:t>
                    </a:fld>
                    <a:endParaRPr lang="es-PE"/>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05A-4E45-8553-17481BFF3EFA}"/>
                </c:ext>
              </c:extLst>
            </c:dLbl>
            <c:dLbl>
              <c:idx val="3"/>
              <c:tx>
                <c:rich>
                  <a:bodyPr/>
                  <a:lstStyle/>
                  <a:p>
                    <a:pPr>
                      <a:defRPr/>
                    </a:pPr>
                    <a:fld id="{410352C1-0C6A-6943-8642-952B967C2F6B}" type="VALUE">
                      <a:rPr lang="en-US">
                        <a:solidFill>
                          <a:schemeClr val="tx1"/>
                        </a:solidFill>
                      </a:rPr>
                      <a:t>[VALOR]</a:t>
                    </a:fld>
                    <a:endParaRPr lang="es-PE"/>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05A-4E45-8553-17481BFF3EFA}"/>
                </c:ext>
              </c:extLst>
            </c:dLbl>
            <c:spPr>
              <a:noFill/>
              <a:ln>
                <a:noFill/>
              </a:ln>
              <a:effectLst/>
            </c:spPr>
            <c:txPr>
              <a:bodyPr rot="0" spcFirstLastPara="1" vertOverflow="ellipsis" vert="horz" wrap="square" lIns="38100" tIns="19050" rIns="38100" bIns="19050" anchor="ctr" anchorCtr="1">
                <a:spAutoFit/>
              </a:bodyPr>
              <a:p>
                <a:pPr>
                  <a:defRPr sz="1400" b="1" i="0" u="none" strike="noStrike" kern="1200" baseline="0" smtId="4294967295">
                    <a:solidFill>
                      <a:schemeClr val="bg1"/>
                    </a:solidFill>
                    <a:latin typeface="Segoe UI" panose="020b0502040204020203" pitchFamily="34" charset="0"/>
                    <a:ea typeface="+mn-ea"/>
                    <a:cs typeface="Segoe UI" panose="020b0502040204020203" pitchFamily="34" charset="0"/>
                  </a:defRPr>
                </a:pPr>
                <a:endParaRPr sz="1400" b="1" i="0" u="none" strike="noStrike" kern="1200" baseline="0" smtId="4294967295">
                  <a:solidFill>
                    <a:schemeClr val="bg1"/>
                  </a:solidFill>
                  <a:latin typeface="Segoe UI" panose="020b0502040204020203" pitchFamily="34" charset="0"/>
                  <a:ea typeface="+mn-ea"/>
                  <a:cs typeface="Segoe UI" panose="020b0502040204020203" pitchFamily="34" charset="0"/>
                </a:endParaRPr>
              </a:p>
            </c:txPr>
            <c:showLegendKey val="0"/>
            <c:showVal val="1"/>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c:spPr>
                </c15:leaderLines>
              </c:ext>
            </c:extLst>
          </c:dLbls>
          <c:cat>
            <c:strRef>
              <c:f>Sheet1!$A$2:$A$5</c:f>
              <c:strCache>
                <c:ptCount val="4"/>
                <c:pt idx="0">
                  <c:v>1st Qtr</c:v>
                </c:pt>
                <c:pt idx="1">
                  <c:v>2nd Qtr</c:v>
                </c:pt>
                <c:pt idx="2">
                  <c:v>3rd Qtr</c:v>
                </c:pt>
                <c:pt idx="3">
                  <c:v>4th Qtr</c:v>
                </c:pt>
              </c:strCache>
            </c:strRef>
          </c:cat>
          <c:val>
            <c:numRef>
              <c:f>Sheet1!$B$2:$B$5</c:f>
              <c:numCache>
                <c:formatCode>General</c:formatCode>
                <c:ptCount val="4"/>
                <c:pt idx="0">
                  <c:v>8</c:v>
                </c:pt>
                <c:pt idx="1">
                  <c:v>3</c:v>
                </c:pt>
                <c:pt idx="2">
                  <c:v>1.4</c:v>
                </c:pt>
                <c:pt idx="3">
                  <c:v>3</c:v>
                </c:pt>
              </c:numCache>
            </c:numRef>
          </c:val>
          <c:extLst>
            <c:ext xmlns:c16="http://schemas.microsoft.com/office/drawing/2014/chart" uri="{C3380CC4-5D6E-409C-BE32-E72D297353CC}">
              <c16:uniqueId val="{00000000-105A-4E45-8553-17481BFF3EFA}"/>
            </c:ext>
          </c:extLst>
        </c:ser>
        <c:dLbls>
          <c:showLegendKey val="0"/>
          <c:showVal val="0"/>
          <c:showCatName val="0"/>
          <c:showSerName val="0"/>
          <c:showPercent val="0"/>
          <c:showBubbleSize val="0"/>
          <c:showLeaderLines val="0"/>
        </c:dLbls>
        <c:firstSliceAng/>
        <c:holeSize val="54"/>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s-PE"/>
    </a:p>
  </c:txPr>
  <c:externalData r:id="rId1">
    <c:autoUpdate val="0"/>
  </c:externalData>
</c:chartSpace>
</file>

<file path=ppt/charts/colors1.xml><?xml version="1.0" encoding="utf-8"?>
<cs:colorStyle xmlns:a="http://schemas.openxmlformats.org/drawingml/2006/main" xmlns:cs="http://schemas.microsoft.com/office/drawing/2012/chartStyle"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a="http://schemas.openxmlformats.org/drawingml/2006/main" xmlns:r="http://schemas.openxmlformats.org/officeDocument/2006/relationships" xmlns:cs="http://schemas.microsoft.com/office/drawing/2012/chartStyle"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65279;<?xml version="1.0" encoding="utf-8" standalone="yes"?><Relationships xmlns="http://schemas.openxmlformats.org/package/2006/relationships"><Relationship Id="rId1" Type="http://schemas.openxmlformats.org/officeDocument/2006/relationships/image" Target="../media/image2.jpeg" /></Relationships>
</file>

<file path=ppt/handoutMasters/_rels/handoutMaster1.xml.rels>&#65279;<?xml version="1.0" encoding="utf-8" standalone="yes"?><Relationships xmlns="http://schemas.openxmlformats.org/package/2006/relationships"><Relationship Id="rId1" Type="http://schemas.openxmlformats.org/officeDocument/2006/relationships/theme" Target="../theme/theme3.xml" /></Relationships>
</file>

<file path=ppt/handoutMasters/handoutMaster1.xml><?xml version="1.0" encoding="utf-8"?>
<p:handoutMaster xmlns:a="http://schemas.openxmlformats.org/drawingml/2006/main" xmlns:r="http://schemas.openxmlformats.org/officeDocument/2006/relationships" xmlns:p14="http://schemas.microsoft.com/office/powerpoint/2010/main" xmlns:a14="http://schemas.microsoft.com/office/drawing/2010/main" xmlns:p="http://schemas.openxmlformats.org/presentationml/2006/main">
  <p:cSld>
    <p:bg>
      <p:bgRef idx="1001">
        <a:schemeClr val="bg1"/>
      </p:bgRef>
    </p:bg>
    <p:spTree>
      <p:nvGrpSpPr>
        <p:cNvPr id="1" name=""/>
        <p:cNvGrpSpPr/>
        <p:nvPr/>
      </p:nvGrpSpPr>
      <p:grpSpPr>
        <a:xfrm>
          <a:off x="0" y="0"/>
          <a:ext cx="0" cy="0"/>
        </a:xfrm>
      </p:grpSpPr>
      <p:sp>
        <p:nvSpPr>
          <p:cNvPr id="2" name="Header Placeholder 1">
            <a:extLst>
              <a:ext uri="{FF2B5EF4-FFF2-40B4-BE49-F238E27FC236}">
                <a16:creationId xmlns:a16="http://schemas.microsoft.com/office/drawing/2014/main" id="{1833701D-4330-4EE7-9BF0-6431F8E2A69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a:extLst>
              <a:ext uri="{FF2B5EF4-FFF2-40B4-BE49-F238E27FC236}">
                <a16:creationId xmlns:a16="http://schemas.microsoft.com/office/drawing/2014/main" id="{22BCF998-A782-4C8A-8747-A2CA7D048A0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532FADE-C6AB-4765-AB22-74EE1FC26D60}" type="datetime1">
              <a:rPr lang="en-ID" smtClean="0"/>
              <a:t>25/04/2024</a:t>
            </a:fld>
            <a:endParaRPr lang="en-ID"/>
          </a:p>
        </p:txBody>
      </p:sp>
      <p:sp>
        <p:nvSpPr>
          <p:cNvPr id="4" name="Footer Placeholder 3">
            <a:extLst>
              <a:ext uri="{FF2B5EF4-FFF2-40B4-BE49-F238E27FC236}">
                <a16:creationId xmlns:a16="http://schemas.microsoft.com/office/drawing/2014/main" id="{D2E3B75D-11DD-4E29-B21A-3BEFD7843AD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5" name="Slide Number Placeholder 4">
            <a:extLst>
              <a:ext uri="{FF2B5EF4-FFF2-40B4-BE49-F238E27FC236}">
                <a16:creationId xmlns:a16="http://schemas.microsoft.com/office/drawing/2014/main" id="{2EF2A97F-C387-40BF-A80D-9B120372ED6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141A19D-7FE1-442D-97C1-2F2B47ADDD76}" type="slidenum">
              <a:rPr lang="en-ID" smtClean="0"/>
              <a:t>‹Nº›</a:t>
            </a:fld>
            <a:endParaRPr lang="en-ID"/>
          </a:p>
        </p:txBody>
      </p:sp>
    </p:spTree>
    <p:extLst>
      <p:ext uri="{BB962C8B-B14F-4D97-AF65-F5344CB8AC3E}">
        <p14:creationId xmlns:p14="http://schemas.microsoft.com/office/powerpoint/2010/main" val="4186763181"/>
      </p:ext>
    </p:extLst>
  </p:cSld>
  <p:clrMap bg1="lt1" tx1="dk1" bg2="lt2" tx2="dk2" accent1="accent1" accent2="accent2" accent3="accent3" accent4="accent4" accent5="accent5" accent6="accent6" hlink="hlink" folHlink="folHlink"/>
  <p:hf hdr="0" ftr="0" dt="0"/>
</p:handoutMaster>
</file>

<file path=ppt/notesMasters/_rels/notesMaster1.xml.rels>&#65279;<?xml version="1.0" encoding="utf-8" standalone="yes"?><Relationships xmlns="http://schemas.openxmlformats.org/package/2006/relationships"><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p14="http://schemas.microsoft.com/office/powerpoint/2010/main" xmlns:a14="http://schemas.microsoft.com/office/drawing/2010/main" xmlns:p="http://schemas.openxmlformats.org/presentationml/2006/main">
  <p:cSld>
    <p:bg>
      <p:bgRef idx="1001">
        <a:schemeClr val="bg1"/>
      </p:bgRef>
    </p:bg>
    <p:spTree>
      <p:nvGrpSpPr>
        <p:cNvPr id="1" name=""/>
        <p:cNvGrpSpPr/>
        <p:nvPr/>
      </p:nvGrpSpPr>
      <p:grpSpPr>
        <a:xfrm>
          <a:off x="0" y="0"/>
          <a: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FB15F4-625F-497D-BCA7-BD8E44F22A44}" type="datetime1">
              <a:rPr lang="en-ID" smtClean="0"/>
              <a:t>25/04/2024</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ECE837E-594B-4F0F-92F5-F20D4296AC5C}" type="slidenum">
              <a:rPr lang="en-ID" smtClean="0"/>
              <a:t>‹Nº›</a:t>
            </a:fld>
            <a:endParaRPr lang="en-ID"/>
          </a:p>
        </p:txBody>
      </p:sp>
    </p:spTree>
    <p:extLst>
      <p:ext uri="{BB962C8B-B14F-4D97-AF65-F5344CB8AC3E}">
        <p14:creationId xmlns:p14="http://schemas.microsoft.com/office/powerpoint/2010/main" val="241832883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65279;<?xml version="1.0" encoding="utf-8" standalone="yes"?><Relationships xmlns="http://schemas.openxmlformats.org/package/2006/relationships"><Relationship Id="rId1" Type="http://schemas.openxmlformats.org/officeDocument/2006/relationships/slide" Target="../slides/slide1.xml" /><Relationship Id="rId2" Type="http://schemas.openxmlformats.org/officeDocument/2006/relationships/notesMaster" Target="../notesMasters/notesMaster1.xml" /></Relationships>
</file>

<file path=ppt/notesSlides/_rels/notesSlide10.xml.rels>&#65279;<?xml version="1.0" encoding="utf-8" standalone="yes"?><Relationships xmlns="http://schemas.openxmlformats.org/package/2006/relationships"><Relationship Id="rId1" Type="http://schemas.openxmlformats.org/officeDocument/2006/relationships/slide" Target="../slides/slide20.xml" /><Relationship Id="rId2" Type="http://schemas.openxmlformats.org/officeDocument/2006/relationships/notesMaster" Target="../notesMasters/notesMaster1.xml" /></Relationships>
</file>

<file path=ppt/notesSlides/_rels/notesSlide11.xml.rels>&#65279;<?xml version="1.0" encoding="utf-8" standalone="yes"?><Relationships xmlns="http://schemas.openxmlformats.org/package/2006/relationships"><Relationship Id="rId1" Type="http://schemas.openxmlformats.org/officeDocument/2006/relationships/slide" Target="../slides/slide21.xml" /><Relationship Id="rId2" Type="http://schemas.openxmlformats.org/officeDocument/2006/relationships/notesMaster" Target="../notesMasters/notesMaster1.xml" /></Relationships>
</file>

<file path=ppt/notesSlides/_rels/notesSlide12.xml.rels>&#65279;<?xml version="1.0" encoding="utf-8" standalone="yes"?><Relationships xmlns="http://schemas.openxmlformats.org/package/2006/relationships"><Relationship Id="rId1" Type="http://schemas.openxmlformats.org/officeDocument/2006/relationships/slide" Target="../slides/slide22.xml" /><Relationship Id="rId2" Type="http://schemas.openxmlformats.org/officeDocument/2006/relationships/notesMaster" Target="../notesMasters/notesMaster1.xml" /></Relationships>
</file>

<file path=ppt/notesSlides/_rels/notesSlide13.xml.rels>&#65279;<?xml version="1.0" encoding="utf-8" standalone="yes"?><Relationships xmlns="http://schemas.openxmlformats.org/package/2006/relationships"><Relationship Id="rId1" Type="http://schemas.openxmlformats.org/officeDocument/2006/relationships/slide" Target="../slides/slide23.xml" /><Relationship Id="rId2" Type="http://schemas.openxmlformats.org/officeDocument/2006/relationships/notesMaster" Target="../notesMasters/notesMaster1.xml" /></Relationships>
</file>

<file path=ppt/notesSlides/_rels/notesSlide2.xml.rels>&#65279;<?xml version="1.0" encoding="utf-8" standalone="yes"?><Relationships xmlns="http://schemas.openxmlformats.org/package/2006/relationships"><Relationship Id="rId1" Type="http://schemas.openxmlformats.org/officeDocument/2006/relationships/slide" Target="../slides/slide3.xml" /><Relationship Id="rId2" Type="http://schemas.openxmlformats.org/officeDocument/2006/relationships/notesMaster" Target="../notesMasters/notesMaster1.xml" /></Relationships>
</file>

<file path=ppt/notesSlides/_rels/notesSlide3.xml.rels>&#65279;<?xml version="1.0" encoding="utf-8" standalone="yes"?><Relationships xmlns="http://schemas.openxmlformats.org/package/2006/relationships"><Relationship Id="rId1" Type="http://schemas.openxmlformats.org/officeDocument/2006/relationships/slide" Target="../slides/slide6.xml" /><Relationship Id="rId2" Type="http://schemas.openxmlformats.org/officeDocument/2006/relationships/notesMaster" Target="../notesMasters/notesMaster1.xml" /></Relationships>
</file>

<file path=ppt/notesSlides/_rels/notesSlide4.xml.rels>&#65279;<?xml version="1.0" encoding="utf-8" standalone="yes"?><Relationships xmlns="http://schemas.openxmlformats.org/package/2006/relationships"><Relationship Id="rId1" Type="http://schemas.openxmlformats.org/officeDocument/2006/relationships/slide" Target="../slides/slide7.xml" /><Relationship Id="rId2" Type="http://schemas.openxmlformats.org/officeDocument/2006/relationships/notesMaster" Target="../notesMasters/notesMaster1.xml" /></Relationships>
</file>

<file path=ppt/notesSlides/_rels/notesSlide5.xml.rels>&#65279;<?xml version="1.0" encoding="utf-8" standalone="yes"?><Relationships xmlns="http://schemas.openxmlformats.org/package/2006/relationships"><Relationship Id="rId1" Type="http://schemas.openxmlformats.org/officeDocument/2006/relationships/slide" Target="../slides/slide8.xml" /><Relationship Id="rId2" Type="http://schemas.openxmlformats.org/officeDocument/2006/relationships/notesMaster" Target="../notesMasters/notesMaster1.xml" /></Relationships>
</file>

<file path=ppt/notesSlides/_rels/notesSlide6.xml.rels>&#65279;<?xml version="1.0" encoding="utf-8" standalone="yes"?><Relationships xmlns="http://schemas.openxmlformats.org/package/2006/relationships"><Relationship Id="rId1" Type="http://schemas.openxmlformats.org/officeDocument/2006/relationships/slide" Target="../slides/slide9.xml" /><Relationship Id="rId2" Type="http://schemas.openxmlformats.org/officeDocument/2006/relationships/notesMaster" Target="../notesMasters/notesMaster1.xml" /></Relationships>
</file>

<file path=ppt/notesSlides/_rels/notesSlide7.xml.rels>&#65279;<?xml version="1.0" encoding="utf-8" standalone="yes"?><Relationships xmlns="http://schemas.openxmlformats.org/package/2006/relationships"><Relationship Id="rId1" Type="http://schemas.openxmlformats.org/officeDocument/2006/relationships/slide" Target="../slides/slide14.xml" /><Relationship Id="rId2" Type="http://schemas.openxmlformats.org/officeDocument/2006/relationships/notesMaster" Target="../notesMasters/notesMaster1.xml" /></Relationships>
</file>

<file path=ppt/notesSlides/_rels/notesSlide8.xml.rels>&#65279;<?xml version="1.0" encoding="utf-8" standalone="yes"?><Relationships xmlns="http://schemas.openxmlformats.org/package/2006/relationships"><Relationship Id="rId1" Type="http://schemas.openxmlformats.org/officeDocument/2006/relationships/slide" Target="../slides/slide15.xml" /><Relationship Id="rId2" Type="http://schemas.openxmlformats.org/officeDocument/2006/relationships/notesMaster" Target="../notesMasters/notesMaster1.xml" /></Relationships>
</file>

<file path=ppt/notesSlides/_rels/notesSlide9.xml.rels>&#65279;<?xml version="1.0" encoding="utf-8" standalone="yes"?><Relationships xmlns="http://schemas.openxmlformats.org/package/2006/relationships"><Relationship Id="rId1" Type="http://schemas.openxmlformats.org/officeDocument/2006/relationships/slide" Target="../slides/slide18.xml" /><Relationship Id="rId2"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p14="http://schemas.microsoft.com/office/powerpoint/2010/main" xmlns:a14="http://schemas.microsoft.com/office/drawing/2010/main" xmlns:p="http://schemas.openxmlformats.org/presentationml/2006/main">
  <p:cSld>
    <p:spTree>
      <p:nvGrpSpPr>
        <p:cNvPr id="1" name=""/>
        <p:cNvGrpSpPr/>
        <p:nvPr/>
      </p:nvGrpSpPr>
      <p:grpSpPr>
        <a:xfrm>
          <a:off x="0" y="0"/>
          <a: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PE"/>
          </a:p>
        </p:txBody>
      </p:sp>
      <p:sp>
        <p:nvSpPr>
          <p:cNvPr id="4" name="Marcador de número de diapositiva 3"/>
          <p:cNvSpPr>
            <a:spLocks noGrp="1"/>
          </p:cNvSpPr>
          <p:nvPr>
            <p:ph type="sldNum" sz="quarter" idx="5"/>
          </p:nvPr>
        </p:nvSpPr>
        <p:spPr/>
        <p:txBody>
          <a:bodyPr/>
          <a:lstStyle/>
          <a:p>
            <a:fld id="{8ECE837E-594B-4F0F-92F5-F20D4296AC5C}" type="slidenum">
              <a:rPr lang="en-ID" smtClean="0"/>
              <a:t>1</a:t>
            </a:fld>
            <a:endParaRPr lang="en-ID"/>
          </a:p>
        </p:txBody>
      </p:sp>
    </p:spTree>
    <p:extLst>
      <p:ext uri="{BB962C8B-B14F-4D97-AF65-F5344CB8AC3E}">
        <p14:creationId xmlns:p14="http://schemas.microsoft.com/office/powerpoint/2010/main" val="461855073"/>
      </p:ext>
    </p:extLst>
  </p:cSld>
  <p:clrMapOvr>
    <a:masterClrMapping/>
  </p:clrMapOvr>
</p:notes>
</file>

<file path=ppt/notesSlides/notesSlide10.xml><?xml version="1.0" encoding="utf-8"?>
<p:notes xmlns:a="http://schemas.openxmlformats.org/drawingml/2006/main" xmlns:r="http://schemas.openxmlformats.org/officeDocument/2006/relationships" xmlns:p14="http://schemas.microsoft.com/office/powerpoint/2010/main" xmlns:a14="http://schemas.microsoft.com/office/drawing/2010/main" xmlns:p="http://schemas.openxmlformats.org/presentationml/2006/main">
  <p:cSld>
    <p:spTree>
      <p:nvGrpSpPr>
        <p:cNvPr id="1" name=""/>
        <p:cNvGrpSpPr/>
        <p:nvPr/>
      </p:nvGrpSpPr>
      <p:grpSpPr>
        <a:xfrm>
          <a:off x="0" y="0"/>
          <a: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pPr marL="158750" marR="0" lvl="0" indent="0" algn="l" defTabSz="914400" rtl="0" eaLnBrk="1" fontAlgn="auto" latinLnBrk="0" hangingPunct="1">
              <a:lnSpc>
                <a:spcPct val="100000"/>
              </a:lnSpc>
              <a:spcBef>
                <a:spcPct val="0"/>
              </a:spcBef>
              <a:spcAft>
                <a:spcPct val="0"/>
              </a:spcAft>
              <a:buClr>
                <a:srgbClr val="000000"/>
              </a:buClr>
              <a:buSzPts val="1100"/>
              <a:buFont typeface="Arial"/>
              <a:buNone/>
              <a:defRPr/>
            </a:pPr>
            <a:r>
              <a:rPr lang="en-US" altLang="ko-KR" sz="1100">
                <a:solidFill>
                  <a:srgbClr val="143A78"/>
                </a:solidFill>
                <a:latin typeface="Arial" panose="020b0604020202020204" pitchFamily="34" charset="0"/>
                <a:cs typeface="Arial" panose="020b0604020202020204" pitchFamily="34" charset="0"/>
              </a:rPr>
              <a:t>slidesppt.net</a:t>
            </a:r>
            <a:endParaRPr lang="ko-KR" altLang="en-US" sz="1100">
              <a:solidFill>
                <a:srgbClr val="143A78"/>
              </a:solidFill>
              <a:latin typeface="Arial" panose="020b0604020202020204" pitchFamily="34" charset="0"/>
              <a:cs typeface="Arial" panose="020b0604020202020204" pitchFamily="34" charset="0"/>
            </a:endParaRPr>
          </a:p>
          <a:p>
            <a:pPr marL="158750" indent="0">
              <a:buNone/>
            </a:pPr>
            <a:endParaRPr lang="es-PE"/>
          </a:p>
        </p:txBody>
      </p:sp>
    </p:spTree>
    <p:extLst>
      <p:ext uri="{BB962C8B-B14F-4D97-AF65-F5344CB8AC3E}">
        <p14:creationId xmlns:p14="http://schemas.microsoft.com/office/powerpoint/2010/main" val="1295601155"/>
      </p:ext>
    </p:extLst>
  </p:cSld>
  <p:clrMapOvr>
    <a:masterClrMapping/>
  </p:clrMapOvr>
</p:notes>
</file>

<file path=ppt/notesSlides/notesSlide11.xml><?xml version="1.0" encoding="utf-8"?>
<p:notes xmlns:a="http://schemas.openxmlformats.org/drawingml/2006/main" xmlns:r="http://schemas.openxmlformats.org/officeDocument/2006/relationships" xmlns:p14="http://schemas.microsoft.com/office/powerpoint/2010/main" xmlns:a14="http://schemas.microsoft.com/office/drawing/2010/main" xmlns:p="http://schemas.openxmlformats.org/presentationml/2006/main">
  <p:cSld>
    <p:spTree>
      <p:nvGrpSpPr>
        <p:cNvPr id="1" name=""/>
        <p:cNvGrpSpPr/>
        <p:nvPr/>
      </p:nvGrpSpPr>
      <p:grpSpPr>
        <a:xfrm>
          <a:off x="0" y="0"/>
          <a: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altLang="ko-KR" sz="1200">
                <a:solidFill>
                  <a:srgbClr val="0070C0"/>
                </a:solidFill>
                <a:latin typeface="Arial" panose="020b0604020202020204" pitchFamily="34" charset="0"/>
                <a:cs typeface="Arial" panose="020b0604020202020204" pitchFamily="34" charset="0"/>
              </a:rPr>
              <a:t>slidesppt.net</a:t>
            </a:r>
            <a:endParaRPr lang="ko-KR" altLang="en-US" sz="1200">
              <a:solidFill>
                <a:srgbClr val="0070C0"/>
              </a:solidFill>
              <a:latin typeface="Arial" panose="020b0604020202020204" pitchFamily="34" charset="0"/>
              <a:cs typeface="Arial" panose="020b0604020202020204" pitchFamily="34" charset="0"/>
            </a:endParaRPr>
          </a:p>
          <a:p>
            <a:endParaRPr lang="es-ES"/>
          </a:p>
        </p:txBody>
      </p:sp>
      <p:sp>
        <p:nvSpPr>
          <p:cNvPr id="4" name="Marcador de número de diapositiva 3"/>
          <p:cNvSpPr>
            <a:spLocks noGrp="1"/>
          </p:cNvSpPr>
          <p:nvPr>
            <p:ph type="sldNum" sz="quarter" idx="5"/>
          </p:nvPr>
        </p:nvSpPr>
        <p:spPr/>
        <p:txBody>
          <a:bodyPr/>
          <a:lstStyle/>
          <a:p>
            <a:fld id="{C86476D3-4409-4859-9F3C-9276BE6813F2}" type="slidenum">
              <a:rPr lang="es-ES" smtClean="0"/>
              <a:t>21</a:t>
            </a:fld>
            <a:endParaRPr lang="es-ES"/>
          </a:p>
        </p:txBody>
      </p:sp>
    </p:spTree>
    <p:extLst>
      <p:ext uri="{BB962C8B-B14F-4D97-AF65-F5344CB8AC3E}">
        <p14:creationId xmlns:p14="http://schemas.microsoft.com/office/powerpoint/2010/main" val="2949775671"/>
      </p:ext>
    </p:extLst>
  </p:cSld>
  <p:clrMapOvr>
    <a:masterClrMapping/>
  </p:clrMapOvr>
</p:notes>
</file>

<file path=ppt/notesSlides/notesSlide12.xml><?xml version="1.0" encoding="utf-8"?>
<p:notes xmlns:a="http://schemas.openxmlformats.org/drawingml/2006/main" xmlns:r="http://schemas.openxmlformats.org/officeDocument/2006/relationships" xmlns:p14="http://schemas.microsoft.com/office/powerpoint/2010/main" xmlns:a14="http://schemas.microsoft.com/office/drawing/2010/main" xmlns:p="http://schemas.openxmlformats.org/presentationml/2006/main">
  <p:cSld>
    <p:spTree>
      <p:nvGrpSpPr>
        <p:cNvPr id="1" name=""/>
        <p:cNvGrpSpPr/>
        <p:nvPr/>
      </p:nvGrpSpPr>
      <p:grpSpPr>
        <a:xfrm>
          <a:off x="0" y="0"/>
          <a: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altLang="ko-KR" sz="1200">
                <a:latin typeface="Arial" panose="020b0604020202020204" pitchFamily="34" charset="0"/>
                <a:cs typeface="Arial" panose="020b0604020202020204" pitchFamily="34" charset="0"/>
              </a:rPr>
              <a:t>slidesppt.net</a:t>
            </a:r>
            <a:endParaRPr lang="ko-KR" altLang="en-US" sz="1200">
              <a:latin typeface="Arial" panose="020b0604020202020204" pitchFamily="34" charset="0"/>
              <a:cs typeface="Arial" panose="020b0604020202020204" pitchFamily="34" charset="0"/>
            </a:endParaRPr>
          </a:p>
          <a:p>
            <a:endParaRPr lang="es-ES"/>
          </a:p>
        </p:txBody>
      </p:sp>
      <p:sp>
        <p:nvSpPr>
          <p:cNvPr id="4" name="Marcador de número de diapositiva 3"/>
          <p:cNvSpPr>
            <a:spLocks noGrp="1"/>
          </p:cNvSpPr>
          <p:nvPr>
            <p:ph type="sldNum" sz="quarter" idx="5"/>
          </p:nvPr>
        </p:nvSpPr>
        <p:spPr/>
        <p:txBody>
          <a:bodyPr/>
          <a:lstStyle/>
          <a:p>
            <a:fld id="{86940C13-4458-439A-B49C-8C0231ABA990}" type="slidenum">
              <a:rPr lang="en-US" smtClean="0"/>
              <a:t>22</a:t>
            </a:fld>
            <a:endParaRPr lang="en-US"/>
          </a:p>
        </p:txBody>
      </p:sp>
    </p:spTree>
    <p:extLst>
      <p:ext uri="{BB962C8B-B14F-4D97-AF65-F5344CB8AC3E}">
        <p14:creationId xmlns:p14="http://schemas.microsoft.com/office/powerpoint/2010/main" val="601164665"/>
      </p:ext>
    </p:extLst>
  </p:cSld>
  <p:clrMapOvr>
    <a:masterClrMapping/>
  </p:clrMapOvr>
</p:notes>
</file>

<file path=ppt/notesSlides/notesSlide13.xml><?xml version="1.0" encoding="utf-8"?>
<p:notes xmlns:a="http://schemas.openxmlformats.org/drawingml/2006/main" xmlns:r="http://schemas.openxmlformats.org/officeDocument/2006/relationships" xmlns:p14="http://schemas.microsoft.com/office/powerpoint/2010/main" xmlns:a14="http://schemas.microsoft.com/office/drawing/2010/main" xmlns:p="http://schemas.openxmlformats.org/presentationml/2006/main">
  <p:cSld>
    <p:spTree>
      <p:nvGrpSpPr>
        <p:cNvPr id="1" name=""/>
        <p:cNvGrpSpPr/>
        <p:nvPr/>
      </p:nvGrpSpPr>
      <p:grpSpPr>
        <a:xfrm>
          <a:off x="0" y="0"/>
          <a: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altLang="ko-KR" sz="1200">
                <a:solidFill>
                  <a:srgbClr val="0070C0"/>
                </a:solidFill>
                <a:latin typeface="Arial" panose="020b0604020202020204" pitchFamily="34" charset="0"/>
                <a:cs typeface="Arial" panose="020b0604020202020204" pitchFamily="34" charset="0"/>
              </a:rPr>
              <a:t>slidesppt.net</a:t>
            </a:r>
            <a:endParaRPr lang="ko-KR" altLang="en-US" sz="1200">
              <a:solidFill>
                <a:srgbClr val="0070C0"/>
              </a:solidFill>
              <a:latin typeface="Arial" panose="020b0604020202020204" pitchFamily="34" charset="0"/>
              <a:cs typeface="Arial" panose="020b0604020202020204" pitchFamily="34" charset="0"/>
            </a:endParaRPr>
          </a:p>
          <a:p>
            <a:endParaRPr lang="es-ES"/>
          </a:p>
        </p:txBody>
      </p:sp>
      <p:sp>
        <p:nvSpPr>
          <p:cNvPr id="4" name="Marcador de número de diapositiva 3"/>
          <p:cNvSpPr>
            <a:spLocks noGrp="1"/>
          </p:cNvSpPr>
          <p:nvPr>
            <p:ph type="sldNum" sz="quarter" idx="5"/>
          </p:nvPr>
        </p:nvSpPr>
        <p:spPr/>
        <p:txBody>
          <a:bodyPr/>
          <a:lstStyle/>
          <a:p>
            <a:fld id="{C86476D3-4409-4859-9F3C-9276BE6813F2}" type="slidenum">
              <a:rPr lang="es-ES" smtClean="0"/>
              <a:t>23</a:t>
            </a:fld>
            <a:endParaRPr lang="es-ES"/>
          </a:p>
        </p:txBody>
      </p:sp>
    </p:spTree>
    <p:extLst>
      <p:ext uri="{BB962C8B-B14F-4D97-AF65-F5344CB8AC3E}">
        <p14:creationId xmlns:p14="http://schemas.microsoft.com/office/powerpoint/2010/main" val="1921770536"/>
      </p:ext>
    </p:extLst>
  </p:cSld>
  <p:clrMapOvr>
    <a:masterClrMapping/>
  </p:clrMapOvr>
</p:notes>
</file>

<file path=ppt/notesSlides/notesSlide2.xml><?xml version="1.0" encoding="utf-8"?>
<p:notes xmlns:a="http://schemas.openxmlformats.org/drawingml/2006/main" xmlns:r="http://schemas.openxmlformats.org/officeDocument/2006/relationships" xmlns:p14="http://schemas.microsoft.com/office/powerpoint/2010/main" xmlns:a14="http://schemas.microsoft.com/office/drawing/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altLang="ko-KR" sz="1200">
                <a:solidFill>
                  <a:schemeClr val="bg1"/>
                </a:solidFill>
                <a:latin typeface="Arial" panose="020b0604020202020204" pitchFamily="34" charset="0"/>
                <a:cs typeface="Arial" panose="020b0604020202020204" pitchFamily="34" charset="0"/>
              </a:rPr>
              <a:t>slidesppt.net</a:t>
            </a:r>
            <a:endParaRPr lang="ko-KR" altLang="en-US" sz="1200">
              <a:solidFill>
                <a:schemeClr val="bg1"/>
              </a:solidFill>
              <a:latin typeface="Arial" panose="020b0604020202020204" pitchFamily="34" charset="0"/>
              <a:cs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fld id="{8ECE837E-594B-4F0F-92F5-F20D4296AC5C}" type="slidenum">
              <a:rPr lang="en-ID" smtClean="0"/>
              <a:t>3</a:t>
            </a:fld>
            <a:endParaRPr lang="en-ID"/>
          </a:p>
        </p:txBody>
      </p:sp>
    </p:spTree>
    <p:extLst>
      <p:ext uri="{BB962C8B-B14F-4D97-AF65-F5344CB8AC3E}">
        <p14:creationId xmlns:p14="http://schemas.microsoft.com/office/powerpoint/2010/main" val="2521796847"/>
      </p:ext>
    </p:extLst>
  </p:cSld>
  <p:clrMapOvr>
    <a:masterClrMapping/>
  </p:clrMapOvr>
</p:notes>
</file>

<file path=ppt/notesSlides/notesSlide3.xml><?xml version="1.0" encoding="utf-8"?>
<p:notes xmlns:a="http://schemas.openxmlformats.org/drawingml/2006/main" xmlns:r="http://schemas.openxmlformats.org/officeDocument/2006/relationships" xmlns:p14="http://schemas.microsoft.com/office/powerpoint/2010/main" xmlns:a14="http://schemas.microsoft.com/office/drawing/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altLang="ko-KR" sz="1200">
                <a:solidFill>
                  <a:schemeClr val="bg1"/>
                </a:solidFill>
                <a:latin typeface="Arial" panose="020b0604020202020204" pitchFamily="34" charset="0"/>
                <a:cs typeface="Arial" panose="020b0604020202020204" pitchFamily="34" charset="0"/>
              </a:rPr>
              <a:t>slidesppt.net</a:t>
            </a:r>
            <a:endParaRPr lang="ko-KR" altLang="en-US" sz="1200">
              <a:solidFill>
                <a:schemeClr val="bg1"/>
              </a:solidFill>
              <a:latin typeface="Arial" panose="020b0604020202020204" pitchFamily="34" charset="0"/>
              <a:cs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fld id="{8ECE837E-594B-4F0F-92F5-F20D4296AC5C}" type="slidenum">
              <a:rPr lang="en-ID" smtClean="0"/>
              <a:t>6</a:t>
            </a:fld>
            <a:endParaRPr lang="en-ID"/>
          </a:p>
        </p:txBody>
      </p:sp>
    </p:spTree>
    <p:extLst>
      <p:ext uri="{BB962C8B-B14F-4D97-AF65-F5344CB8AC3E}">
        <p14:creationId xmlns:p14="http://schemas.microsoft.com/office/powerpoint/2010/main" val="2940237808"/>
      </p:ext>
    </p:extLst>
  </p:cSld>
  <p:clrMapOvr>
    <a:masterClrMapping/>
  </p:clrMapOvr>
</p:notes>
</file>

<file path=ppt/notesSlides/notesSlide4.xml><?xml version="1.0" encoding="utf-8"?>
<p:notes xmlns:a="http://schemas.openxmlformats.org/drawingml/2006/main" xmlns:r="http://schemas.openxmlformats.org/officeDocument/2006/relationships" xmlns:p14="http://schemas.microsoft.com/office/powerpoint/2010/main" xmlns:a14="http://schemas.microsoft.com/office/drawing/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altLang="ko-KR" sz="1200">
                <a:solidFill>
                  <a:schemeClr val="bg1"/>
                </a:solidFill>
                <a:latin typeface="Arial" panose="020b0604020202020204" pitchFamily="34" charset="0"/>
                <a:cs typeface="Arial" panose="020b0604020202020204" pitchFamily="34" charset="0"/>
              </a:rPr>
              <a:t>slidesppt.net</a:t>
            </a:r>
            <a:endParaRPr lang="ko-KR" altLang="en-US" sz="1200">
              <a:solidFill>
                <a:schemeClr val="bg1"/>
              </a:solidFill>
              <a:latin typeface="Arial" panose="020b0604020202020204" pitchFamily="34" charset="0"/>
              <a:cs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fld id="{8ECE837E-594B-4F0F-92F5-F20D4296AC5C}" type="slidenum">
              <a:rPr lang="en-ID" smtClean="0"/>
              <a:t>7</a:t>
            </a:fld>
            <a:endParaRPr lang="en-ID"/>
          </a:p>
        </p:txBody>
      </p:sp>
    </p:spTree>
    <p:extLst>
      <p:ext uri="{BB962C8B-B14F-4D97-AF65-F5344CB8AC3E}">
        <p14:creationId xmlns:p14="http://schemas.microsoft.com/office/powerpoint/2010/main" val="2211678781"/>
      </p:ext>
    </p:extLst>
  </p:cSld>
  <p:clrMapOvr>
    <a:masterClrMapping/>
  </p:clrMapOvr>
</p:notes>
</file>

<file path=ppt/notesSlides/notesSlide5.xml><?xml version="1.0" encoding="utf-8"?>
<p:notes xmlns:a="http://schemas.openxmlformats.org/drawingml/2006/main" xmlns:r="http://schemas.openxmlformats.org/officeDocument/2006/relationships" xmlns:p14="http://schemas.microsoft.com/office/powerpoint/2010/main" xmlns:a14="http://schemas.microsoft.com/office/drawing/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ECE837E-594B-4F0F-92F5-F20D4296AC5C}" type="slidenum">
              <a:rPr lang="en-ID" smtClean="0"/>
              <a:t>8</a:t>
            </a:fld>
            <a:endParaRPr lang="en-ID"/>
          </a:p>
        </p:txBody>
      </p:sp>
    </p:spTree>
    <p:extLst>
      <p:ext uri="{BB962C8B-B14F-4D97-AF65-F5344CB8AC3E}">
        <p14:creationId xmlns:p14="http://schemas.microsoft.com/office/powerpoint/2010/main" val="3650933373"/>
      </p:ext>
    </p:extLst>
  </p:cSld>
  <p:clrMapOvr>
    <a:masterClrMapping/>
  </p:clrMapOvr>
</p:notes>
</file>

<file path=ppt/notesSlides/notesSlide6.xml><?xml version="1.0" encoding="utf-8"?>
<p:notes xmlns:a="http://schemas.openxmlformats.org/drawingml/2006/main" xmlns:r="http://schemas.openxmlformats.org/officeDocument/2006/relationships" xmlns:p14="http://schemas.microsoft.com/office/powerpoint/2010/main" xmlns:a14="http://schemas.microsoft.com/office/drawing/2010/main" xmlns:p="http://schemas.openxmlformats.org/presentationml/2006/main">
  <p:cSld>
    <p:spTree>
      <p:nvGrpSpPr>
        <p:cNvPr id="1" name=""/>
        <p:cNvGrpSpPr/>
        <p:nvPr/>
      </p:nvGrpSpPr>
      <p:grpSpPr>
        <a:xfrm>
          <a:off x="0" y="0"/>
          <a: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altLang="ko-KR" sz="1200">
                <a:solidFill>
                  <a:schemeClr val="bg1"/>
                </a:solidFill>
                <a:latin typeface="Arial" panose="020b0604020202020204" pitchFamily="34" charset="0"/>
                <a:cs typeface="Arial" panose="020b0604020202020204" pitchFamily="34" charset="0"/>
              </a:rPr>
              <a:t>slidesppt.net</a:t>
            </a:r>
            <a:endParaRPr lang="ko-KR" altLang="en-US" sz="1200">
              <a:solidFill>
                <a:schemeClr val="bg1"/>
              </a:solidFill>
              <a:latin typeface="Arial" panose="020b0604020202020204" pitchFamily="34" charset="0"/>
              <a:cs typeface="Arial" panose="020b0604020202020204" pitchFamily="34" charset="0"/>
            </a:endParaRPr>
          </a:p>
          <a:p>
            <a:endParaRPr lang="es-PE"/>
          </a:p>
        </p:txBody>
      </p:sp>
      <p:sp>
        <p:nvSpPr>
          <p:cNvPr id="4" name="Marcador de número de diapositiva 3"/>
          <p:cNvSpPr>
            <a:spLocks noGrp="1"/>
          </p:cNvSpPr>
          <p:nvPr>
            <p:ph type="sldNum" sz="quarter" idx="5"/>
          </p:nvPr>
        </p:nvSpPr>
        <p:spPr/>
        <p:txBody>
          <a:bodyPr/>
          <a:lstStyle/>
          <a:p>
            <a:fld id="{8ECE837E-594B-4F0F-92F5-F20D4296AC5C}" type="slidenum">
              <a:rPr lang="en-ID" smtClean="0"/>
              <a:t>9</a:t>
            </a:fld>
            <a:endParaRPr lang="en-ID"/>
          </a:p>
        </p:txBody>
      </p:sp>
    </p:spTree>
    <p:extLst>
      <p:ext uri="{BB962C8B-B14F-4D97-AF65-F5344CB8AC3E}">
        <p14:creationId xmlns:p14="http://schemas.microsoft.com/office/powerpoint/2010/main" val="2674632901"/>
      </p:ext>
    </p:extLst>
  </p:cSld>
  <p:clrMapOvr>
    <a:masterClrMapping/>
  </p:clrMapOvr>
</p:notes>
</file>

<file path=ppt/notesSlides/notesSlide7.xml><?xml version="1.0" encoding="utf-8"?>
<p:notes xmlns:a="http://schemas.openxmlformats.org/drawingml/2006/main" xmlns:r="http://schemas.openxmlformats.org/officeDocument/2006/relationships" xmlns:p14="http://schemas.microsoft.com/office/powerpoint/2010/main" xmlns:a14="http://schemas.microsoft.com/office/drawing/2010/main" xmlns:p="http://schemas.openxmlformats.org/presentationml/2006/main">
  <p:cSld>
    <p:spTree>
      <p:nvGrpSpPr>
        <p:cNvPr id="1" name=""/>
        <p:cNvGrpSpPr/>
        <p:nvPr/>
      </p:nvGrpSpPr>
      <p:grpSpPr>
        <a:xfrm>
          <a:off x="0" y="0"/>
          <a: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PE"/>
          </a:p>
        </p:txBody>
      </p:sp>
      <p:sp>
        <p:nvSpPr>
          <p:cNvPr id="4" name="Marcador de número de diapositiva 3"/>
          <p:cNvSpPr>
            <a:spLocks noGrp="1"/>
          </p:cNvSpPr>
          <p:nvPr>
            <p:ph type="sldNum" sz="quarter" idx="5"/>
          </p:nvPr>
        </p:nvSpPr>
        <p:spPr/>
        <p:txBody>
          <a:bodyPr/>
          <a:lstStyle/>
          <a:p>
            <a:fld id="{8ECE837E-594B-4F0F-92F5-F20D4296AC5C}" type="slidenum">
              <a:rPr lang="en-ID" smtClean="0"/>
              <a:t>14</a:t>
            </a:fld>
            <a:endParaRPr lang="en-ID"/>
          </a:p>
        </p:txBody>
      </p:sp>
    </p:spTree>
    <p:extLst>
      <p:ext uri="{BB962C8B-B14F-4D97-AF65-F5344CB8AC3E}">
        <p14:creationId xmlns:p14="http://schemas.microsoft.com/office/powerpoint/2010/main" val="3202148495"/>
      </p:ext>
    </p:extLst>
  </p:cSld>
  <p:clrMapOvr>
    <a:masterClrMapping/>
  </p:clrMapOvr>
</p:notes>
</file>

<file path=ppt/notesSlides/notesSlide8.xml><?xml version="1.0" encoding="utf-8"?>
<p:notes xmlns:a="http://schemas.openxmlformats.org/drawingml/2006/main" xmlns:r="http://schemas.openxmlformats.org/officeDocument/2006/relationships" xmlns:p14="http://schemas.microsoft.com/office/powerpoint/2010/main" xmlns:a14="http://schemas.microsoft.com/office/drawing/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altLang="ko-KR" sz="1200">
                <a:solidFill>
                  <a:schemeClr val="bg1"/>
                </a:solidFill>
                <a:latin typeface="Arial" panose="020b0604020202020204" pitchFamily="34" charset="0"/>
                <a:cs typeface="Arial" panose="020b0604020202020204" pitchFamily="34" charset="0"/>
              </a:rPr>
              <a:t>slidesppt.net</a:t>
            </a:r>
            <a:endParaRPr lang="ko-KR" altLang="en-US" sz="1200">
              <a:solidFill>
                <a:schemeClr val="bg1"/>
              </a:solidFill>
              <a:latin typeface="Arial" panose="020b0604020202020204" pitchFamily="34" charset="0"/>
              <a:cs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fld id="{8ECE837E-594B-4F0F-92F5-F20D4296AC5C}" type="slidenum">
              <a:rPr lang="en-ID" smtClean="0"/>
              <a:t>15</a:t>
            </a:fld>
            <a:endParaRPr lang="en-ID"/>
          </a:p>
        </p:txBody>
      </p:sp>
    </p:spTree>
    <p:extLst>
      <p:ext uri="{BB962C8B-B14F-4D97-AF65-F5344CB8AC3E}">
        <p14:creationId xmlns:p14="http://schemas.microsoft.com/office/powerpoint/2010/main" val="153369892"/>
      </p:ext>
    </p:extLst>
  </p:cSld>
  <p:clrMapOvr>
    <a:masterClrMapping/>
  </p:clrMapOvr>
</p:notes>
</file>

<file path=ppt/notesSlides/notesSlide9.xml><?xml version="1.0" encoding="utf-8"?>
<p:notes xmlns:a="http://schemas.openxmlformats.org/drawingml/2006/main" xmlns:r="http://schemas.openxmlformats.org/officeDocument/2006/relationships" xmlns:p14="http://schemas.microsoft.com/office/powerpoint/2010/main" xmlns:a14="http://schemas.microsoft.com/office/drawing/2010/main" xmlns:p="http://schemas.openxmlformats.org/presentationml/2006/main">
  <p:cSld>
    <p:spTree>
      <p:nvGrpSpPr>
        <p:cNvPr id="1" name=""/>
        <p:cNvGrpSpPr/>
        <p:nvPr/>
      </p:nvGrpSpPr>
      <p:grpSpPr>
        <a:xfrm>
          <a:off x="0" y="0"/>
          <a: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PE"/>
          </a:p>
        </p:txBody>
      </p:sp>
      <p:sp>
        <p:nvSpPr>
          <p:cNvPr id="4" name="Marcador de número de diapositiva 3"/>
          <p:cNvSpPr>
            <a:spLocks noGrp="1"/>
          </p:cNvSpPr>
          <p:nvPr>
            <p:ph type="sldNum" sz="quarter" idx="5"/>
          </p:nvPr>
        </p:nvSpPr>
        <p:spPr/>
        <p:txBody>
          <a:bodyPr/>
          <a:lstStyle/>
          <a:p>
            <a:fld id="{8ECE837E-594B-4F0F-92F5-F20D4296AC5C}" type="slidenum">
              <a:rPr lang="en-ID" smtClean="0"/>
              <a:t>18</a:t>
            </a:fld>
            <a:endParaRPr lang="en-ID"/>
          </a:p>
        </p:txBody>
      </p:sp>
    </p:spTree>
    <p:extLst>
      <p:ext uri="{BB962C8B-B14F-4D97-AF65-F5344CB8AC3E}">
        <p14:creationId xmlns:p14="http://schemas.microsoft.com/office/powerpoint/2010/main" val="900873106"/>
      </p:ext>
    </p:extLst>
  </p:cSld>
  <p:clrMapOvr>
    <a:masterClrMapping/>
  </p:clrMapOvr>
</p:notes>
</file>

<file path=ppt/slideLayouts/_rels/slideLayout1.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2.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3.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4.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1.xml" /></Relationships>
</file>

<file path=ppt/slideLayouts/_rels/slideLayout5.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6.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7.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reserve="1" userDrawn="1">
  <p:cSld name="Title Only">
    <p:spTree>
      <p:nvGrpSpPr>
        <p:cNvPr id="1" name=""/>
        <p:cNvGrpSpPr/>
        <p:nvPr/>
      </p:nvGrpSpPr>
      <p:grpSpPr>
        <a:xfrm>
          <a:off x="0" y="0"/>
          <a:ext cx="0" cy="0"/>
        </a:xfrm>
      </p:grpSpPr>
      <p:sp>
        <p:nvSpPr>
          <p:cNvPr id="2" name="Title 1">
            <a:extLst>
              <a:ext uri="{FF2B5EF4-FFF2-40B4-BE49-F238E27FC236}">
                <a16:creationId xmlns:a16="http://schemas.microsoft.com/office/drawing/2014/main" id="{0C9ADFF5-D2DF-4F4C-B84D-A9AF846D83A3}"/>
              </a:ext>
            </a:extLst>
          </p:cNvPr>
          <p:cNvSpPr>
            <a:spLocks noGrp="1"/>
          </p:cNvSpPr>
          <p:nvPr>
            <p:ph type="title"/>
          </p:nvPr>
        </p:nvSpPr>
        <p:spPr/>
        <p:txBody>
          <a:bodyPr/>
          <a:lstStyle/>
          <a:p>
            <a:r>
              <a:rPr lang="en-US"/>
              <a:t>Click to edit Master title style</a:t>
            </a:r>
            <a:endParaRPr lang="en-ID"/>
          </a:p>
        </p:txBody>
      </p:sp>
    </p:spTree>
    <p:extLst>
      <p:ext uri="{BB962C8B-B14F-4D97-AF65-F5344CB8AC3E}">
        <p14:creationId xmlns:p14="http://schemas.microsoft.com/office/powerpoint/2010/main" val="3367220520"/>
      </p:ext>
    </p:extLst>
  </p:cSld>
  <p:clrMapOvr>
    <a:masterClrMapping/>
  </p:clrMapOvr>
  <p:transition/>
  <p:timing/>
</p:sldLayout>
</file>

<file path=ppt/slideLayouts/slideLayout2.xml><?xml version="1.0" encoding="utf-8"?>
<p:sldLayout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reserve="1" userDrawn="1">
  <p:cSld name="Diseño personalizado">
    <p:spTree>
      <p:nvGrpSpPr>
        <p:cNvPr id="1" name=""/>
        <p:cNvGrpSpPr/>
        <p:nvPr/>
      </p:nvGrpSpPr>
      <p:grpSpPr>
        <a:xfrm>
          <a:off x="0" y="0"/>
          <a:ext cx="0" cy="0"/>
        </a:xfrm>
      </p:grpSpPr>
      <p:sp>
        <p:nvSpPr>
          <p:cNvPr id="3" name="그림 개체 틀 29">
            <a:extLst>
              <a:ext uri="{FF2B5EF4-FFF2-40B4-BE49-F238E27FC236}">
                <a16:creationId xmlns:a16="http://schemas.microsoft.com/office/drawing/2014/main" id="{5F7D1E1E-CCCC-877A-72AF-9520032834A8}"/>
              </a:ext>
            </a:extLst>
          </p:cNvPr>
          <p:cNvSpPr>
            <a:spLocks noGrp="1"/>
          </p:cNvSpPr>
          <p:nvPr>
            <p:ph type="pic" idx="16" hasCustomPrompt="1"/>
          </p:nvPr>
        </p:nvSpPr>
        <p:spPr>
          <a:xfrm>
            <a:off x="2" y="0"/>
            <a:ext cx="6569477" cy="6858000"/>
          </a:xfrm>
          <a:custGeom>
            <a:gdLst>
              <a:gd name="connsiteX0" fmla="*/ 4117221 w 6569477"/>
              <a:gd name="connsiteY0" fmla="*/ 6784486 h 6858000"/>
              <a:gd name="connsiteX1" fmla="*/ 4065123 w 6569477"/>
              <a:gd name="connsiteY1" fmla="*/ 6846362 h 6858000"/>
              <a:gd name="connsiteX2" fmla="*/ 4054153 w 6569477"/>
              <a:gd name="connsiteY2" fmla="*/ 6858000 h 6858000"/>
              <a:gd name="connsiteX3" fmla="*/ 4025354 w 6569477"/>
              <a:gd name="connsiteY3" fmla="*/ 6858000 h 6858000"/>
              <a:gd name="connsiteX4" fmla="*/ 4042817 w 6569477"/>
              <a:gd name="connsiteY4" fmla="*/ 6837081 h 6858000"/>
              <a:gd name="connsiteX5" fmla="*/ 4117221 w 6569477"/>
              <a:gd name="connsiteY5" fmla="*/ 6784486 h 6858000"/>
              <a:gd name="connsiteX6" fmla="*/ 4098863 w 6569477"/>
              <a:gd name="connsiteY6" fmla="*/ 6687079 h 6858000"/>
              <a:gd name="connsiteX7" fmla="*/ 4016483 w 6569477"/>
              <a:gd name="connsiteY7" fmla="*/ 6816306 h 6858000"/>
              <a:gd name="connsiteX8" fmla="*/ 3967818 w 6569477"/>
              <a:gd name="connsiteY8" fmla="*/ 6856958 h 6858000"/>
              <a:gd name="connsiteX9" fmla="*/ 3966685 w 6569477"/>
              <a:gd name="connsiteY9" fmla="*/ 6858000 h 6858000"/>
              <a:gd name="connsiteX10" fmla="*/ 3929841 w 6569477"/>
              <a:gd name="connsiteY10" fmla="*/ 6858000 h 6858000"/>
              <a:gd name="connsiteX11" fmla="*/ 4004165 w 6569477"/>
              <a:gd name="connsiteY11" fmla="*/ 6784103 h 6858000"/>
              <a:gd name="connsiteX12" fmla="*/ 4098863 w 6569477"/>
              <a:gd name="connsiteY12" fmla="*/ 6687079 h 6858000"/>
              <a:gd name="connsiteX13" fmla="*/ 5739924 w 6569477"/>
              <a:gd name="connsiteY13" fmla="*/ 6488019 h 6858000"/>
              <a:gd name="connsiteX14" fmla="*/ 5746811 w 6569477"/>
              <a:gd name="connsiteY14" fmla="*/ 6494900 h 6858000"/>
              <a:gd name="connsiteX15" fmla="*/ 5746479 w 6569477"/>
              <a:gd name="connsiteY15" fmla="*/ 6496223 h 6858000"/>
              <a:gd name="connsiteX16" fmla="*/ 5739923 w 6569477"/>
              <a:gd name="connsiteY16" fmla="*/ 6501783 h 6858000"/>
              <a:gd name="connsiteX17" fmla="*/ 5739923 w 6569477"/>
              <a:gd name="connsiteY17" fmla="*/ 6494900 h 6858000"/>
              <a:gd name="connsiteX18" fmla="*/ 4189806 w 6569477"/>
              <a:gd name="connsiteY18" fmla="*/ 6433624 h 6858000"/>
              <a:gd name="connsiteX19" fmla="*/ 4188863 w 6569477"/>
              <a:gd name="connsiteY19" fmla="*/ 6437396 h 6858000"/>
              <a:gd name="connsiteX20" fmla="*/ 4181480 w 6569477"/>
              <a:gd name="connsiteY20" fmla="*/ 6441614 h 6858000"/>
              <a:gd name="connsiteX21" fmla="*/ 4190270 w 6569477"/>
              <a:gd name="connsiteY21" fmla="*/ 6433178 h 6858000"/>
              <a:gd name="connsiteX22" fmla="*/ 4189806 w 6569477"/>
              <a:gd name="connsiteY22" fmla="*/ 6433624 h 6858000"/>
              <a:gd name="connsiteX23" fmla="*/ 4189918 w 6569477"/>
              <a:gd name="connsiteY23" fmla="*/ 6433179 h 6858000"/>
              <a:gd name="connsiteX24" fmla="*/ 4080254 w 6569477"/>
              <a:gd name="connsiteY24" fmla="*/ 6424489 h 6858000"/>
              <a:gd name="connsiteX25" fmla="*/ 4080253 w 6569477"/>
              <a:gd name="connsiteY25" fmla="*/ 6424742 h 6858000"/>
              <a:gd name="connsiteX26" fmla="*/ 4071818 w 6569477"/>
              <a:gd name="connsiteY26" fmla="*/ 6433178 h 6858000"/>
              <a:gd name="connsiteX27" fmla="*/ 4239510 w 6569477"/>
              <a:gd name="connsiteY27" fmla="*/ 6367480 h 6858000"/>
              <a:gd name="connsiteX28" fmla="*/ 4236315 w 6569477"/>
              <a:gd name="connsiteY28" fmla="*/ 6373075 h 6858000"/>
              <a:gd name="connsiteX29" fmla="*/ 4232912 w 6569477"/>
              <a:gd name="connsiteY29" fmla="*/ 6373925 h 6858000"/>
              <a:gd name="connsiteX30" fmla="*/ 4238687 w 6569477"/>
              <a:gd name="connsiteY30" fmla="*/ 6368327 h 6858000"/>
              <a:gd name="connsiteX31" fmla="*/ 4265838 w 6569477"/>
              <a:gd name="connsiteY31" fmla="*/ 6340386 h 6858000"/>
              <a:gd name="connsiteX32" fmla="*/ 4239510 w 6569477"/>
              <a:gd name="connsiteY32" fmla="*/ 6367480 h 6858000"/>
              <a:gd name="connsiteX33" fmla="*/ 4240531 w 6569477"/>
              <a:gd name="connsiteY33" fmla="*/ 6365693 h 6858000"/>
              <a:gd name="connsiteX34" fmla="*/ 4248968 w 6569477"/>
              <a:gd name="connsiteY34" fmla="*/ 6357257 h 6858000"/>
              <a:gd name="connsiteX35" fmla="*/ 4265838 w 6569477"/>
              <a:gd name="connsiteY35" fmla="*/ 6340386 h 6858000"/>
              <a:gd name="connsiteX36" fmla="*/ 4291147 w 6569477"/>
              <a:gd name="connsiteY36" fmla="*/ 6272900 h 6858000"/>
              <a:gd name="connsiteX37" fmla="*/ 4299581 w 6569477"/>
              <a:gd name="connsiteY37" fmla="*/ 6272900 h 6858000"/>
              <a:gd name="connsiteX38" fmla="*/ 4308018 w 6569477"/>
              <a:gd name="connsiteY38" fmla="*/ 6272900 h 6858000"/>
              <a:gd name="connsiteX39" fmla="*/ 4291147 w 6569477"/>
              <a:gd name="connsiteY39" fmla="*/ 6289772 h 6858000"/>
              <a:gd name="connsiteX40" fmla="*/ 4274273 w 6569477"/>
              <a:gd name="connsiteY40" fmla="*/ 6306643 h 6858000"/>
              <a:gd name="connsiteX41" fmla="*/ 4257404 w 6569477"/>
              <a:gd name="connsiteY41" fmla="*/ 6323512 h 6858000"/>
              <a:gd name="connsiteX42" fmla="*/ 4257404 w 6569477"/>
              <a:gd name="connsiteY42" fmla="*/ 6331950 h 6858000"/>
              <a:gd name="connsiteX43" fmla="*/ 4215224 w 6569477"/>
              <a:gd name="connsiteY43" fmla="*/ 6374128 h 6858000"/>
              <a:gd name="connsiteX44" fmla="*/ 4215223 w 6569477"/>
              <a:gd name="connsiteY44" fmla="*/ 6382562 h 6858000"/>
              <a:gd name="connsiteX45" fmla="*/ 4223663 w 6569477"/>
              <a:gd name="connsiteY45" fmla="*/ 6382564 h 6858000"/>
              <a:gd name="connsiteX46" fmla="*/ 4232099 w 6569477"/>
              <a:gd name="connsiteY46" fmla="*/ 6374128 h 6858000"/>
              <a:gd name="connsiteX47" fmla="*/ 4232912 w 6569477"/>
              <a:gd name="connsiteY47" fmla="*/ 6373925 h 6858000"/>
              <a:gd name="connsiteX48" fmla="*/ 4215378 w 6569477"/>
              <a:gd name="connsiteY48" fmla="*/ 6390919 h 6858000"/>
              <a:gd name="connsiteX49" fmla="*/ 4215224 w 6569477"/>
              <a:gd name="connsiteY49" fmla="*/ 6391000 h 6858000"/>
              <a:gd name="connsiteX50" fmla="*/ 4215199 w 6569477"/>
              <a:gd name="connsiteY50" fmla="*/ 6391088 h 6858000"/>
              <a:gd name="connsiteX51" fmla="*/ 4213115 w 6569477"/>
              <a:gd name="connsiteY51" fmla="*/ 6393108 h 6858000"/>
              <a:gd name="connsiteX52" fmla="*/ 4198356 w 6569477"/>
              <a:gd name="connsiteY52" fmla="*/ 6382564 h 6858000"/>
              <a:gd name="connsiteX53" fmla="*/ 4113994 w 6569477"/>
              <a:gd name="connsiteY53" fmla="*/ 6475357 h 6858000"/>
              <a:gd name="connsiteX54" fmla="*/ 4122431 w 6569477"/>
              <a:gd name="connsiteY54" fmla="*/ 6475355 h 6858000"/>
              <a:gd name="connsiteX55" fmla="*/ 4097125 w 6569477"/>
              <a:gd name="connsiteY55" fmla="*/ 6500664 h 6858000"/>
              <a:gd name="connsiteX56" fmla="*/ 4088687 w 6569477"/>
              <a:gd name="connsiteY56" fmla="*/ 6500664 h 6858000"/>
              <a:gd name="connsiteX57" fmla="*/ 4088688 w 6569477"/>
              <a:gd name="connsiteY57" fmla="*/ 6509098 h 6858000"/>
              <a:gd name="connsiteX58" fmla="*/ 4080256 w 6569477"/>
              <a:gd name="connsiteY58" fmla="*/ 6509098 h 6858000"/>
              <a:gd name="connsiteX59" fmla="*/ 4063383 w 6569477"/>
              <a:gd name="connsiteY59" fmla="*/ 6525971 h 6858000"/>
              <a:gd name="connsiteX60" fmla="*/ 4054946 w 6569477"/>
              <a:gd name="connsiteY60" fmla="*/ 6542841 h 6858000"/>
              <a:gd name="connsiteX61" fmla="*/ 4046513 w 6569477"/>
              <a:gd name="connsiteY61" fmla="*/ 6551277 h 6858000"/>
              <a:gd name="connsiteX62" fmla="*/ 4021201 w 6569477"/>
              <a:gd name="connsiteY62" fmla="*/ 6576584 h 6858000"/>
              <a:gd name="connsiteX63" fmla="*/ 4021203 w 6569477"/>
              <a:gd name="connsiteY63" fmla="*/ 6585021 h 6858000"/>
              <a:gd name="connsiteX64" fmla="*/ 4012768 w 6569477"/>
              <a:gd name="connsiteY64" fmla="*/ 6593455 h 6858000"/>
              <a:gd name="connsiteX65" fmla="*/ 3936845 w 6569477"/>
              <a:gd name="connsiteY65" fmla="*/ 6660941 h 6858000"/>
              <a:gd name="connsiteX66" fmla="*/ 3928411 w 6569477"/>
              <a:gd name="connsiteY66" fmla="*/ 6652505 h 6858000"/>
              <a:gd name="connsiteX67" fmla="*/ 3936844 w 6569477"/>
              <a:gd name="connsiteY67" fmla="*/ 6644069 h 6858000"/>
              <a:gd name="connsiteX68" fmla="*/ 3945281 w 6569477"/>
              <a:gd name="connsiteY68" fmla="*/ 6635634 h 6858000"/>
              <a:gd name="connsiteX69" fmla="*/ 3936845 w 6569477"/>
              <a:gd name="connsiteY69" fmla="*/ 6635634 h 6858000"/>
              <a:gd name="connsiteX70" fmla="*/ 3928411 w 6569477"/>
              <a:gd name="connsiteY70" fmla="*/ 6644072 h 6858000"/>
              <a:gd name="connsiteX71" fmla="*/ 3919975 w 6569477"/>
              <a:gd name="connsiteY71" fmla="*/ 6652505 h 6858000"/>
              <a:gd name="connsiteX72" fmla="*/ 3919975 w 6569477"/>
              <a:gd name="connsiteY72" fmla="*/ 6660941 h 6858000"/>
              <a:gd name="connsiteX73" fmla="*/ 3919974 w 6569477"/>
              <a:gd name="connsiteY73" fmla="*/ 6669377 h 6858000"/>
              <a:gd name="connsiteX74" fmla="*/ 3844054 w 6569477"/>
              <a:gd name="connsiteY74" fmla="*/ 6728426 h 6858000"/>
              <a:gd name="connsiteX75" fmla="*/ 3844051 w 6569477"/>
              <a:gd name="connsiteY75" fmla="*/ 6736860 h 6858000"/>
              <a:gd name="connsiteX76" fmla="*/ 3675339 w 6569477"/>
              <a:gd name="connsiteY76" fmla="*/ 6854962 h 6858000"/>
              <a:gd name="connsiteX77" fmla="*/ 3671147 w 6569477"/>
              <a:gd name="connsiteY77" fmla="*/ 6858000 h 6858000"/>
              <a:gd name="connsiteX78" fmla="*/ 3532438 w 6569477"/>
              <a:gd name="connsiteY78" fmla="*/ 6858000 h 6858000"/>
              <a:gd name="connsiteX79" fmla="*/ 3566728 w 6569477"/>
              <a:gd name="connsiteY79" fmla="*/ 6830708 h 6858000"/>
              <a:gd name="connsiteX80" fmla="*/ 3624722 w 6569477"/>
              <a:gd name="connsiteY80" fmla="*/ 6795912 h 6858000"/>
              <a:gd name="connsiteX81" fmla="*/ 3633161 w 6569477"/>
              <a:gd name="connsiteY81" fmla="*/ 6787476 h 6858000"/>
              <a:gd name="connsiteX82" fmla="*/ 3633160 w 6569477"/>
              <a:gd name="connsiteY82" fmla="*/ 6779041 h 6858000"/>
              <a:gd name="connsiteX83" fmla="*/ 3641596 w 6569477"/>
              <a:gd name="connsiteY83" fmla="*/ 6779041 h 6858000"/>
              <a:gd name="connsiteX84" fmla="*/ 3641596 w 6569477"/>
              <a:gd name="connsiteY84" fmla="*/ 6787476 h 6858000"/>
              <a:gd name="connsiteX85" fmla="*/ 3683775 w 6569477"/>
              <a:gd name="connsiteY85" fmla="*/ 6770605 h 6858000"/>
              <a:gd name="connsiteX86" fmla="*/ 3683775 w 6569477"/>
              <a:gd name="connsiteY86" fmla="*/ 6762169 h 6858000"/>
              <a:gd name="connsiteX87" fmla="*/ 3675339 w 6569477"/>
              <a:gd name="connsiteY87" fmla="*/ 6787476 h 6858000"/>
              <a:gd name="connsiteX88" fmla="*/ 3742824 w 6569477"/>
              <a:gd name="connsiteY88" fmla="*/ 6736862 h 6858000"/>
              <a:gd name="connsiteX89" fmla="*/ 3785001 w 6569477"/>
              <a:gd name="connsiteY89" fmla="*/ 6703120 h 6858000"/>
              <a:gd name="connsiteX90" fmla="*/ 3827182 w 6569477"/>
              <a:gd name="connsiteY90" fmla="*/ 6669377 h 6858000"/>
              <a:gd name="connsiteX91" fmla="*/ 3903102 w 6569477"/>
              <a:gd name="connsiteY91" fmla="*/ 6601891 h 6858000"/>
              <a:gd name="connsiteX92" fmla="*/ 3928411 w 6569477"/>
              <a:gd name="connsiteY92" fmla="*/ 6585021 h 6858000"/>
              <a:gd name="connsiteX93" fmla="*/ 3945281 w 6569477"/>
              <a:gd name="connsiteY93" fmla="*/ 6568148 h 6858000"/>
              <a:gd name="connsiteX94" fmla="*/ 3962152 w 6569477"/>
              <a:gd name="connsiteY94" fmla="*/ 6559714 h 6858000"/>
              <a:gd name="connsiteX95" fmla="*/ 3987461 w 6569477"/>
              <a:gd name="connsiteY95" fmla="*/ 6534407 h 6858000"/>
              <a:gd name="connsiteX96" fmla="*/ 4012768 w 6569477"/>
              <a:gd name="connsiteY96" fmla="*/ 6517534 h 6858000"/>
              <a:gd name="connsiteX97" fmla="*/ 4029637 w 6569477"/>
              <a:gd name="connsiteY97" fmla="*/ 6492227 h 6858000"/>
              <a:gd name="connsiteX98" fmla="*/ 4038075 w 6569477"/>
              <a:gd name="connsiteY98" fmla="*/ 6492227 h 6858000"/>
              <a:gd name="connsiteX99" fmla="*/ 4291147 w 6569477"/>
              <a:gd name="connsiteY99" fmla="*/ 6272900 h 6858000"/>
              <a:gd name="connsiteX100" fmla="*/ 4561089 w 6569477"/>
              <a:gd name="connsiteY100" fmla="*/ 6171673 h 6858000"/>
              <a:gd name="connsiteX101" fmla="*/ 4556321 w 6569477"/>
              <a:gd name="connsiteY101" fmla="*/ 6179312 h 6858000"/>
              <a:gd name="connsiteX102" fmla="*/ 4554763 w 6569477"/>
              <a:gd name="connsiteY102" fmla="*/ 6179053 h 6858000"/>
              <a:gd name="connsiteX103" fmla="*/ 4561089 w 6569477"/>
              <a:gd name="connsiteY103" fmla="*/ 6171673 h 6858000"/>
              <a:gd name="connsiteX104" fmla="*/ 4671175 w 6569477"/>
              <a:gd name="connsiteY104" fmla="*/ 5979022 h 6858000"/>
              <a:gd name="connsiteX105" fmla="*/ 4669173 w 6569477"/>
              <a:gd name="connsiteY105" fmla="*/ 5981473 h 6858000"/>
              <a:gd name="connsiteX106" fmla="*/ 4645447 w 6569477"/>
              <a:gd name="connsiteY106" fmla="*/ 5994524 h 6858000"/>
              <a:gd name="connsiteX107" fmla="*/ 4644391 w 6569477"/>
              <a:gd name="connsiteY107" fmla="*/ 6000718 h 6858000"/>
              <a:gd name="connsiteX108" fmla="*/ 4645606 w 6569477"/>
              <a:gd name="connsiteY108" fmla="*/ 6000505 h 6858000"/>
              <a:gd name="connsiteX109" fmla="*/ 4646686 w 6569477"/>
              <a:gd name="connsiteY109" fmla="*/ 5998475 h 6858000"/>
              <a:gd name="connsiteX110" fmla="*/ 4647927 w 6569477"/>
              <a:gd name="connsiteY110" fmla="*/ 6000099 h 6858000"/>
              <a:gd name="connsiteX111" fmla="*/ 4649663 w 6569477"/>
              <a:gd name="connsiteY111" fmla="*/ 5999795 h 6858000"/>
              <a:gd name="connsiteX112" fmla="*/ 4654936 w 6569477"/>
              <a:gd name="connsiteY112" fmla="*/ 6000454 h 6858000"/>
              <a:gd name="connsiteX113" fmla="*/ 4654647 w 6569477"/>
              <a:gd name="connsiteY113" fmla="*/ 6003455 h 6858000"/>
              <a:gd name="connsiteX114" fmla="*/ 4658944 w 6569477"/>
              <a:gd name="connsiteY114" fmla="*/ 5998240 h 6858000"/>
              <a:gd name="connsiteX115" fmla="*/ 5823292 w 6569477"/>
              <a:gd name="connsiteY115" fmla="*/ 5722907 h 6858000"/>
              <a:gd name="connsiteX116" fmla="*/ 5800797 w 6569477"/>
              <a:gd name="connsiteY116" fmla="*/ 5768179 h 6858000"/>
              <a:gd name="connsiteX117" fmla="*/ 5806978 w 6569477"/>
              <a:gd name="connsiteY117" fmla="*/ 5758327 h 6858000"/>
              <a:gd name="connsiteX118" fmla="*/ 5818310 w 6569477"/>
              <a:gd name="connsiteY118" fmla="*/ 5744909 h 6858000"/>
              <a:gd name="connsiteX119" fmla="*/ 5822096 w 6569477"/>
              <a:gd name="connsiteY119" fmla="*/ 5732580 h 6858000"/>
              <a:gd name="connsiteX120" fmla="*/ 5907073 w 6569477"/>
              <a:gd name="connsiteY120" fmla="*/ 5708785 h 6858000"/>
              <a:gd name="connsiteX121" fmla="*/ 5869741 w 6569477"/>
              <a:gd name="connsiteY121" fmla="*/ 5783136 h 6858000"/>
              <a:gd name="connsiteX122" fmla="*/ 5842500 w 6569477"/>
              <a:gd name="connsiteY122" fmla="*/ 5863847 h 6858000"/>
              <a:gd name="connsiteX123" fmla="*/ 5690433 w 6569477"/>
              <a:gd name="connsiteY123" fmla="*/ 6081162 h 6858000"/>
              <a:gd name="connsiteX124" fmla="*/ 5663883 w 6569477"/>
              <a:gd name="connsiteY124" fmla="*/ 6103351 h 6858000"/>
              <a:gd name="connsiteX125" fmla="*/ 5636415 w 6569477"/>
              <a:gd name="connsiteY125" fmla="*/ 6152111 h 6858000"/>
              <a:gd name="connsiteX126" fmla="*/ 5637318 w 6569477"/>
              <a:gd name="connsiteY126" fmla="*/ 6151784 h 6858000"/>
              <a:gd name="connsiteX127" fmla="*/ 5618612 w 6569477"/>
              <a:gd name="connsiteY127" fmla="*/ 6190081 h 6858000"/>
              <a:gd name="connsiteX128" fmla="*/ 5611094 w 6569477"/>
              <a:gd name="connsiteY128" fmla="*/ 6205514 h 6858000"/>
              <a:gd name="connsiteX129" fmla="*/ 5619596 w 6569477"/>
              <a:gd name="connsiteY129" fmla="*/ 6194628 h 6858000"/>
              <a:gd name="connsiteX130" fmla="*/ 5636991 w 6569477"/>
              <a:gd name="connsiteY130" fmla="*/ 6166061 h 6858000"/>
              <a:gd name="connsiteX131" fmla="*/ 5657339 w 6569477"/>
              <a:gd name="connsiteY131" fmla="*/ 6161951 h 6858000"/>
              <a:gd name="connsiteX132" fmla="*/ 5638432 w 6569477"/>
              <a:gd name="connsiteY132" fmla="*/ 6208150 h 6858000"/>
              <a:gd name="connsiteX133" fmla="*/ 5718245 w 6569477"/>
              <a:gd name="connsiteY133" fmla="*/ 6079013 h 6858000"/>
              <a:gd name="connsiteX134" fmla="*/ 5802168 w 6569477"/>
              <a:gd name="connsiteY134" fmla="*/ 5970237 h 6858000"/>
              <a:gd name="connsiteX135" fmla="*/ 5917053 w 6569477"/>
              <a:gd name="connsiteY135" fmla="*/ 5735129 h 6858000"/>
              <a:gd name="connsiteX136" fmla="*/ 5902116 w 6569477"/>
              <a:gd name="connsiteY136" fmla="*/ 5731083 h 6858000"/>
              <a:gd name="connsiteX137" fmla="*/ 5917201 w 6569477"/>
              <a:gd name="connsiteY137" fmla="*/ 5634092 h 6858000"/>
              <a:gd name="connsiteX138" fmla="*/ 5891750 w 6569477"/>
              <a:gd name="connsiteY138" fmla="*/ 5667883 h 6858000"/>
              <a:gd name="connsiteX139" fmla="*/ 5781231 w 6569477"/>
              <a:gd name="connsiteY139" fmla="*/ 5830035 h 6858000"/>
              <a:gd name="connsiteX140" fmla="*/ 5766290 w 6569477"/>
              <a:gd name="connsiteY140" fmla="*/ 5839137 h 6858000"/>
              <a:gd name="connsiteX141" fmla="*/ 5764238 w 6569477"/>
              <a:gd name="connsiteY141" fmla="*/ 5841451 h 6858000"/>
              <a:gd name="connsiteX142" fmla="*/ 5588834 w 6569477"/>
              <a:gd name="connsiteY142" fmla="*/ 6142779 h 6858000"/>
              <a:gd name="connsiteX143" fmla="*/ 5549933 w 6569477"/>
              <a:gd name="connsiteY143" fmla="*/ 6201116 h 6858000"/>
              <a:gd name="connsiteX144" fmla="*/ 5547357 w 6569477"/>
              <a:gd name="connsiteY144" fmla="*/ 6207173 h 6858000"/>
              <a:gd name="connsiteX145" fmla="*/ 5529789 w 6569477"/>
              <a:gd name="connsiteY145" fmla="*/ 6231324 h 6858000"/>
              <a:gd name="connsiteX146" fmla="*/ 5464244 w 6569477"/>
              <a:gd name="connsiteY146" fmla="*/ 6329615 h 6858000"/>
              <a:gd name="connsiteX147" fmla="*/ 5402037 w 6569477"/>
              <a:gd name="connsiteY147" fmla="*/ 6435651 h 6858000"/>
              <a:gd name="connsiteX148" fmla="*/ 5408957 w 6569477"/>
              <a:gd name="connsiteY148" fmla="*/ 6435651 h 6858000"/>
              <a:gd name="connsiteX149" fmla="*/ 5422798 w 6569477"/>
              <a:gd name="connsiteY149" fmla="*/ 6428728 h 6858000"/>
              <a:gd name="connsiteX150" fmla="*/ 5421385 w 6569477"/>
              <a:gd name="connsiteY150" fmla="*/ 6432963 h 6858000"/>
              <a:gd name="connsiteX151" fmla="*/ 5408956 w 6569477"/>
              <a:gd name="connsiteY151" fmla="*/ 6449499 h 6858000"/>
              <a:gd name="connsiteX152" fmla="*/ 5415877 w 6569477"/>
              <a:gd name="connsiteY152" fmla="*/ 6449499 h 6858000"/>
              <a:gd name="connsiteX153" fmla="*/ 5421385 w 6569477"/>
              <a:gd name="connsiteY153" fmla="*/ 6432963 h 6858000"/>
              <a:gd name="connsiteX154" fmla="*/ 5487674 w 6569477"/>
              <a:gd name="connsiteY154" fmla="*/ 6344780 h 6858000"/>
              <a:gd name="connsiteX155" fmla="*/ 5495039 w 6569477"/>
              <a:gd name="connsiteY155" fmla="*/ 6334691 h 6858000"/>
              <a:gd name="connsiteX156" fmla="*/ 5485269 w 6569477"/>
              <a:gd name="connsiteY156" fmla="*/ 6342855 h 6858000"/>
              <a:gd name="connsiteX157" fmla="*/ 5480829 w 6569477"/>
              <a:gd name="connsiteY157" fmla="*/ 6337541 h 6858000"/>
              <a:gd name="connsiteX158" fmla="*/ 5525918 w 6569477"/>
              <a:gd name="connsiteY158" fmla="*/ 6272793 h 6858000"/>
              <a:gd name="connsiteX159" fmla="*/ 5577186 w 6569477"/>
              <a:gd name="connsiteY159" fmla="*/ 6193853 h 6858000"/>
              <a:gd name="connsiteX160" fmla="*/ 5598425 w 6569477"/>
              <a:gd name="connsiteY160" fmla="*/ 6176103 h 6858000"/>
              <a:gd name="connsiteX161" fmla="*/ 5613302 w 6569477"/>
              <a:gd name="connsiteY161" fmla="*/ 6163670 h 6858000"/>
              <a:gd name="connsiteX162" fmla="*/ 5616665 w 6569477"/>
              <a:gd name="connsiteY162" fmla="*/ 6159249 h 6858000"/>
              <a:gd name="connsiteX163" fmla="*/ 5619814 w 6569477"/>
              <a:gd name="connsiteY163" fmla="*/ 6158111 h 6858000"/>
              <a:gd name="connsiteX164" fmla="*/ 5641844 w 6569477"/>
              <a:gd name="connsiteY164" fmla="*/ 6122335 h 6858000"/>
              <a:gd name="connsiteX165" fmla="*/ 5694784 w 6569477"/>
              <a:gd name="connsiteY165" fmla="*/ 6032412 h 6858000"/>
              <a:gd name="connsiteX166" fmla="*/ 5727512 w 6569477"/>
              <a:gd name="connsiteY166" fmla="*/ 5996037 h 6858000"/>
              <a:gd name="connsiteX167" fmla="*/ 5723942 w 6569477"/>
              <a:gd name="connsiteY167" fmla="*/ 5980974 h 6858000"/>
              <a:gd name="connsiteX168" fmla="*/ 5822911 w 6569477"/>
              <a:gd name="connsiteY168" fmla="*/ 5808034 h 6858000"/>
              <a:gd name="connsiteX169" fmla="*/ 5877583 w 6569477"/>
              <a:gd name="connsiteY169" fmla="*/ 5711587 h 6858000"/>
              <a:gd name="connsiteX170" fmla="*/ 6242698 w 6569477"/>
              <a:gd name="connsiteY170" fmla="*/ 5517691 h 6858000"/>
              <a:gd name="connsiteX171" fmla="*/ 6208261 w 6569477"/>
              <a:gd name="connsiteY171" fmla="*/ 5662208 h 6858000"/>
              <a:gd name="connsiteX172" fmla="*/ 6146276 w 6569477"/>
              <a:gd name="connsiteY172" fmla="*/ 5765433 h 6858000"/>
              <a:gd name="connsiteX173" fmla="*/ 6153163 w 6569477"/>
              <a:gd name="connsiteY173" fmla="*/ 5772316 h 6858000"/>
              <a:gd name="connsiteX174" fmla="*/ 6139388 w 6569477"/>
              <a:gd name="connsiteY174" fmla="*/ 5792960 h 6858000"/>
              <a:gd name="connsiteX175" fmla="*/ 6132502 w 6569477"/>
              <a:gd name="connsiteY175" fmla="*/ 5799841 h 6858000"/>
              <a:gd name="connsiteX176" fmla="*/ 6139387 w 6569477"/>
              <a:gd name="connsiteY176" fmla="*/ 5799843 h 6858000"/>
              <a:gd name="connsiteX177" fmla="*/ 6098063 w 6569477"/>
              <a:gd name="connsiteY177" fmla="*/ 5903069 h 6858000"/>
              <a:gd name="connsiteX178" fmla="*/ 6098064 w 6569477"/>
              <a:gd name="connsiteY178" fmla="*/ 5909950 h 6858000"/>
              <a:gd name="connsiteX179" fmla="*/ 6098065 w 6569477"/>
              <a:gd name="connsiteY179" fmla="*/ 5916833 h 6858000"/>
              <a:gd name="connsiteX180" fmla="*/ 6098065 w 6569477"/>
              <a:gd name="connsiteY180" fmla="*/ 5923714 h 6858000"/>
              <a:gd name="connsiteX181" fmla="*/ 6091178 w 6569477"/>
              <a:gd name="connsiteY181" fmla="*/ 5923714 h 6858000"/>
              <a:gd name="connsiteX182" fmla="*/ 6098065 w 6569477"/>
              <a:gd name="connsiteY182" fmla="*/ 5930597 h 6858000"/>
              <a:gd name="connsiteX183" fmla="*/ 6084290 w 6569477"/>
              <a:gd name="connsiteY183" fmla="*/ 5985651 h 6858000"/>
              <a:gd name="connsiteX184" fmla="*/ 6118727 w 6569477"/>
              <a:gd name="connsiteY184" fmla="*/ 5965005 h 6858000"/>
              <a:gd name="connsiteX185" fmla="*/ 6115283 w 6569477"/>
              <a:gd name="connsiteY185" fmla="*/ 5978768 h 6858000"/>
              <a:gd name="connsiteX186" fmla="*/ 6113562 w 6569477"/>
              <a:gd name="connsiteY186" fmla="*/ 5985649 h 6858000"/>
              <a:gd name="connsiteX187" fmla="*/ 6111840 w 6569477"/>
              <a:gd name="connsiteY187" fmla="*/ 5985651 h 6858000"/>
              <a:gd name="connsiteX188" fmla="*/ 6111840 w 6569477"/>
              <a:gd name="connsiteY188" fmla="*/ 5992530 h 6858000"/>
              <a:gd name="connsiteX189" fmla="*/ 6113562 w 6569477"/>
              <a:gd name="connsiteY189" fmla="*/ 5985649 h 6858000"/>
              <a:gd name="connsiteX190" fmla="*/ 6118727 w 6569477"/>
              <a:gd name="connsiteY190" fmla="*/ 5985649 h 6858000"/>
              <a:gd name="connsiteX191" fmla="*/ 6118727 w 6569477"/>
              <a:gd name="connsiteY191" fmla="*/ 5992532 h 6858000"/>
              <a:gd name="connsiteX192" fmla="*/ 6118727 w 6569477"/>
              <a:gd name="connsiteY192" fmla="*/ 5999413 h 6858000"/>
              <a:gd name="connsiteX193" fmla="*/ 6098065 w 6569477"/>
              <a:gd name="connsiteY193" fmla="*/ 6033823 h 6858000"/>
              <a:gd name="connsiteX194" fmla="*/ 6091178 w 6569477"/>
              <a:gd name="connsiteY194" fmla="*/ 6040704 h 6858000"/>
              <a:gd name="connsiteX195" fmla="*/ 6084290 w 6569477"/>
              <a:gd name="connsiteY195" fmla="*/ 6054467 h 6858000"/>
              <a:gd name="connsiteX196" fmla="*/ 6077403 w 6569477"/>
              <a:gd name="connsiteY196" fmla="*/ 6061350 h 6858000"/>
              <a:gd name="connsiteX197" fmla="*/ 6084290 w 6569477"/>
              <a:gd name="connsiteY197" fmla="*/ 6047585 h 6858000"/>
              <a:gd name="connsiteX198" fmla="*/ 6091178 w 6569477"/>
              <a:gd name="connsiteY198" fmla="*/ 6033821 h 6858000"/>
              <a:gd name="connsiteX199" fmla="*/ 6056740 w 6569477"/>
              <a:gd name="connsiteY199" fmla="*/ 6068231 h 6858000"/>
              <a:gd name="connsiteX200" fmla="*/ 6036078 w 6569477"/>
              <a:gd name="connsiteY200" fmla="*/ 6047587 h 6858000"/>
              <a:gd name="connsiteX201" fmla="*/ 5884558 w 6569477"/>
              <a:gd name="connsiteY201" fmla="*/ 6329737 h 6858000"/>
              <a:gd name="connsiteX202" fmla="*/ 5877670 w 6569477"/>
              <a:gd name="connsiteY202" fmla="*/ 6343502 h 6858000"/>
              <a:gd name="connsiteX203" fmla="*/ 5870783 w 6569477"/>
              <a:gd name="connsiteY203" fmla="*/ 6350383 h 6858000"/>
              <a:gd name="connsiteX204" fmla="*/ 5801910 w 6569477"/>
              <a:gd name="connsiteY204" fmla="*/ 6460490 h 6858000"/>
              <a:gd name="connsiteX205" fmla="*/ 5719261 w 6569477"/>
              <a:gd name="connsiteY205" fmla="*/ 6598128 h 6858000"/>
              <a:gd name="connsiteX206" fmla="*/ 5615952 w 6569477"/>
              <a:gd name="connsiteY206" fmla="*/ 6728880 h 6858000"/>
              <a:gd name="connsiteX207" fmla="*/ 5540191 w 6569477"/>
              <a:gd name="connsiteY207" fmla="*/ 6825223 h 6858000"/>
              <a:gd name="connsiteX208" fmla="*/ 5514417 w 6569477"/>
              <a:gd name="connsiteY208" fmla="*/ 6858000 h 6858000"/>
              <a:gd name="connsiteX209" fmla="*/ 5432172 w 6569477"/>
              <a:gd name="connsiteY209" fmla="*/ 6858000 h 6858000"/>
              <a:gd name="connsiteX210" fmla="*/ 5485092 w 6569477"/>
              <a:gd name="connsiteY210" fmla="*/ 6818343 h 6858000"/>
              <a:gd name="connsiteX211" fmla="*/ 5498867 w 6569477"/>
              <a:gd name="connsiteY211" fmla="*/ 6832106 h 6858000"/>
              <a:gd name="connsiteX212" fmla="*/ 5547078 w 6569477"/>
              <a:gd name="connsiteY212" fmla="*/ 6777051 h 6858000"/>
              <a:gd name="connsiteX213" fmla="*/ 5540191 w 6569477"/>
              <a:gd name="connsiteY213" fmla="*/ 6777052 h 6858000"/>
              <a:gd name="connsiteX214" fmla="*/ 5533303 w 6569477"/>
              <a:gd name="connsiteY214" fmla="*/ 6783935 h 6858000"/>
              <a:gd name="connsiteX215" fmla="*/ 5533304 w 6569477"/>
              <a:gd name="connsiteY215" fmla="*/ 6777052 h 6858000"/>
              <a:gd name="connsiteX216" fmla="*/ 5512641 w 6569477"/>
              <a:gd name="connsiteY216" fmla="*/ 6783935 h 6858000"/>
              <a:gd name="connsiteX217" fmla="*/ 5547078 w 6569477"/>
              <a:gd name="connsiteY217" fmla="*/ 6742645 h 6858000"/>
              <a:gd name="connsiteX218" fmla="*/ 5547077 w 6569477"/>
              <a:gd name="connsiteY218" fmla="*/ 6735761 h 6858000"/>
              <a:gd name="connsiteX219" fmla="*/ 5553964 w 6569477"/>
              <a:gd name="connsiteY219" fmla="*/ 6735759 h 6858000"/>
              <a:gd name="connsiteX220" fmla="*/ 5560853 w 6569477"/>
              <a:gd name="connsiteY220" fmla="*/ 6721997 h 6858000"/>
              <a:gd name="connsiteX221" fmla="*/ 5567740 w 6569477"/>
              <a:gd name="connsiteY221" fmla="*/ 6721999 h 6858000"/>
              <a:gd name="connsiteX222" fmla="*/ 5615951 w 6569477"/>
              <a:gd name="connsiteY222" fmla="*/ 6639417 h 6858000"/>
              <a:gd name="connsiteX223" fmla="*/ 5677937 w 6569477"/>
              <a:gd name="connsiteY223" fmla="*/ 6591244 h 6858000"/>
              <a:gd name="connsiteX224" fmla="*/ 5684824 w 6569477"/>
              <a:gd name="connsiteY224" fmla="*/ 6584361 h 6858000"/>
              <a:gd name="connsiteX225" fmla="*/ 5698599 w 6569477"/>
              <a:gd name="connsiteY225" fmla="*/ 6570599 h 6858000"/>
              <a:gd name="connsiteX226" fmla="*/ 5698600 w 6569477"/>
              <a:gd name="connsiteY226" fmla="*/ 6577480 h 6858000"/>
              <a:gd name="connsiteX227" fmla="*/ 5691712 w 6569477"/>
              <a:gd name="connsiteY227" fmla="*/ 6584363 h 6858000"/>
              <a:gd name="connsiteX228" fmla="*/ 5691711 w 6569477"/>
              <a:gd name="connsiteY228" fmla="*/ 6591244 h 6858000"/>
              <a:gd name="connsiteX229" fmla="*/ 5719261 w 6569477"/>
              <a:gd name="connsiteY229" fmla="*/ 6543072 h 6858000"/>
              <a:gd name="connsiteX230" fmla="*/ 5712373 w 6569477"/>
              <a:gd name="connsiteY230" fmla="*/ 6549953 h 6858000"/>
              <a:gd name="connsiteX231" fmla="*/ 5712373 w 6569477"/>
              <a:gd name="connsiteY231" fmla="*/ 6543070 h 6858000"/>
              <a:gd name="connsiteX232" fmla="*/ 5712374 w 6569477"/>
              <a:gd name="connsiteY232" fmla="*/ 6536189 h 6858000"/>
              <a:gd name="connsiteX233" fmla="*/ 5698599 w 6569477"/>
              <a:gd name="connsiteY233" fmla="*/ 6543072 h 6858000"/>
              <a:gd name="connsiteX234" fmla="*/ 5733036 w 6569477"/>
              <a:gd name="connsiteY234" fmla="*/ 6508664 h 6858000"/>
              <a:gd name="connsiteX235" fmla="*/ 5739923 w 6569477"/>
              <a:gd name="connsiteY235" fmla="*/ 6501783 h 6858000"/>
              <a:gd name="connsiteX236" fmla="*/ 5745949 w 6569477"/>
              <a:gd name="connsiteY236" fmla="*/ 6498341 h 6858000"/>
              <a:gd name="connsiteX237" fmla="*/ 5746479 w 6569477"/>
              <a:gd name="connsiteY237" fmla="*/ 6496223 h 6858000"/>
              <a:gd name="connsiteX238" fmla="*/ 5774791 w 6569477"/>
              <a:gd name="connsiteY238" fmla="*/ 6472212 h 6858000"/>
              <a:gd name="connsiteX239" fmla="*/ 5863896 w 6569477"/>
              <a:gd name="connsiteY239" fmla="*/ 6343502 h 6858000"/>
              <a:gd name="connsiteX240" fmla="*/ 5870782 w 6569477"/>
              <a:gd name="connsiteY240" fmla="*/ 6336621 h 6858000"/>
              <a:gd name="connsiteX241" fmla="*/ 5877670 w 6569477"/>
              <a:gd name="connsiteY241" fmla="*/ 6322854 h 6858000"/>
              <a:gd name="connsiteX242" fmla="*/ 5877670 w 6569477"/>
              <a:gd name="connsiteY242" fmla="*/ 6329736 h 6858000"/>
              <a:gd name="connsiteX243" fmla="*/ 5896073 w 6569477"/>
              <a:gd name="connsiteY243" fmla="*/ 6274575 h 6858000"/>
              <a:gd name="connsiteX244" fmla="*/ 5897128 w 6569477"/>
              <a:gd name="connsiteY244" fmla="*/ 6268192 h 6858000"/>
              <a:gd name="connsiteX245" fmla="*/ 5897471 w 6569477"/>
              <a:gd name="connsiteY245" fmla="*/ 6267801 h 6858000"/>
              <a:gd name="connsiteX246" fmla="*/ 5898331 w 6569477"/>
              <a:gd name="connsiteY246" fmla="*/ 6260920 h 6858000"/>
              <a:gd name="connsiteX247" fmla="*/ 5897128 w 6569477"/>
              <a:gd name="connsiteY247" fmla="*/ 6268192 h 6858000"/>
              <a:gd name="connsiteX248" fmla="*/ 5891445 w 6569477"/>
              <a:gd name="connsiteY248" fmla="*/ 6274682 h 6858000"/>
              <a:gd name="connsiteX249" fmla="*/ 5884558 w 6569477"/>
              <a:gd name="connsiteY249" fmla="*/ 6274684 h 6858000"/>
              <a:gd name="connsiteX250" fmla="*/ 5891444 w 6569477"/>
              <a:gd name="connsiteY250" fmla="*/ 6260922 h 6858000"/>
              <a:gd name="connsiteX251" fmla="*/ 5891445 w 6569477"/>
              <a:gd name="connsiteY251" fmla="*/ 6258416 h 6858000"/>
              <a:gd name="connsiteX252" fmla="*/ 5894028 w 6569477"/>
              <a:gd name="connsiteY252" fmla="*/ 6254899 h 6858000"/>
              <a:gd name="connsiteX253" fmla="*/ 5898332 w 6569477"/>
              <a:gd name="connsiteY253" fmla="*/ 6247155 h 6858000"/>
              <a:gd name="connsiteX254" fmla="*/ 5891444 w 6569477"/>
              <a:gd name="connsiteY254" fmla="*/ 6254039 h 6858000"/>
              <a:gd name="connsiteX255" fmla="*/ 5891445 w 6569477"/>
              <a:gd name="connsiteY255" fmla="*/ 6258416 h 6858000"/>
              <a:gd name="connsiteX256" fmla="*/ 5884558 w 6569477"/>
              <a:gd name="connsiteY256" fmla="*/ 6267801 h 6858000"/>
              <a:gd name="connsiteX257" fmla="*/ 6022303 w 6569477"/>
              <a:gd name="connsiteY257" fmla="*/ 5992532 h 6858000"/>
              <a:gd name="connsiteX258" fmla="*/ 6049854 w 6569477"/>
              <a:gd name="connsiteY258" fmla="*/ 5958122 h 6858000"/>
              <a:gd name="connsiteX259" fmla="*/ 6042968 w 6569477"/>
              <a:gd name="connsiteY259" fmla="*/ 5944358 h 6858000"/>
              <a:gd name="connsiteX260" fmla="*/ 6049853 w 6569477"/>
              <a:gd name="connsiteY260" fmla="*/ 5937477 h 6858000"/>
              <a:gd name="connsiteX261" fmla="*/ 6056739 w 6569477"/>
              <a:gd name="connsiteY261" fmla="*/ 5923714 h 6858000"/>
              <a:gd name="connsiteX262" fmla="*/ 6110010 w 6569477"/>
              <a:gd name="connsiteY262" fmla="*/ 5829842 h 6858000"/>
              <a:gd name="connsiteX263" fmla="*/ 6122376 w 6569477"/>
              <a:gd name="connsiteY263" fmla="*/ 5811522 h 6858000"/>
              <a:gd name="connsiteX264" fmla="*/ 6124752 w 6569477"/>
              <a:gd name="connsiteY264" fmla="*/ 5810165 h 6858000"/>
              <a:gd name="connsiteX265" fmla="*/ 6125614 w 6569477"/>
              <a:gd name="connsiteY265" fmla="*/ 5806724 h 6858000"/>
              <a:gd name="connsiteX266" fmla="*/ 6122376 w 6569477"/>
              <a:gd name="connsiteY266" fmla="*/ 5811522 h 6858000"/>
              <a:gd name="connsiteX267" fmla="*/ 6118726 w 6569477"/>
              <a:gd name="connsiteY267" fmla="*/ 5813605 h 6858000"/>
              <a:gd name="connsiteX268" fmla="*/ 6111839 w 6569477"/>
              <a:gd name="connsiteY268" fmla="*/ 5806722 h 6858000"/>
              <a:gd name="connsiteX269" fmla="*/ 6118725 w 6569477"/>
              <a:gd name="connsiteY269" fmla="*/ 5799843 h 6858000"/>
              <a:gd name="connsiteX270" fmla="*/ 6118726 w 6569477"/>
              <a:gd name="connsiteY270" fmla="*/ 5792960 h 6858000"/>
              <a:gd name="connsiteX271" fmla="*/ 6180713 w 6569477"/>
              <a:gd name="connsiteY271" fmla="*/ 5682851 h 6858000"/>
              <a:gd name="connsiteX272" fmla="*/ 6242698 w 6569477"/>
              <a:gd name="connsiteY272" fmla="*/ 5517691 h 6858000"/>
              <a:gd name="connsiteX273" fmla="*/ 6031724 w 6569477"/>
              <a:gd name="connsiteY273" fmla="*/ 5503741 h 6858000"/>
              <a:gd name="connsiteX274" fmla="*/ 6030787 w 6569477"/>
              <a:gd name="connsiteY274" fmla="*/ 5503894 h 6858000"/>
              <a:gd name="connsiteX275" fmla="*/ 6006746 w 6569477"/>
              <a:gd name="connsiteY275" fmla="*/ 5510028 h 6858000"/>
              <a:gd name="connsiteX276" fmla="*/ 5958107 w 6569477"/>
              <a:gd name="connsiteY276" fmla="*/ 5613697 h 6858000"/>
              <a:gd name="connsiteX277" fmla="*/ 5918354 w 6569477"/>
              <a:gd name="connsiteY277" fmla="*/ 5687414 h 6858000"/>
              <a:gd name="connsiteX278" fmla="*/ 5923128 w 6569477"/>
              <a:gd name="connsiteY278" fmla="*/ 5688762 h 6858000"/>
              <a:gd name="connsiteX279" fmla="*/ 5945484 w 6569477"/>
              <a:gd name="connsiteY279" fmla="*/ 5701131 h 6858000"/>
              <a:gd name="connsiteX280" fmla="*/ 6002207 w 6569477"/>
              <a:gd name="connsiteY280" fmla="*/ 5562534 h 6858000"/>
              <a:gd name="connsiteX281" fmla="*/ 4900498 w 6569477"/>
              <a:gd name="connsiteY281" fmla="*/ 5370762 h 6858000"/>
              <a:gd name="connsiteX282" fmla="*/ 4900627 w 6569477"/>
              <a:gd name="connsiteY282" fmla="*/ 5371339 h 6858000"/>
              <a:gd name="connsiteX283" fmla="*/ 4890083 w 6569477"/>
              <a:gd name="connsiteY283" fmla="*/ 5387153 h 6858000"/>
              <a:gd name="connsiteX284" fmla="*/ 6059700 w 6569477"/>
              <a:gd name="connsiteY284" fmla="*/ 5339561 h 6858000"/>
              <a:gd name="connsiteX285" fmla="*/ 6048904 w 6569477"/>
              <a:gd name="connsiteY285" fmla="*/ 5362569 h 6858000"/>
              <a:gd name="connsiteX286" fmla="*/ 5960539 w 6569477"/>
              <a:gd name="connsiteY286" fmla="*/ 5532008 h 6858000"/>
              <a:gd name="connsiteX287" fmla="*/ 5934065 w 6569477"/>
              <a:gd name="connsiteY287" fmla="*/ 5610445 h 6858000"/>
              <a:gd name="connsiteX288" fmla="*/ 5937012 w 6569477"/>
              <a:gd name="connsiteY288" fmla="*/ 5610037 h 6858000"/>
              <a:gd name="connsiteX289" fmla="*/ 5948427 w 6569477"/>
              <a:gd name="connsiteY289" fmla="*/ 5612905 h 6858000"/>
              <a:gd name="connsiteX290" fmla="*/ 6012835 w 6569477"/>
              <a:gd name="connsiteY290" fmla="*/ 5441778 h 6858000"/>
              <a:gd name="connsiteX291" fmla="*/ 6060534 w 6569477"/>
              <a:gd name="connsiteY291" fmla="*/ 5347774 h 6858000"/>
              <a:gd name="connsiteX292" fmla="*/ 5092541 w 6569477"/>
              <a:gd name="connsiteY292" fmla="*/ 5302798 h 6858000"/>
              <a:gd name="connsiteX293" fmla="*/ 5084105 w 6569477"/>
              <a:gd name="connsiteY293" fmla="*/ 5311234 h 6858000"/>
              <a:gd name="connsiteX294" fmla="*/ 5092541 w 6569477"/>
              <a:gd name="connsiteY294" fmla="*/ 5302798 h 6858000"/>
              <a:gd name="connsiteX295" fmla="*/ 4274497 w 6569477"/>
              <a:gd name="connsiteY295" fmla="*/ 5281926 h 6858000"/>
              <a:gd name="connsiteX296" fmla="*/ 4273967 w 6569477"/>
              <a:gd name="connsiteY296" fmla="*/ 5284044 h 6858000"/>
              <a:gd name="connsiteX297" fmla="*/ 4267941 w 6569477"/>
              <a:gd name="connsiteY297" fmla="*/ 5287486 h 6858000"/>
              <a:gd name="connsiteX298" fmla="*/ 6147025 w 6569477"/>
              <a:gd name="connsiteY298" fmla="*/ 5207320 h 6858000"/>
              <a:gd name="connsiteX299" fmla="*/ 6127664 w 6569477"/>
              <a:gd name="connsiteY299" fmla="*/ 5251775 h 6858000"/>
              <a:gd name="connsiteX300" fmla="*/ 6127242 w 6569477"/>
              <a:gd name="connsiteY300" fmla="*/ 5251844 h 6858000"/>
              <a:gd name="connsiteX301" fmla="*/ 6127919 w 6569477"/>
              <a:gd name="connsiteY301" fmla="*/ 5262990 h 6858000"/>
              <a:gd name="connsiteX302" fmla="*/ 6131360 w 6569477"/>
              <a:gd name="connsiteY302" fmla="*/ 5253356 h 6858000"/>
              <a:gd name="connsiteX303" fmla="*/ 5028123 w 6569477"/>
              <a:gd name="connsiteY303" fmla="*/ 5195433 h 6858000"/>
              <a:gd name="connsiteX304" fmla="*/ 5025054 w 6569477"/>
              <a:gd name="connsiteY304" fmla="*/ 5201570 h 6858000"/>
              <a:gd name="connsiteX305" fmla="*/ 5025055 w 6569477"/>
              <a:gd name="connsiteY305" fmla="*/ 5210004 h 6858000"/>
              <a:gd name="connsiteX306" fmla="*/ 5016618 w 6569477"/>
              <a:gd name="connsiteY306" fmla="*/ 5218441 h 6858000"/>
              <a:gd name="connsiteX307" fmla="*/ 5016619 w 6569477"/>
              <a:gd name="connsiteY307" fmla="*/ 5201568 h 6858000"/>
              <a:gd name="connsiteX308" fmla="*/ 5038512 w 6569477"/>
              <a:gd name="connsiteY308" fmla="*/ 5179677 h 6858000"/>
              <a:gd name="connsiteX309" fmla="*/ 5030458 w 6569477"/>
              <a:gd name="connsiteY309" fmla="*/ 5194189 h 6858000"/>
              <a:gd name="connsiteX310" fmla="*/ 5028123 w 6569477"/>
              <a:gd name="connsiteY310" fmla="*/ 5195433 h 6858000"/>
              <a:gd name="connsiteX311" fmla="*/ 5033492 w 6569477"/>
              <a:gd name="connsiteY311" fmla="*/ 5184698 h 6858000"/>
              <a:gd name="connsiteX312" fmla="*/ 5051826 w 6569477"/>
              <a:gd name="connsiteY312" fmla="*/ 5150955 h 6858000"/>
              <a:gd name="connsiteX313" fmla="*/ 5058797 w 6569477"/>
              <a:gd name="connsiteY313" fmla="*/ 5150956 h 6858000"/>
              <a:gd name="connsiteX314" fmla="*/ 5041926 w 6569477"/>
              <a:gd name="connsiteY314" fmla="*/ 5176263 h 6858000"/>
              <a:gd name="connsiteX315" fmla="*/ 5038512 w 6569477"/>
              <a:gd name="connsiteY315" fmla="*/ 5179677 h 6858000"/>
              <a:gd name="connsiteX316" fmla="*/ 5045089 w 6569477"/>
              <a:gd name="connsiteY316" fmla="*/ 5167825 h 6858000"/>
              <a:gd name="connsiteX317" fmla="*/ 5057164 w 6569477"/>
              <a:gd name="connsiteY317" fmla="*/ 5137575 h 6858000"/>
              <a:gd name="connsiteX318" fmla="*/ 5051826 w 6569477"/>
              <a:gd name="connsiteY318" fmla="*/ 5150955 h 6858000"/>
              <a:gd name="connsiteX319" fmla="*/ 5050362 w 6569477"/>
              <a:gd name="connsiteY319" fmla="*/ 5150956 h 6858000"/>
              <a:gd name="connsiteX320" fmla="*/ 4431848 w 6569477"/>
              <a:gd name="connsiteY320" fmla="*/ 5083476 h 6858000"/>
              <a:gd name="connsiteX321" fmla="*/ 4414009 w 6569477"/>
              <a:gd name="connsiteY321" fmla="*/ 5091602 h 6858000"/>
              <a:gd name="connsiteX322" fmla="*/ 4405686 w 6569477"/>
              <a:gd name="connsiteY322" fmla="*/ 5115441 h 6858000"/>
              <a:gd name="connsiteX323" fmla="*/ 4405685 w 6569477"/>
              <a:gd name="connsiteY323" fmla="*/ 5108559 h 6858000"/>
              <a:gd name="connsiteX324" fmla="*/ 4398800 w 6569477"/>
              <a:gd name="connsiteY324" fmla="*/ 5122323 h 6858000"/>
              <a:gd name="connsiteX325" fmla="*/ 4391913 w 6569477"/>
              <a:gd name="connsiteY325" fmla="*/ 5129203 h 6858000"/>
              <a:gd name="connsiteX326" fmla="*/ 4302808 w 6569477"/>
              <a:gd name="connsiteY326" fmla="*/ 5257916 h 6858000"/>
              <a:gd name="connsiteX327" fmla="*/ 4274497 w 6569477"/>
              <a:gd name="connsiteY327" fmla="*/ 5281926 h 6858000"/>
              <a:gd name="connsiteX328" fmla="*/ 4274828 w 6569477"/>
              <a:gd name="connsiteY328" fmla="*/ 5280603 h 6858000"/>
              <a:gd name="connsiteX329" fmla="*/ 4267941 w 6569477"/>
              <a:gd name="connsiteY329" fmla="*/ 5273721 h 6858000"/>
              <a:gd name="connsiteX330" fmla="*/ 4267941 w 6569477"/>
              <a:gd name="connsiteY330" fmla="*/ 5280603 h 6858000"/>
              <a:gd name="connsiteX331" fmla="*/ 4267941 w 6569477"/>
              <a:gd name="connsiteY331" fmla="*/ 5287486 h 6858000"/>
              <a:gd name="connsiteX332" fmla="*/ 4261052 w 6569477"/>
              <a:gd name="connsiteY332" fmla="*/ 5294367 h 6858000"/>
              <a:gd name="connsiteX333" fmla="*/ 4226617 w 6569477"/>
              <a:gd name="connsiteY333" fmla="*/ 5328775 h 6858000"/>
              <a:gd name="connsiteX334" fmla="*/ 4240390 w 6569477"/>
              <a:gd name="connsiteY334" fmla="*/ 5321894 h 6858000"/>
              <a:gd name="connsiteX335" fmla="*/ 4240389 w 6569477"/>
              <a:gd name="connsiteY335" fmla="*/ 5328775 h 6858000"/>
              <a:gd name="connsiteX336" fmla="*/ 4240390 w 6569477"/>
              <a:gd name="connsiteY336" fmla="*/ 5335658 h 6858000"/>
              <a:gd name="connsiteX337" fmla="*/ 4247279 w 6569477"/>
              <a:gd name="connsiteY337" fmla="*/ 5328773 h 6858000"/>
              <a:gd name="connsiteX338" fmla="*/ 4219728 w 6569477"/>
              <a:gd name="connsiteY338" fmla="*/ 5376947 h 6858000"/>
              <a:gd name="connsiteX339" fmla="*/ 4219727 w 6569477"/>
              <a:gd name="connsiteY339" fmla="*/ 5370066 h 6858000"/>
              <a:gd name="connsiteX340" fmla="*/ 4226616 w 6569477"/>
              <a:gd name="connsiteY340" fmla="*/ 5363185 h 6858000"/>
              <a:gd name="connsiteX341" fmla="*/ 4226617 w 6569477"/>
              <a:gd name="connsiteY341" fmla="*/ 5356304 h 6858000"/>
              <a:gd name="connsiteX342" fmla="*/ 4212842 w 6569477"/>
              <a:gd name="connsiteY342" fmla="*/ 5370066 h 6858000"/>
              <a:gd name="connsiteX343" fmla="*/ 4205955 w 6569477"/>
              <a:gd name="connsiteY343" fmla="*/ 5376946 h 6858000"/>
              <a:gd name="connsiteX344" fmla="*/ 4143968 w 6569477"/>
              <a:gd name="connsiteY344" fmla="*/ 5425119 h 6858000"/>
              <a:gd name="connsiteX345" fmla="*/ 4114698 w 6569477"/>
              <a:gd name="connsiteY345" fmla="*/ 5468991 h 6858000"/>
              <a:gd name="connsiteX346" fmla="*/ 4106774 w 6569477"/>
              <a:gd name="connsiteY346" fmla="*/ 5485182 h 6858000"/>
              <a:gd name="connsiteX347" fmla="*/ 4105934 w 6569477"/>
              <a:gd name="connsiteY347" fmla="*/ 5519940 h 6858000"/>
              <a:gd name="connsiteX348" fmla="*/ 4076469 w 6569477"/>
              <a:gd name="connsiteY348" fmla="*/ 5566880 h 6858000"/>
              <a:gd name="connsiteX349" fmla="*/ 4038190 w 6569477"/>
              <a:gd name="connsiteY349" fmla="*/ 5604898 h 6858000"/>
              <a:gd name="connsiteX350" fmla="*/ 4036241 w 6569477"/>
              <a:gd name="connsiteY350" fmla="*/ 5607124 h 6858000"/>
              <a:gd name="connsiteX351" fmla="*/ 4050421 w 6569477"/>
              <a:gd name="connsiteY351" fmla="*/ 5633545 h 6858000"/>
              <a:gd name="connsiteX352" fmla="*/ 4143968 w 6569477"/>
              <a:gd name="connsiteY352" fmla="*/ 5514583 h 6858000"/>
              <a:gd name="connsiteX353" fmla="*/ 4247279 w 6569477"/>
              <a:gd name="connsiteY353" fmla="*/ 5383830 h 6858000"/>
              <a:gd name="connsiteX354" fmla="*/ 4329927 w 6569477"/>
              <a:gd name="connsiteY354" fmla="*/ 5246195 h 6858000"/>
              <a:gd name="connsiteX355" fmla="*/ 4398800 w 6569477"/>
              <a:gd name="connsiteY355" fmla="*/ 5136086 h 6858000"/>
              <a:gd name="connsiteX356" fmla="*/ 4405686 w 6569477"/>
              <a:gd name="connsiteY356" fmla="*/ 5129203 h 6858000"/>
              <a:gd name="connsiteX357" fmla="*/ 4412575 w 6569477"/>
              <a:gd name="connsiteY357" fmla="*/ 5115438 h 6858000"/>
              <a:gd name="connsiteX358" fmla="*/ 4424641 w 6569477"/>
              <a:gd name="connsiteY358" fmla="*/ 5024444 h 6858000"/>
              <a:gd name="connsiteX359" fmla="*/ 4412574 w 6569477"/>
              <a:gd name="connsiteY359" fmla="*/ 5053506 h 6858000"/>
              <a:gd name="connsiteX360" fmla="*/ 4419461 w 6569477"/>
              <a:gd name="connsiteY360" fmla="*/ 5044121 h 6858000"/>
              <a:gd name="connsiteX361" fmla="*/ 4419461 w 6569477"/>
              <a:gd name="connsiteY361" fmla="*/ 5046624 h 6858000"/>
              <a:gd name="connsiteX362" fmla="*/ 4412574 w 6569477"/>
              <a:gd name="connsiteY362" fmla="*/ 5060387 h 6858000"/>
              <a:gd name="connsiteX363" fmla="*/ 4416932 w 6569477"/>
              <a:gd name="connsiteY363" fmla="*/ 5060387 h 6858000"/>
              <a:gd name="connsiteX364" fmla="*/ 4420817 w 6569477"/>
              <a:gd name="connsiteY364" fmla="*/ 5042274 h 6858000"/>
              <a:gd name="connsiteX365" fmla="*/ 4419461 w 6569477"/>
              <a:gd name="connsiteY365" fmla="*/ 5044121 h 6858000"/>
              <a:gd name="connsiteX366" fmla="*/ 4419462 w 6569477"/>
              <a:gd name="connsiteY366" fmla="*/ 5039742 h 6858000"/>
              <a:gd name="connsiteX367" fmla="*/ 4421877 w 6569477"/>
              <a:gd name="connsiteY367" fmla="*/ 5037328 h 6858000"/>
              <a:gd name="connsiteX368" fmla="*/ 6184910 w 6569477"/>
              <a:gd name="connsiteY368" fmla="*/ 5000207 h 6858000"/>
              <a:gd name="connsiteX369" fmla="*/ 6182308 w 6569477"/>
              <a:gd name="connsiteY369" fmla="*/ 5002382 h 6858000"/>
              <a:gd name="connsiteX370" fmla="*/ 6184369 w 6569477"/>
              <a:gd name="connsiteY370" fmla="*/ 5004325 h 6858000"/>
              <a:gd name="connsiteX371" fmla="*/ 6185038 w 6569477"/>
              <a:gd name="connsiteY371" fmla="*/ 5003800 h 6858000"/>
              <a:gd name="connsiteX372" fmla="*/ 4530169 w 6569477"/>
              <a:gd name="connsiteY372" fmla="*/ 4904952 h 6858000"/>
              <a:gd name="connsiteX373" fmla="*/ 4471060 w 6569477"/>
              <a:gd name="connsiteY373" fmla="*/ 5018446 h 6858000"/>
              <a:gd name="connsiteX374" fmla="*/ 4496083 w 6569477"/>
              <a:gd name="connsiteY374" fmla="*/ 4976946 h 6858000"/>
              <a:gd name="connsiteX375" fmla="*/ 5279291 w 6569477"/>
              <a:gd name="connsiteY375" fmla="*/ 4811201 h 6858000"/>
              <a:gd name="connsiteX376" fmla="*/ 5278126 w 6569477"/>
              <a:gd name="connsiteY376" fmla="*/ 4830398 h 6858000"/>
              <a:gd name="connsiteX377" fmla="*/ 5278126 w 6569477"/>
              <a:gd name="connsiteY377" fmla="*/ 4821965 h 6858000"/>
              <a:gd name="connsiteX378" fmla="*/ 5278125 w 6569477"/>
              <a:gd name="connsiteY378" fmla="*/ 4813529 h 6858000"/>
              <a:gd name="connsiteX379" fmla="*/ 4639857 w 6569477"/>
              <a:gd name="connsiteY379" fmla="*/ 4771353 h 6858000"/>
              <a:gd name="connsiteX380" fmla="*/ 4641578 w 6569477"/>
              <a:gd name="connsiteY380" fmla="*/ 4771353 h 6858000"/>
              <a:gd name="connsiteX381" fmla="*/ 4639859 w 6569477"/>
              <a:gd name="connsiteY381" fmla="*/ 4778235 h 6858000"/>
              <a:gd name="connsiteX382" fmla="*/ 4639857 w 6569477"/>
              <a:gd name="connsiteY382" fmla="*/ 4771353 h 6858000"/>
              <a:gd name="connsiteX383" fmla="*/ 6300040 w 6569477"/>
              <a:gd name="connsiteY383" fmla="*/ 4758666 h 6858000"/>
              <a:gd name="connsiteX384" fmla="*/ 6294570 w 6569477"/>
              <a:gd name="connsiteY384" fmla="*/ 4787455 h 6858000"/>
              <a:gd name="connsiteX385" fmla="*/ 6297038 w 6569477"/>
              <a:gd name="connsiteY385" fmla="*/ 4785392 h 6858000"/>
              <a:gd name="connsiteX386" fmla="*/ 6301896 w 6569477"/>
              <a:gd name="connsiteY386" fmla="*/ 4759338 h 6858000"/>
              <a:gd name="connsiteX387" fmla="*/ 4624114 w 6569477"/>
              <a:gd name="connsiteY387" fmla="*/ 4714333 h 6858000"/>
              <a:gd name="connsiteX388" fmla="*/ 4608083 w 6569477"/>
              <a:gd name="connsiteY388" fmla="*/ 4755346 h 6858000"/>
              <a:gd name="connsiteX389" fmla="*/ 4566989 w 6569477"/>
              <a:gd name="connsiteY389" fmla="*/ 4834251 h 6858000"/>
              <a:gd name="connsiteX390" fmla="*/ 4579591 w 6569477"/>
              <a:gd name="connsiteY390" fmla="*/ 4838449 h 6858000"/>
              <a:gd name="connsiteX391" fmla="*/ 4584759 w 6569477"/>
              <a:gd name="connsiteY391" fmla="*/ 4853934 h 6858000"/>
              <a:gd name="connsiteX392" fmla="*/ 4619195 w 6569477"/>
              <a:gd name="connsiteY392" fmla="*/ 4819526 h 6858000"/>
              <a:gd name="connsiteX393" fmla="*/ 4612310 w 6569477"/>
              <a:gd name="connsiteY393" fmla="*/ 4833285 h 6858000"/>
              <a:gd name="connsiteX394" fmla="*/ 4605419 w 6569477"/>
              <a:gd name="connsiteY394" fmla="*/ 4847052 h 6858000"/>
              <a:gd name="connsiteX395" fmla="*/ 4612308 w 6569477"/>
              <a:gd name="connsiteY395" fmla="*/ 4840169 h 6858000"/>
              <a:gd name="connsiteX396" fmla="*/ 4619195 w 6569477"/>
              <a:gd name="connsiteY396" fmla="*/ 4826408 h 6858000"/>
              <a:gd name="connsiteX397" fmla="*/ 4626081 w 6569477"/>
              <a:gd name="connsiteY397" fmla="*/ 4819526 h 6858000"/>
              <a:gd name="connsiteX398" fmla="*/ 4646742 w 6569477"/>
              <a:gd name="connsiteY398" fmla="*/ 4785116 h 6858000"/>
              <a:gd name="connsiteX399" fmla="*/ 4646742 w 6569477"/>
              <a:gd name="connsiteY399" fmla="*/ 4778236 h 6858000"/>
              <a:gd name="connsiteX400" fmla="*/ 4646742 w 6569477"/>
              <a:gd name="connsiteY400" fmla="*/ 4771353 h 6858000"/>
              <a:gd name="connsiteX401" fmla="*/ 4641578 w 6569477"/>
              <a:gd name="connsiteY401" fmla="*/ 4771353 h 6858000"/>
              <a:gd name="connsiteX402" fmla="*/ 4643300 w 6569477"/>
              <a:gd name="connsiteY402" fmla="*/ 4764470 h 6858000"/>
              <a:gd name="connsiteX403" fmla="*/ 4646744 w 6569477"/>
              <a:gd name="connsiteY403" fmla="*/ 4750706 h 6858000"/>
              <a:gd name="connsiteX404" fmla="*/ 4612308 w 6569477"/>
              <a:gd name="connsiteY404" fmla="*/ 4771353 h 6858000"/>
              <a:gd name="connsiteX405" fmla="*/ 4626081 w 6569477"/>
              <a:gd name="connsiteY405" fmla="*/ 4716301 h 6858000"/>
              <a:gd name="connsiteX406" fmla="*/ 4626083 w 6569477"/>
              <a:gd name="connsiteY406" fmla="*/ 4709296 h 6858000"/>
              <a:gd name="connsiteX407" fmla="*/ 4626036 w 6569477"/>
              <a:gd name="connsiteY407" fmla="*/ 4709417 h 6858000"/>
              <a:gd name="connsiteX408" fmla="*/ 4626083 w 6569477"/>
              <a:gd name="connsiteY408" fmla="*/ 4709417 h 6858000"/>
              <a:gd name="connsiteX409" fmla="*/ 4669890 w 6569477"/>
              <a:gd name="connsiteY409" fmla="*/ 4597214 h 6858000"/>
              <a:gd name="connsiteX410" fmla="*/ 4652597 w 6569477"/>
              <a:gd name="connsiteY410" fmla="*/ 4641464 h 6858000"/>
              <a:gd name="connsiteX411" fmla="*/ 4662239 w 6569477"/>
              <a:gd name="connsiteY411" fmla="*/ 4624254 h 6858000"/>
              <a:gd name="connsiteX412" fmla="*/ 4670635 w 6569477"/>
              <a:gd name="connsiteY412" fmla="*/ 4600705 h 6858000"/>
              <a:gd name="connsiteX413" fmla="*/ 6312651 w 6569477"/>
              <a:gd name="connsiteY413" fmla="*/ 4449732 h 6858000"/>
              <a:gd name="connsiteX414" fmla="*/ 6267859 w 6569477"/>
              <a:gd name="connsiteY414" fmla="*/ 4610691 h 6858000"/>
              <a:gd name="connsiteX415" fmla="*/ 6182372 w 6569477"/>
              <a:gd name="connsiteY415" fmla="*/ 4871073 h 6858000"/>
              <a:gd name="connsiteX416" fmla="*/ 5921253 w 6569477"/>
              <a:gd name="connsiteY416" fmla="*/ 5525765 h 6858000"/>
              <a:gd name="connsiteX417" fmla="*/ 5877945 w 6569477"/>
              <a:gd name="connsiteY417" fmla="*/ 5612921 h 6858000"/>
              <a:gd name="connsiteX418" fmla="*/ 5913709 w 6569477"/>
              <a:gd name="connsiteY418" fmla="*/ 5556906 h 6858000"/>
              <a:gd name="connsiteX419" fmla="*/ 6019724 w 6569477"/>
              <a:gd name="connsiteY419" fmla="*/ 5360027 h 6858000"/>
              <a:gd name="connsiteX420" fmla="*/ 6039225 w 6569477"/>
              <a:gd name="connsiteY420" fmla="*/ 5361777 h 6858000"/>
              <a:gd name="connsiteX421" fmla="*/ 6048547 w 6569477"/>
              <a:gd name="connsiteY421" fmla="*/ 5341824 h 6858000"/>
              <a:gd name="connsiteX422" fmla="*/ 6046345 w 6569477"/>
              <a:gd name="connsiteY422" fmla="*/ 5341588 h 6858000"/>
              <a:gd name="connsiteX423" fmla="*/ 6084294 w 6569477"/>
              <a:gd name="connsiteY423" fmla="*/ 5246712 h 6858000"/>
              <a:gd name="connsiteX424" fmla="*/ 6089991 w 6569477"/>
              <a:gd name="connsiteY424" fmla="*/ 5252078 h 6858000"/>
              <a:gd name="connsiteX425" fmla="*/ 6098822 w 6569477"/>
              <a:gd name="connsiteY425" fmla="*/ 5228225 h 6858000"/>
              <a:gd name="connsiteX426" fmla="*/ 6103633 w 6569477"/>
              <a:gd name="connsiteY426" fmla="*/ 5190650 h 6858000"/>
              <a:gd name="connsiteX427" fmla="*/ 6151332 w 6569477"/>
              <a:gd name="connsiteY427" fmla="*/ 5096646 h 6858000"/>
              <a:gd name="connsiteX428" fmla="*/ 6137143 w 6569477"/>
              <a:gd name="connsiteY428" fmla="*/ 5090460 h 6858000"/>
              <a:gd name="connsiteX429" fmla="*/ 6155791 w 6569477"/>
              <a:gd name="connsiteY429" fmla="*/ 5046678 h 6858000"/>
              <a:gd name="connsiteX430" fmla="*/ 6163274 w 6569477"/>
              <a:gd name="connsiteY430" fmla="*/ 5026869 h 6858000"/>
              <a:gd name="connsiteX431" fmla="*/ 6160038 w 6569477"/>
              <a:gd name="connsiteY431" fmla="*/ 5031146 h 6858000"/>
              <a:gd name="connsiteX432" fmla="*/ 6158362 w 6569477"/>
              <a:gd name="connsiteY432" fmla="*/ 5022395 h 6858000"/>
              <a:gd name="connsiteX433" fmla="*/ 6191781 w 6569477"/>
              <a:gd name="connsiteY433" fmla="*/ 4868143 h 6858000"/>
              <a:gd name="connsiteX434" fmla="*/ 6200750 w 6569477"/>
              <a:gd name="connsiteY434" fmla="*/ 4932832 h 6858000"/>
              <a:gd name="connsiteX435" fmla="*/ 6218420 w 6569477"/>
              <a:gd name="connsiteY435" fmla="*/ 4900018 h 6858000"/>
              <a:gd name="connsiteX436" fmla="*/ 6222771 w 6569477"/>
              <a:gd name="connsiteY436" fmla="*/ 4851267 h 6858000"/>
              <a:gd name="connsiteX437" fmla="*/ 6309018 w 6569477"/>
              <a:gd name="connsiteY437" fmla="*/ 4490449 h 6858000"/>
              <a:gd name="connsiteX438" fmla="*/ 6312390 w 6569477"/>
              <a:gd name="connsiteY438" fmla="*/ 4452667 h 6858000"/>
              <a:gd name="connsiteX439" fmla="*/ 4770714 w 6569477"/>
              <a:gd name="connsiteY439" fmla="*/ 4303393 h 6858000"/>
              <a:gd name="connsiteX440" fmla="*/ 4768098 w 6569477"/>
              <a:gd name="connsiteY440" fmla="*/ 4309185 h 6858000"/>
              <a:gd name="connsiteX441" fmla="*/ 4730786 w 6569477"/>
              <a:gd name="connsiteY441" fmla="*/ 4441413 h 6858000"/>
              <a:gd name="connsiteX442" fmla="*/ 4697881 w 6569477"/>
              <a:gd name="connsiteY442" fmla="*/ 4525604 h 6858000"/>
              <a:gd name="connsiteX443" fmla="*/ 4705286 w 6569477"/>
              <a:gd name="connsiteY443" fmla="*/ 4517587 h 6858000"/>
              <a:gd name="connsiteX444" fmla="*/ 4736280 w 6569477"/>
              <a:gd name="connsiteY444" fmla="*/ 4447908 h 6858000"/>
              <a:gd name="connsiteX445" fmla="*/ 4770714 w 6569477"/>
              <a:gd name="connsiteY445" fmla="*/ 4303393 h 6858000"/>
              <a:gd name="connsiteX446" fmla="*/ 5516941 w 6569477"/>
              <a:gd name="connsiteY446" fmla="*/ 4034216 h 6858000"/>
              <a:gd name="connsiteX447" fmla="*/ 5516585 w 6569477"/>
              <a:gd name="connsiteY447" fmla="*/ 4035638 h 6858000"/>
              <a:gd name="connsiteX448" fmla="*/ 5517415 w 6569477"/>
              <a:gd name="connsiteY448" fmla="*/ 4034843 h 6858000"/>
              <a:gd name="connsiteX449" fmla="*/ 4464361 w 6569477"/>
              <a:gd name="connsiteY449" fmla="*/ 3887629 h 6858000"/>
              <a:gd name="connsiteX450" fmla="*/ 4447219 w 6569477"/>
              <a:gd name="connsiteY450" fmla="*/ 3951032 h 6858000"/>
              <a:gd name="connsiteX451" fmla="*/ 4449788 w 6569477"/>
              <a:gd name="connsiteY451" fmla="*/ 3945610 h 6858000"/>
              <a:gd name="connsiteX452" fmla="*/ 4458042 w 6569477"/>
              <a:gd name="connsiteY452" fmla="*/ 3931642 h 6858000"/>
              <a:gd name="connsiteX453" fmla="*/ 5497455 w 6569477"/>
              <a:gd name="connsiteY453" fmla="*/ 3860297 h 6858000"/>
              <a:gd name="connsiteX454" fmla="*/ 5497454 w 6569477"/>
              <a:gd name="connsiteY454" fmla="*/ 3868735 h 6858000"/>
              <a:gd name="connsiteX455" fmla="*/ 5496941 w 6569477"/>
              <a:gd name="connsiteY455" fmla="*/ 3868220 h 6858000"/>
              <a:gd name="connsiteX456" fmla="*/ 5489018 w 6569477"/>
              <a:gd name="connsiteY456" fmla="*/ 3851862 h 6858000"/>
              <a:gd name="connsiteX457" fmla="*/ 5489416 w 6569477"/>
              <a:gd name="connsiteY457" fmla="*/ 3851862 h 6858000"/>
              <a:gd name="connsiteX458" fmla="*/ 5489019 w 6569477"/>
              <a:gd name="connsiteY458" fmla="*/ 3860299 h 6858000"/>
              <a:gd name="connsiteX459" fmla="*/ 5911079 w 6569477"/>
              <a:gd name="connsiteY459" fmla="*/ 3772494 h 6858000"/>
              <a:gd name="connsiteX460" fmla="*/ 5910807 w 6569477"/>
              <a:gd name="connsiteY460" fmla="*/ 3775940 h 6858000"/>
              <a:gd name="connsiteX461" fmla="*/ 5911685 w 6569477"/>
              <a:gd name="connsiteY461" fmla="*/ 3774713 h 6858000"/>
              <a:gd name="connsiteX462" fmla="*/ 6449798 w 6569477"/>
              <a:gd name="connsiteY462" fmla="*/ 3769517 h 6858000"/>
              <a:gd name="connsiteX463" fmla="*/ 6435579 w 6569477"/>
              <a:gd name="connsiteY463" fmla="*/ 3779144 h 6858000"/>
              <a:gd name="connsiteX464" fmla="*/ 6426392 w 6569477"/>
              <a:gd name="connsiteY464" fmla="*/ 3784213 h 6858000"/>
              <a:gd name="connsiteX465" fmla="*/ 6421513 w 6569477"/>
              <a:gd name="connsiteY465" fmla="*/ 3924977 h 6858000"/>
              <a:gd name="connsiteX466" fmla="*/ 6405797 w 6569477"/>
              <a:gd name="connsiteY466" fmla="*/ 4066691 h 6858000"/>
              <a:gd name="connsiteX467" fmla="*/ 6410326 w 6569477"/>
              <a:gd name="connsiteY467" fmla="*/ 4126067 h 6858000"/>
              <a:gd name="connsiteX468" fmla="*/ 6395881 w 6569477"/>
              <a:gd name="connsiteY468" fmla="*/ 4232882 h 6858000"/>
              <a:gd name="connsiteX469" fmla="*/ 6391736 w 6569477"/>
              <a:gd name="connsiteY469" fmla="*/ 4265027 h 6858000"/>
              <a:gd name="connsiteX470" fmla="*/ 6399816 w 6569477"/>
              <a:gd name="connsiteY470" fmla="*/ 4239321 h 6858000"/>
              <a:gd name="connsiteX471" fmla="*/ 6405907 w 6569477"/>
              <a:gd name="connsiteY471" fmla="*/ 4171069 h 6858000"/>
              <a:gd name="connsiteX472" fmla="*/ 6428796 w 6569477"/>
              <a:gd name="connsiteY472" fmla="*/ 4079755 h 6858000"/>
              <a:gd name="connsiteX473" fmla="*/ 6419916 w 6569477"/>
              <a:gd name="connsiteY473" fmla="*/ 4069130 h 6858000"/>
              <a:gd name="connsiteX474" fmla="*/ 6433836 w 6569477"/>
              <a:gd name="connsiteY474" fmla="*/ 3913127 h 6858000"/>
              <a:gd name="connsiteX475" fmla="*/ 6455766 w 6569477"/>
              <a:gd name="connsiteY475" fmla="*/ 3777500 h 6858000"/>
              <a:gd name="connsiteX476" fmla="*/ 6449798 w 6569477"/>
              <a:gd name="connsiteY476" fmla="*/ 3769517 h 6858000"/>
              <a:gd name="connsiteX477" fmla="*/ 6431269 w 6569477"/>
              <a:gd name="connsiteY477" fmla="*/ 3677444 h 6858000"/>
              <a:gd name="connsiteX478" fmla="*/ 6429099 w 6569477"/>
              <a:gd name="connsiteY478" fmla="*/ 3684082 h 6858000"/>
              <a:gd name="connsiteX479" fmla="*/ 6428712 w 6569477"/>
              <a:gd name="connsiteY479" fmla="*/ 3698653 h 6858000"/>
              <a:gd name="connsiteX480" fmla="*/ 6430840 w 6569477"/>
              <a:gd name="connsiteY480" fmla="*/ 3685964 h 6858000"/>
              <a:gd name="connsiteX481" fmla="*/ 6441196 w 6569477"/>
              <a:gd name="connsiteY481" fmla="*/ 3504743 h 6858000"/>
              <a:gd name="connsiteX482" fmla="*/ 6440326 w 6569477"/>
              <a:gd name="connsiteY482" fmla="*/ 3514494 h 6858000"/>
              <a:gd name="connsiteX483" fmla="*/ 6440393 w 6569477"/>
              <a:gd name="connsiteY483" fmla="*/ 3514771 h 6858000"/>
              <a:gd name="connsiteX484" fmla="*/ 6438704 w 6569477"/>
              <a:gd name="connsiteY484" fmla="*/ 3535807 h 6858000"/>
              <a:gd name="connsiteX485" fmla="*/ 6440401 w 6569477"/>
              <a:gd name="connsiteY485" fmla="*/ 3531965 h 6858000"/>
              <a:gd name="connsiteX486" fmla="*/ 6441548 w 6569477"/>
              <a:gd name="connsiteY486" fmla="*/ 3519646 h 6858000"/>
              <a:gd name="connsiteX487" fmla="*/ 6440393 w 6569477"/>
              <a:gd name="connsiteY487" fmla="*/ 3514771 h 6858000"/>
              <a:gd name="connsiteX488" fmla="*/ 6458019 w 6569477"/>
              <a:gd name="connsiteY488" fmla="*/ 3495196 h 6858000"/>
              <a:gd name="connsiteX489" fmla="*/ 6453910 w 6569477"/>
              <a:gd name="connsiteY489" fmla="*/ 3495641 h 6858000"/>
              <a:gd name="connsiteX490" fmla="*/ 6451579 w 6569477"/>
              <a:gd name="connsiteY490" fmla="*/ 3538789 h 6858000"/>
              <a:gd name="connsiteX491" fmla="*/ 6438544 w 6569477"/>
              <a:gd name="connsiteY491" fmla="*/ 3621912 h 6858000"/>
              <a:gd name="connsiteX492" fmla="*/ 6434839 w 6569477"/>
              <a:gd name="connsiteY492" fmla="*/ 3651648 h 6858000"/>
              <a:gd name="connsiteX493" fmla="*/ 6440156 w 6569477"/>
              <a:gd name="connsiteY493" fmla="*/ 3649560 h 6858000"/>
              <a:gd name="connsiteX494" fmla="*/ 6448445 w 6569477"/>
              <a:gd name="connsiteY494" fmla="*/ 3639248 h 6858000"/>
              <a:gd name="connsiteX495" fmla="*/ 6452125 w 6569477"/>
              <a:gd name="connsiteY495" fmla="*/ 3653091 h 6858000"/>
              <a:gd name="connsiteX496" fmla="*/ 6452316 w 6569477"/>
              <a:gd name="connsiteY496" fmla="*/ 3654200 h 6858000"/>
              <a:gd name="connsiteX497" fmla="*/ 6453358 w 6569477"/>
              <a:gd name="connsiteY497" fmla="*/ 3623160 h 6858000"/>
              <a:gd name="connsiteX498" fmla="*/ 6456256 w 6569477"/>
              <a:gd name="connsiteY498" fmla="*/ 3501181 h 6858000"/>
              <a:gd name="connsiteX499" fmla="*/ 6458019 w 6569477"/>
              <a:gd name="connsiteY499" fmla="*/ 3495196 h 6858000"/>
              <a:gd name="connsiteX500" fmla="*/ 5472148 w 6569477"/>
              <a:gd name="connsiteY500" fmla="*/ 3455387 h 6858000"/>
              <a:gd name="connsiteX501" fmla="*/ 5480584 w 6569477"/>
              <a:gd name="connsiteY501" fmla="*/ 3463821 h 6858000"/>
              <a:gd name="connsiteX502" fmla="*/ 5472148 w 6569477"/>
              <a:gd name="connsiteY502" fmla="*/ 3463821 h 6858000"/>
              <a:gd name="connsiteX503" fmla="*/ 5489019 w 6569477"/>
              <a:gd name="connsiteY503" fmla="*/ 3362594 h 6858000"/>
              <a:gd name="connsiteX504" fmla="*/ 5497455 w 6569477"/>
              <a:gd name="connsiteY504" fmla="*/ 3514435 h 6858000"/>
              <a:gd name="connsiteX505" fmla="*/ 5522761 w 6569477"/>
              <a:gd name="connsiteY505" fmla="*/ 3581921 h 6858000"/>
              <a:gd name="connsiteX506" fmla="*/ 5531197 w 6569477"/>
              <a:gd name="connsiteY506" fmla="*/ 3666278 h 6858000"/>
              <a:gd name="connsiteX507" fmla="*/ 5514328 w 6569477"/>
              <a:gd name="connsiteY507" fmla="*/ 3809685 h 6858000"/>
              <a:gd name="connsiteX508" fmla="*/ 5505888 w 6569477"/>
              <a:gd name="connsiteY508" fmla="*/ 3801249 h 6858000"/>
              <a:gd name="connsiteX509" fmla="*/ 5505890 w 6569477"/>
              <a:gd name="connsiteY509" fmla="*/ 3809685 h 6858000"/>
              <a:gd name="connsiteX510" fmla="*/ 5497454 w 6569477"/>
              <a:gd name="connsiteY510" fmla="*/ 3843426 h 6858000"/>
              <a:gd name="connsiteX511" fmla="*/ 5497455 w 6569477"/>
              <a:gd name="connsiteY511" fmla="*/ 3851862 h 6858000"/>
              <a:gd name="connsiteX512" fmla="*/ 5489416 w 6569477"/>
              <a:gd name="connsiteY512" fmla="*/ 3851862 h 6858000"/>
              <a:gd name="connsiteX513" fmla="*/ 5490073 w 6569477"/>
              <a:gd name="connsiteY513" fmla="*/ 3838023 h 6858000"/>
              <a:gd name="connsiteX514" fmla="*/ 5480584 w 6569477"/>
              <a:gd name="connsiteY514" fmla="*/ 3801246 h 6858000"/>
              <a:gd name="connsiteX515" fmla="*/ 5489019 w 6569477"/>
              <a:gd name="connsiteY515" fmla="*/ 3792812 h 6858000"/>
              <a:gd name="connsiteX516" fmla="*/ 5489019 w 6569477"/>
              <a:gd name="connsiteY516" fmla="*/ 3784378 h 6858000"/>
              <a:gd name="connsiteX517" fmla="*/ 5497455 w 6569477"/>
              <a:gd name="connsiteY517" fmla="*/ 3775942 h 6858000"/>
              <a:gd name="connsiteX518" fmla="*/ 5497455 w 6569477"/>
              <a:gd name="connsiteY518" fmla="*/ 3767506 h 6858000"/>
              <a:gd name="connsiteX519" fmla="*/ 5489019 w 6569477"/>
              <a:gd name="connsiteY519" fmla="*/ 3767506 h 6858000"/>
              <a:gd name="connsiteX520" fmla="*/ 5480584 w 6569477"/>
              <a:gd name="connsiteY520" fmla="*/ 3700021 h 6858000"/>
              <a:gd name="connsiteX521" fmla="*/ 5489019 w 6569477"/>
              <a:gd name="connsiteY521" fmla="*/ 3700021 h 6858000"/>
              <a:gd name="connsiteX522" fmla="*/ 5489018 w 6569477"/>
              <a:gd name="connsiteY522" fmla="*/ 3683147 h 6858000"/>
              <a:gd name="connsiteX523" fmla="*/ 5489019 w 6569477"/>
              <a:gd name="connsiteY523" fmla="*/ 3674714 h 6858000"/>
              <a:gd name="connsiteX524" fmla="*/ 5497455 w 6569477"/>
              <a:gd name="connsiteY524" fmla="*/ 3590358 h 6858000"/>
              <a:gd name="connsiteX525" fmla="*/ 5489019 w 6569477"/>
              <a:gd name="connsiteY525" fmla="*/ 3590355 h 6858000"/>
              <a:gd name="connsiteX526" fmla="*/ 5497454 w 6569477"/>
              <a:gd name="connsiteY526" fmla="*/ 3581921 h 6858000"/>
              <a:gd name="connsiteX527" fmla="*/ 5489016 w 6569477"/>
              <a:gd name="connsiteY527" fmla="*/ 3573485 h 6858000"/>
              <a:gd name="connsiteX528" fmla="*/ 5489019 w 6569477"/>
              <a:gd name="connsiteY528" fmla="*/ 3522871 h 6858000"/>
              <a:gd name="connsiteX529" fmla="*/ 5480583 w 6569477"/>
              <a:gd name="connsiteY529" fmla="*/ 3497564 h 6858000"/>
              <a:gd name="connsiteX530" fmla="*/ 5489019 w 6569477"/>
              <a:gd name="connsiteY530" fmla="*/ 3489128 h 6858000"/>
              <a:gd name="connsiteX531" fmla="*/ 5472148 w 6569477"/>
              <a:gd name="connsiteY531" fmla="*/ 3480692 h 6858000"/>
              <a:gd name="connsiteX532" fmla="*/ 5480583 w 6569477"/>
              <a:gd name="connsiteY532" fmla="*/ 3480694 h 6858000"/>
              <a:gd name="connsiteX533" fmla="*/ 5480584 w 6569477"/>
              <a:gd name="connsiteY533" fmla="*/ 3472258 h 6858000"/>
              <a:gd name="connsiteX534" fmla="*/ 5480584 w 6569477"/>
              <a:gd name="connsiteY534" fmla="*/ 3463821 h 6858000"/>
              <a:gd name="connsiteX535" fmla="*/ 5480583 w 6569477"/>
              <a:gd name="connsiteY535" fmla="*/ 3455387 h 6858000"/>
              <a:gd name="connsiteX536" fmla="*/ 5480584 w 6569477"/>
              <a:gd name="connsiteY536" fmla="*/ 3446949 h 6858000"/>
              <a:gd name="connsiteX537" fmla="*/ 5489018 w 6569477"/>
              <a:gd name="connsiteY537" fmla="*/ 3430080 h 6858000"/>
              <a:gd name="connsiteX538" fmla="*/ 5480583 w 6569477"/>
              <a:gd name="connsiteY538" fmla="*/ 3413208 h 6858000"/>
              <a:gd name="connsiteX539" fmla="*/ 5489019 w 6569477"/>
              <a:gd name="connsiteY539" fmla="*/ 3362594 h 6858000"/>
              <a:gd name="connsiteX540" fmla="*/ 6476672 w 6569477"/>
              <a:gd name="connsiteY540" fmla="*/ 3330681 h 6858000"/>
              <a:gd name="connsiteX541" fmla="*/ 6474216 w 6569477"/>
              <a:gd name="connsiteY541" fmla="*/ 3344735 h 6858000"/>
              <a:gd name="connsiteX542" fmla="*/ 6474237 w 6569477"/>
              <a:gd name="connsiteY542" fmla="*/ 3389156 h 6858000"/>
              <a:gd name="connsiteX543" fmla="*/ 6473057 w 6569477"/>
              <a:gd name="connsiteY543" fmla="*/ 3436128 h 6858000"/>
              <a:gd name="connsiteX544" fmla="*/ 6474117 w 6569477"/>
              <a:gd name="connsiteY544" fmla="*/ 3429860 h 6858000"/>
              <a:gd name="connsiteX545" fmla="*/ 6484385 w 6569477"/>
              <a:gd name="connsiteY545" fmla="*/ 3401681 h 6858000"/>
              <a:gd name="connsiteX546" fmla="*/ 6476754 w 6569477"/>
              <a:gd name="connsiteY546" fmla="*/ 3334041 h 6858000"/>
              <a:gd name="connsiteX547" fmla="*/ 4591997 w 6569477"/>
              <a:gd name="connsiteY547" fmla="*/ 3197452 h 6858000"/>
              <a:gd name="connsiteX548" fmla="*/ 4573874 w 6569477"/>
              <a:gd name="connsiteY548" fmla="*/ 3239660 h 6858000"/>
              <a:gd name="connsiteX549" fmla="*/ 4466612 w 6569477"/>
              <a:gd name="connsiteY549" fmla="*/ 4099989 h 6858000"/>
              <a:gd name="connsiteX550" fmla="*/ 4461265 w 6569477"/>
              <a:gd name="connsiteY550" fmla="*/ 4132980 h 6858000"/>
              <a:gd name="connsiteX551" fmla="*/ 4451817 w 6569477"/>
              <a:gd name="connsiteY551" fmla="*/ 4150441 h 6858000"/>
              <a:gd name="connsiteX552" fmla="*/ 4445021 w 6569477"/>
              <a:gd name="connsiteY552" fmla="*/ 4150252 h 6858000"/>
              <a:gd name="connsiteX553" fmla="*/ 4440617 w 6569477"/>
              <a:gd name="connsiteY553" fmla="*/ 4171396 h 6858000"/>
              <a:gd name="connsiteX554" fmla="*/ 4419203 w 6569477"/>
              <a:gd name="connsiteY554" fmla="*/ 4256889 h 6858000"/>
              <a:gd name="connsiteX555" fmla="*/ 4407405 w 6569477"/>
              <a:gd name="connsiteY555" fmla="*/ 4258040 h 6858000"/>
              <a:gd name="connsiteX556" fmla="*/ 4396892 w 6569477"/>
              <a:gd name="connsiteY556" fmla="*/ 4321021 h 6858000"/>
              <a:gd name="connsiteX557" fmla="*/ 4369578 w 6569477"/>
              <a:gd name="connsiteY557" fmla="*/ 4407090 h 6858000"/>
              <a:gd name="connsiteX558" fmla="*/ 4333800 w 6569477"/>
              <a:gd name="connsiteY558" fmla="*/ 4479686 h 6858000"/>
              <a:gd name="connsiteX559" fmla="*/ 4325334 w 6569477"/>
              <a:gd name="connsiteY559" fmla="*/ 4466213 h 6858000"/>
              <a:gd name="connsiteX560" fmla="*/ 4280710 w 6569477"/>
              <a:gd name="connsiteY560" fmla="*/ 4594480 h 6858000"/>
              <a:gd name="connsiteX561" fmla="*/ 4225440 w 6569477"/>
              <a:gd name="connsiteY561" fmla="*/ 4735700 h 6858000"/>
              <a:gd name="connsiteX562" fmla="*/ 4207997 w 6569477"/>
              <a:gd name="connsiteY562" fmla="*/ 4727870 h 6858000"/>
              <a:gd name="connsiteX563" fmla="*/ 4197352 w 6569477"/>
              <a:gd name="connsiteY563" fmla="*/ 4740823 h 6858000"/>
              <a:gd name="connsiteX564" fmla="*/ 4196197 w 6569477"/>
              <a:gd name="connsiteY564" fmla="*/ 4729021 h 6858000"/>
              <a:gd name="connsiteX565" fmla="*/ 4197864 w 6569477"/>
              <a:gd name="connsiteY565" fmla="*/ 4721710 h 6858000"/>
              <a:gd name="connsiteX566" fmla="*/ 4198377 w 6569477"/>
              <a:gd name="connsiteY566" fmla="*/ 4702596 h 6858000"/>
              <a:gd name="connsiteX567" fmla="*/ 4205687 w 6569477"/>
              <a:gd name="connsiteY567" fmla="*/ 4704265 h 6858000"/>
              <a:gd name="connsiteX568" fmla="*/ 4211842 w 6569477"/>
              <a:gd name="connsiteY568" fmla="*/ 4694134 h 6858000"/>
              <a:gd name="connsiteX569" fmla="*/ 4212998 w 6569477"/>
              <a:gd name="connsiteY569" fmla="*/ 4705936 h 6858000"/>
              <a:gd name="connsiteX570" fmla="*/ 4211331 w 6569477"/>
              <a:gd name="connsiteY570" fmla="*/ 4713247 h 6858000"/>
              <a:gd name="connsiteX571" fmla="*/ 4241466 w 6569477"/>
              <a:gd name="connsiteY571" fmla="*/ 4631670 h 6858000"/>
              <a:gd name="connsiteX572" fmla="*/ 4288913 w 6569477"/>
              <a:gd name="connsiteY572" fmla="*/ 4507894 h 6858000"/>
              <a:gd name="connsiteX573" fmla="*/ 4316357 w 6569477"/>
              <a:gd name="connsiteY573" fmla="*/ 4471856 h 6858000"/>
              <a:gd name="connsiteX574" fmla="*/ 4320714 w 6569477"/>
              <a:gd name="connsiteY574" fmla="*/ 4419005 h 6858000"/>
              <a:gd name="connsiteX575" fmla="*/ 4355338 w 6569477"/>
              <a:gd name="connsiteY575" fmla="*/ 4334607 h 6858000"/>
              <a:gd name="connsiteX576" fmla="*/ 4378161 w 6569477"/>
              <a:gd name="connsiteY576" fmla="*/ 4251360 h 6858000"/>
              <a:gd name="connsiteX577" fmla="*/ 4394450 w 6569477"/>
              <a:gd name="connsiteY577" fmla="*/ 4247389 h 6858000"/>
              <a:gd name="connsiteX578" fmla="*/ 4413578 w 6569477"/>
              <a:gd name="connsiteY578" fmla="*/ 4184571 h 6858000"/>
              <a:gd name="connsiteX579" fmla="*/ 4421652 w 6569477"/>
              <a:gd name="connsiteY579" fmla="*/ 4146369 h 6858000"/>
              <a:gd name="connsiteX580" fmla="*/ 4419667 w 6569477"/>
              <a:gd name="connsiteY580" fmla="*/ 4145669 h 6858000"/>
              <a:gd name="connsiteX581" fmla="*/ 4417525 w 6569477"/>
              <a:gd name="connsiteY581" fmla="*/ 4118952 h 6858000"/>
              <a:gd name="connsiteX582" fmla="*/ 4441264 w 6569477"/>
              <a:gd name="connsiteY582" fmla="*/ 4013294 h 6858000"/>
              <a:gd name="connsiteX583" fmla="*/ 4436422 w 6569477"/>
              <a:gd name="connsiteY583" fmla="*/ 4018999 h 6858000"/>
              <a:gd name="connsiteX584" fmla="*/ 4431567 w 6569477"/>
              <a:gd name="connsiteY584" fmla="*/ 4022637 h 6858000"/>
              <a:gd name="connsiteX585" fmla="*/ 4428326 w 6569477"/>
              <a:gd name="connsiteY585" fmla="*/ 4020913 h 6858000"/>
              <a:gd name="connsiteX586" fmla="*/ 4391474 w 6569477"/>
              <a:gd name="connsiteY586" fmla="*/ 4157215 h 6858000"/>
              <a:gd name="connsiteX587" fmla="*/ 3740297 w 6569477"/>
              <a:gd name="connsiteY587" fmla="*/ 5325287 h 6858000"/>
              <a:gd name="connsiteX588" fmla="*/ 3673269 w 6569477"/>
              <a:gd name="connsiteY588" fmla="*/ 5399037 h 6858000"/>
              <a:gd name="connsiteX589" fmla="*/ 3669727 w 6569477"/>
              <a:gd name="connsiteY589" fmla="*/ 5403831 h 6858000"/>
              <a:gd name="connsiteX590" fmla="*/ 3640004 w 6569477"/>
              <a:gd name="connsiteY590" fmla="*/ 5455366 h 6858000"/>
              <a:gd name="connsiteX591" fmla="*/ 3518669 w 6569477"/>
              <a:gd name="connsiteY591" fmla="*/ 5580675 h 6858000"/>
              <a:gd name="connsiteX592" fmla="*/ 3333378 w 6569477"/>
              <a:gd name="connsiteY592" fmla="*/ 5787546 h 6858000"/>
              <a:gd name="connsiteX593" fmla="*/ 2632692 w 6569477"/>
              <a:gd name="connsiteY593" fmla="*/ 6357958 h 6858000"/>
              <a:gd name="connsiteX594" fmla="*/ 2932959 w 6569477"/>
              <a:gd name="connsiteY594" fmla="*/ 6170259 h 6858000"/>
              <a:gd name="connsiteX595" fmla="*/ 3209727 w 6569477"/>
              <a:gd name="connsiteY595" fmla="*/ 5975694 h 6858000"/>
              <a:gd name="connsiteX596" fmla="*/ 3479318 w 6569477"/>
              <a:gd name="connsiteY596" fmla="*/ 5724393 h 6858000"/>
              <a:gd name="connsiteX597" fmla="*/ 3630789 w 6569477"/>
              <a:gd name="connsiteY597" fmla="*/ 5574052 h 6858000"/>
              <a:gd name="connsiteX598" fmla="*/ 3641784 w 6569477"/>
              <a:gd name="connsiteY598" fmla="*/ 5558498 h 6858000"/>
              <a:gd name="connsiteX599" fmla="*/ 3648847 w 6569477"/>
              <a:gd name="connsiteY599" fmla="*/ 5558267 h 6858000"/>
              <a:gd name="connsiteX600" fmla="*/ 3723992 w 6569477"/>
              <a:gd name="connsiteY600" fmla="*/ 5473810 h 6858000"/>
              <a:gd name="connsiteX601" fmla="*/ 3661585 w 6569477"/>
              <a:gd name="connsiteY601" fmla="*/ 5560315 h 6858000"/>
              <a:gd name="connsiteX602" fmla="*/ 3668289 w 6569477"/>
              <a:gd name="connsiteY602" fmla="*/ 5568400 h 6858000"/>
              <a:gd name="connsiteX603" fmla="*/ 3671349 w 6569477"/>
              <a:gd name="connsiteY603" fmla="*/ 5565159 h 6858000"/>
              <a:gd name="connsiteX604" fmla="*/ 3704743 w 6569477"/>
              <a:gd name="connsiteY604" fmla="*/ 5518593 h 6858000"/>
              <a:gd name="connsiteX605" fmla="*/ 3742448 w 6569477"/>
              <a:gd name="connsiteY605" fmla="*/ 5493487 h 6858000"/>
              <a:gd name="connsiteX606" fmla="*/ 3763817 w 6569477"/>
              <a:gd name="connsiteY606" fmla="*/ 5444954 h 6858000"/>
              <a:gd name="connsiteX607" fmla="*/ 3824093 w 6569477"/>
              <a:gd name="connsiteY607" fmla="*/ 5376481 h 6858000"/>
              <a:gd name="connsiteX608" fmla="*/ 3872840 w 6569477"/>
              <a:gd name="connsiteY608" fmla="*/ 5305243 h 6858000"/>
              <a:gd name="connsiteX609" fmla="*/ 3889533 w 6569477"/>
              <a:gd name="connsiteY609" fmla="*/ 5306806 h 6858000"/>
              <a:gd name="connsiteX610" fmla="*/ 4015119 w 6569477"/>
              <a:gd name="connsiteY610" fmla="*/ 5097899 h 6858000"/>
              <a:gd name="connsiteX611" fmla="*/ 3994464 w 6569477"/>
              <a:gd name="connsiteY611" fmla="*/ 5102704 h 6858000"/>
              <a:gd name="connsiteX612" fmla="*/ 4092802 w 6569477"/>
              <a:gd name="connsiteY612" fmla="*/ 4987260 h 6858000"/>
              <a:gd name="connsiteX613" fmla="*/ 4080850 w 6569477"/>
              <a:gd name="connsiteY613" fmla="*/ 5021436 h 6858000"/>
              <a:gd name="connsiteX614" fmla="*/ 4078382 w 6569477"/>
              <a:gd name="connsiteY614" fmla="*/ 5029071 h 6858000"/>
              <a:gd name="connsiteX615" fmla="*/ 4076190 w 6569477"/>
              <a:gd name="connsiteY615" fmla="*/ 5029922 h 6858000"/>
              <a:gd name="connsiteX616" fmla="*/ 4076596 w 6569477"/>
              <a:gd name="connsiteY616" fmla="*/ 5034592 h 6858000"/>
              <a:gd name="connsiteX617" fmla="*/ 4078382 w 6569477"/>
              <a:gd name="connsiteY617" fmla="*/ 5029071 h 6858000"/>
              <a:gd name="connsiteX618" fmla="*/ 4080559 w 6569477"/>
              <a:gd name="connsiteY618" fmla="*/ 5028225 h 6858000"/>
              <a:gd name="connsiteX619" fmla="*/ 4085722 w 6569477"/>
              <a:gd name="connsiteY619" fmla="*/ 5027024 h 6858000"/>
              <a:gd name="connsiteX620" fmla="*/ 4077797 w 6569477"/>
              <a:gd name="connsiteY620" fmla="*/ 5039757 h 6858000"/>
              <a:gd name="connsiteX621" fmla="*/ 4079000 w 6569477"/>
              <a:gd name="connsiteY621" fmla="*/ 5044924 h 6858000"/>
              <a:gd name="connsiteX622" fmla="*/ 4073836 w 6569477"/>
              <a:gd name="connsiteY622" fmla="*/ 5046125 h 6858000"/>
              <a:gd name="connsiteX623" fmla="*/ 3990632 w 6569477"/>
              <a:gd name="connsiteY623" fmla="*/ 5179830 h 6858000"/>
              <a:gd name="connsiteX624" fmla="*/ 3909830 w 6569477"/>
              <a:gd name="connsiteY624" fmla="*/ 5323866 h 6858000"/>
              <a:gd name="connsiteX625" fmla="*/ 3898301 w 6569477"/>
              <a:gd name="connsiteY625" fmla="*/ 5321102 h 6858000"/>
              <a:gd name="connsiteX626" fmla="*/ 3867806 w 6569477"/>
              <a:gd name="connsiteY626" fmla="*/ 5377204 h 6858000"/>
              <a:gd name="connsiteX627" fmla="*/ 3813895 w 6569477"/>
              <a:gd name="connsiteY627" fmla="*/ 5449641 h 6858000"/>
              <a:gd name="connsiteX628" fmla="*/ 3756379 w 6569477"/>
              <a:gd name="connsiteY628" fmla="*/ 5506583 h 6858000"/>
              <a:gd name="connsiteX629" fmla="*/ 3752775 w 6569477"/>
              <a:gd name="connsiteY629" fmla="*/ 5491084 h 6858000"/>
              <a:gd name="connsiteX630" fmla="*/ 3709265 w 6569477"/>
              <a:gd name="connsiteY630" fmla="*/ 5546809 h 6858000"/>
              <a:gd name="connsiteX631" fmla="*/ 3669885 w 6569477"/>
              <a:gd name="connsiteY631" fmla="*/ 5596303 h 6858000"/>
              <a:gd name="connsiteX632" fmla="*/ 3646499 w 6569477"/>
              <a:gd name="connsiteY632" fmla="*/ 5639958 h 6858000"/>
              <a:gd name="connsiteX633" fmla="*/ 3613620 w 6569477"/>
              <a:gd name="connsiteY633" fmla="*/ 5675270 h 6858000"/>
              <a:gd name="connsiteX634" fmla="*/ 3413507 w 6569477"/>
              <a:gd name="connsiteY634" fmla="*/ 5872624 h 6858000"/>
              <a:gd name="connsiteX635" fmla="*/ 3322805 w 6569477"/>
              <a:gd name="connsiteY635" fmla="*/ 5952776 h 6858000"/>
              <a:gd name="connsiteX636" fmla="*/ 3320558 w 6569477"/>
              <a:gd name="connsiteY636" fmla="*/ 5955085 h 6858000"/>
              <a:gd name="connsiteX637" fmla="*/ 3314757 w 6569477"/>
              <a:gd name="connsiteY637" fmla="*/ 5959888 h 6858000"/>
              <a:gd name="connsiteX638" fmla="*/ 3307300 w 6569477"/>
              <a:gd name="connsiteY638" fmla="*/ 5966478 h 6858000"/>
              <a:gd name="connsiteX639" fmla="*/ 3303928 w 6569477"/>
              <a:gd name="connsiteY639" fmla="*/ 5968852 h 6858000"/>
              <a:gd name="connsiteX640" fmla="*/ 3201349 w 6569477"/>
              <a:gd name="connsiteY640" fmla="*/ 6053762 h 6858000"/>
              <a:gd name="connsiteX641" fmla="*/ 3207992 w 6569477"/>
              <a:gd name="connsiteY641" fmla="*/ 6056670 h 6858000"/>
              <a:gd name="connsiteX642" fmla="*/ 3225724 w 6569477"/>
              <a:gd name="connsiteY642" fmla="*/ 6055701 h 6858000"/>
              <a:gd name="connsiteX643" fmla="*/ 3234055 w 6569477"/>
              <a:gd name="connsiteY643" fmla="*/ 6055584 h 6858000"/>
              <a:gd name="connsiteX644" fmla="*/ 3383085 w 6569477"/>
              <a:gd name="connsiteY644" fmla="*/ 5947757 h 6858000"/>
              <a:gd name="connsiteX645" fmla="*/ 3692178 w 6569477"/>
              <a:gd name="connsiteY645" fmla="*/ 5663100 h 6858000"/>
              <a:gd name="connsiteX646" fmla="*/ 3726668 w 6569477"/>
              <a:gd name="connsiteY646" fmla="*/ 5628774 h 6858000"/>
              <a:gd name="connsiteX647" fmla="*/ 3751517 w 6569477"/>
              <a:gd name="connsiteY647" fmla="*/ 5601329 h 6858000"/>
              <a:gd name="connsiteX648" fmla="*/ 3758066 w 6569477"/>
              <a:gd name="connsiteY648" fmla="*/ 5598201 h 6858000"/>
              <a:gd name="connsiteX649" fmla="*/ 4021526 w 6569477"/>
              <a:gd name="connsiteY649" fmla="*/ 5278330 h 6858000"/>
              <a:gd name="connsiteX650" fmla="*/ 4018741 w 6569477"/>
              <a:gd name="connsiteY650" fmla="*/ 5279415 h 6858000"/>
              <a:gd name="connsiteX651" fmla="*/ 4005846 w 6569477"/>
              <a:gd name="connsiteY651" fmla="*/ 5290131 h 6858000"/>
              <a:gd name="connsiteX652" fmla="*/ 4006936 w 6569477"/>
              <a:gd name="connsiteY652" fmla="*/ 5278323 h 6858000"/>
              <a:gd name="connsiteX653" fmla="*/ 4009950 w 6569477"/>
              <a:gd name="connsiteY653" fmla="*/ 5271457 h 6858000"/>
              <a:gd name="connsiteX654" fmla="*/ 4014054 w 6569477"/>
              <a:gd name="connsiteY654" fmla="*/ 5252781 h 6858000"/>
              <a:gd name="connsiteX655" fmla="*/ 4020918 w 6569477"/>
              <a:gd name="connsiteY655" fmla="*/ 5255799 h 6858000"/>
              <a:gd name="connsiteX656" fmla="*/ 4028873 w 6569477"/>
              <a:gd name="connsiteY656" fmla="*/ 5247008 h 6858000"/>
              <a:gd name="connsiteX657" fmla="*/ 4027784 w 6569477"/>
              <a:gd name="connsiteY657" fmla="*/ 5258816 h 6858000"/>
              <a:gd name="connsiteX658" fmla="*/ 4024769 w 6569477"/>
              <a:gd name="connsiteY658" fmla="*/ 5265682 h 6858000"/>
              <a:gd name="connsiteX659" fmla="*/ 4069734 w 6569477"/>
              <a:gd name="connsiteY659" fmla="*/ 5191244 h 6858000"/>
              <a:gd name="connsiteX660" fmla="*/ 4139652 w 6569477"/>
              <a:gd name="connsiteY660" fmla="*/ 5078624 h 6858000"/>
              <a:gd name="connsiteX661" fmla="*/ 4173395 w 6569477"/>
              <a:gd name="connsiteY661" fmla="*/ 5048402 h 6858000"/>
              <a:gd name="connsiteX662" fmla="*/ 4187632 w 6569477"/>
              <a:gd name="connsiteY662" fmla="*/ 4997320 h 6858000"/>
              <a:gd name="connsiteX663" fmla="*/ 4237537 w 6569477"/>
              <a:gd name="connsiteY663" fmla="*/ 4920957 h 6858000"/>
              <a:gd name="connsiteX664" fmla="*/ 4275637 w 6569477"/>
              <a:gd name="connsiteY664" fmla="*/ 4843501 h 6858000"/>
              <a:gd name="connsiteX665" fmla="*/ 4292382 w 6569477"/>
              <a:gd name="connsiteY665" fmla="*/ 4842669 h 6858000"/>
              <a:gd name="connsiteX666" fmla="*/ 4386922 w 6569477"/>
              <a:gd name="connsiteY666" fmla="*/ 4618000 h 6858000"/>
              <a:gd name="connsiteX667" fmla="*/ 4367162 w 6569477"/>
              <a:gd name="connsiteY667" fmla="*/ 4625699 h 6858000"/>
              <a:gd name="connsiteX668" fmla="*/ 4425731 w 6569477"/>
              <a:gd name="connsiteY668" fmla="*/ 4531642 h 6858000"/>
              <a:gd name="connsiteX669" fmla="*/ 4440463 w 6569477"/>
              <a:gd name="connsiteY669" fmla="*/ 4509053 h 6858000"/>
              <a:gd name="connsiteX670" fmla="*/ 4496479 w 6569477"/>
              <a:gd name="connsiteY670" fmla="*/ 4324901 h 6858000"/>
              <a:gd name="connsiteX671" fmla="*/ 4558379 w 6569477"/>
              <a:gd name="connsiteY671" fmla="*/ 4048002 h 6858000"/>
              <a:gd name="connsiteX672" fmla="*/ 4558015 w 6569477"/>
              <a:gd name="connsiteY672" fmla="*/ 3905566 h 6858000"/>
              <a:gd name="connsiteX673" fmla="*/ 4557679 w 6569477"/>
              <a:gd name="connsiteY673" fmla="*/ 3800467 h 6858000"/>
              <a:gd name="connsiteX674" fmla="*/ 4604555 w 6569477"/>
              <a:gd name="connsiteY674" fmla="*/ 3232475 h 6858000"/>
              <a:gd name="connsiteX675" fmla="*/ 4591997 w 6569477"/>
              <a:gd name="connsiteY675" fmla="*/ 3197452 h 6858000"/>
              <a:gd name="connsiteX676" fmla="*/ 6452746 w 6569477"/>
              <a:gd name="connsiteY676" fmla="*/ 3122946 h 6858000"/>
              <a:gd name="connsiteX677" fmla="*/ 6453162 w 6569477"/>
              <a:gd name="connsiteY677" fmla="*/ 3130579 h 6858000"/>
              <a:gd name="connsiteX678" fmla="*/ 6456587 w 6569477"/>
              <a:gd name="connsiteY678" fmla="*/ 3167050 h 6858000"/>
              <a:gd name="connsiteX679" fmla="*/ 6461451 w 6569477"/>
              <a:gd name="connsiteY679" fmla="*/ 3181937 h 6858000"/>
              <a:gd name="connsiteX680" fmla="*/ 6467043 w 6569477"/>
              <a:gd name="connsiteY680" fmla="*/ 3130919 h 6858000"/>
              <a:gd name="connsiteX681" fmla="*/ 6466334 w 6569477"/>
              <a:gd name="connsiteY681" fmla="*/ 3130706 h 6858000"/>
              <a:gd name="connsiteX682" fmla="*/ 6458257 w 6569477"/>
              <a:gd name="connsiteY682" fmla="*/ 3143801 h 6858000"/>
              <a:gd name="connsiteX683" fmla="*/ 6455200 w 6569477"/>
              <a:gd name="connsiteY683" fmla="*/ 3129015 h 6858000"/>
              <a:gd name="connsiteX684" fmla="*/ 5899755 w 6569477"/>
              <a:gd name="connsiteY684" fmla="*/ 3090904 h 6858000"/>
              <a:gd name="connsiteX685" fmla="*/ 5899749 w 6569477"/>
              <a:gd name="connsiteY685" fmla="*/ 3090971 h 6858000"/>
              <a:gd name="connsiteX686" fmla="*/ 5913876 w 6569477"/>
              <a:gd name="connsiteY686" fmla="*/ 3255517 h 6858000"/>
              <a:gd name="connsiteX687" fmla="*/ 5902787 w 6569477"/>
              <a:gd name="connsiteY687" fmla="*/ 3259712 h 6858000"/>
              <a:gd name="connsiteX688" fmla="*/ 5909097 w 6569477"/>
              <a:gd name="connsiteY688" fmla="*/ 3323253 h 6858000"/>
              <a:gd name="connsiteX689" fmla="*/ 5905223 w 6569477"/>
              <a:gd name="connsiteY689" fmla="*/ 3413467 h 6858000"/>
              <a:gd name="connsiteX690" fmla="*/ 5889655 w 6569477"/>
              <a:gd name="connsiteY690" fmla="*/ 3492889 h 6858000"/>
              <a:gd name="connsiteX691" fmla="*/ 5877964 w 6569477"/>
              <a:gd name="connsiteY691" fmla="*/ 3482098 h 6858000"/>
              <a:gd name="connsiteX692" fmla="*/ 5873297 w 6569477"/>
              <a:gd name="connsiteY692" fmla="*/ 3552644 h 6858000"/>
              <a:gd name="connsiteX693" fmla="*/ 5868721 w 6569477"/>
              <a:gd name="connsiteY693" fmla="*/ 3613366 h 6858000"/>
              <a:gd name="connsiteX694" fmla="*/ 5868626 w 6569477"/>
              <a:gd name="connsiteY694" fmla="*/ 3615664 h 6858000"/>
              <a:gd name="connsiteX695" fmla="*/ 5902370 w 6569477"/>
              <a:gd name="connsiteY695" fmla="*/ 3649406 h 6858000"/>
              <a:gd name="connsiteX696" fmla="*/ 5893933 w 6569477"/>
              <a:gd name="connsiteY696" fmla="*/ 3759069 h 6858000"/>
              <a:gd name="connsiteX697" fmla="*/ 5910807 w 6569477"/>
              <a:gd name="connsiteY697" fmla="*/ 3708454 h 6858000"/>
              <a:gd name="connsiteX698" fmla="*/ 5913969 w 6569477"/>
              <a:gd name="connsiteY698" fmla="*/ 3735871 h 6858000"/>
              <a:gd name="connsiteX699" fmla="*/ 5913771 w 6569477"/>
              <a:gd name="connsiteY699" fmla="*/ 3738386 h 6858000"/>
              <a:gd name="connsiteX700" fmla="*/ 5919568 w 6569477"/>
              <a:gd name="connsiteY700" fmla="*/ 3702380 h 6858000"/>
              <a:gd name="connsiteX701" fmla="*/ 5920803 w 6569477"/>
              <a:gd name="connsiteY701" fmla="*/ 3653480 h 6858000"/>
              <a:gd name="connsiteX702" fmla="*/ 5935379 w 6569477"/>
              <a:gd name="connsiteY702" fmla="*/ 3617663 h 6858000"/>
              <a:gd name="connsiteX703" fmla="*/ 5927180 w 6569477"/>
              <a:gd name="connsiteY703" fmla="*/ 3573144 h 6858000"/>
              <a:gd name="connsiteX704" fmla="*/ 5936885 w 6569477"/>
              <a:gd name="connsiteY704" fmla="*/ 3495878 h 6858000"/>
              <a:gd name="connsiteX705" fmla="*/ 5937123 w 6569477"/>
              <a:gd name="connsiteY705" fmla="*/ 3422193 h 6858000"/>
              <a:gd name="connsiteX706" fmla="*/ 5949659 w 6569477"/>
              <a:gd name="connsiteY706" fmla="*/ 3415287 h 6858000"/>
              <a:gd name="connsiteX707" fmla="*/ 5948577 w 6569477"/>
              <a:gd name="connsiteY707" fmla="*/ 3308820 h 6858000"/>
              <a:gd name="connsiteX708" fmla="*/ 5940173 w 6569477"/>
              <a:gd name="connsiteY708" fmla="*/ 3227623 h 6858000"/>
              <a:gd name="connsiteX709" fmla="*/ 5936112 w 6569477"/>
              <a:gd name="connsiteY709" fmla="*/ 3227623 h 6858000"/>
              <a:gd name="connsiteX710" fmla="*/ 5934113 w 6569477"/>
              <a:gd name="connsiteY710" fmla="*/ 3216005 h 6858000"/>
              <a:gd name="connsiteX711" fmla="*/ 5933300 w 6569477"/>
              <a:gd name="connsiteY711" fmla="*/ 3217735 h 6858000"/>
              <a:gd name="connsiteX712" fmla="*/ 5925816 w 6569477"/>
              <a:gd name="connsiteY712" fmla="*/ 3220835 h 6858000"/>
              <a:gd name="connsiteX713" fmla="*/ 5922789 w 6569477"/>
              <a:gd name="connsiteY713" fmla="*/ 3182917 h 6858000"/>
              <a:gd name="connsiteX714" fmla="*/ 5925668 w 6569477"/>
              <a:gd name="connsiteY714" fmla="*/ 3166923 h 6858000"/>
              <a:gd name="connsiteX715" fmla="*/ 5922799 w 6569477"/>
              <a:gd name="connsiteY715" fmla="*/ 3150253 h 6858000"/>
              <a:gd name="connsiteX716" fmla="*/ 6470079 w 6569477"/>
              <a:gd name="connsiteY716" fmla="*/ 2971783 h 6858000"/>
              <a:gd name="connsiteX717" fmla="*/ 6459848 w 6569477"/>
              <a:gd name="connsiteY717" fmla="*/ 2985189 h 6858000"/>
              <a:gd name="connsiteX718" fmla="*/ 6446665 w 6569477"/>
              <a:gd name="connsiteY718" fmla="*/ 2989730 h 6858000"/>
              <a:gd name="connsiteX719" fmla="*/ 6447438 w 6569477"/>
              <a:gd name="connsiteY719" fmla="*/ 2994236 h 6858000"/>
              <a:gd name="connsiteX720" fmla="*/ 6440386 w 6569477"/>
              <a:gd name="connsiteY720" fmla="*/ 3018174 h 6858000"/>
              <a:gd name="connsiteX721" fmla="*/ 6450805 w 6569477"/>
              <a:gd name="connsiteY721" fmla="*/ 3087293 h 6858000"/>
              <a:gd name="connsiteX722" fmla="*/ 6451373 w 6569477"/>
              <a:gd name="connsiteY722" fmla="*/ 3097752 h 6858000"/>
              <a:gd name="connsiteX723" fmla="*/ 6456557 w 6569477"/>
              <a:gd name="connsiteY723" fmla="*/ 3096583 h 6858000"/>
              <a:gd name="connsiteX724" fmla="*/ 6467490 w 6569477"/>
              <a:gd name="connsiteY724" fmla="*/ 3085383 h 6858000"/>
              <a:gd name="connsiteX725" fmla="*/ 6469775 w 6569477"/>
              <a:gd name="connsiteY725" fmla="*/ 3085600 h 6858000"/>
              <a:gd name="connsiteX726" fmla="*/ 6473655 w 6569477"/>
              <a:gd name="connsiteY726" fmla="*/ 3017169 h 6858000"/>
              <a:gd name="connsiteX727" fmla="*/ 6473968 w 6569477"/>
              <a:gd name="connsiteY727" fmla="*/ 2994029 h 6858000"/>
              <a:gd name="connsiteX728" fmla="*/ 5796128 w 6569477"/>
              <a:gd name="connsiteY728" fmla="*/ 2808658 h 6858000"/>
              <a:gd name="connsiteX729" fmla="*/ 5796854 w 6569477"/>
              <a:gd name="connsiteY729" fmla="*/ 2813211 h 6858000"/>
              <a:gd name="connsiteX730" fmla="*/ 5790016 w 6569477"/>
              <a:gd name="connsiteY730" fmla="*/ 2888065 h 6858000"/>
              <a:gd name="connsiteX731" fmla="*/ 5804143 w 6569477"/>
              <a:gd name="connsiteY731" fmla="*/ 3052612 h 6858000"/>
              <a:gd name="connsiteX732" fmla="*/ 5793054 w 6569477"/>
              <a:gd name="connsiteY732" fmla="*/ 3056806 h 6858000"/>
              <a:gd name="connsiteX733" fmla="*/ 5799363 w 6569477"/>
              <a:gd name="connsiteY733" fmla="*/ 3120348 h 6858000"/>
              <a:gd name="connsiteX734" fmla="*/ 5795489 w 6569477"/>
              <a:gd name="connsiteY734" fmla="*/ 3210561 h 6858000"/>
              <a:gd name="connsiteX735" fmla="*/ 5779922 w 6569477"/>
              <a:gd name="connsiteY735" fmla="*/ 3289984 h 6858000"/>
              <a:gd name="connsiteX736" fmla="*/ 5768230 w 6569477"/>
              <a:gd name="connsiteY736" fmla="*/ 3279192 h 6858000"/>
              <a:gd name="connsiteX737" fmla="*/ 5758672 w 6569477"/>
              <a:gd name="connsiteY737" fmla="*/ 3414663 h 6858000"/>
              <a:gd name="connsiteX738" fmla="*/ 5755841 w 6569477"/>
              <a:gd name="connsiteY738" fmla="*/ 3484197 h 6858000"/>
              <a:gd name="connsiteX739" fmla="*/ 5751250 w 6569477"/>
              <a:gd name="connsiteY739" fmla="*/ 3511578 h 6858000"/>
              <a:gd name="connsiteX740" fmla="*/ 5753689 w 6569477"/>
              <a:gd name="connsiteY740" fmla="*/ 3558722 h 6858000"/>
              <a:gd name="connsiteX741" fmla="*/ 5750526 w 6569477"/>
              <a:gd name="connsiteY741" fmla="*/ 3632535 h 6858000"/>
              <a:gd name="connsiteX742" fmla="*/ 5834884 w 6569477"/>
              <a:gd name="connsiteY742" fmla="*/ 3413208 h 6858000"/>
              <a:gd name="connsiteX743" fmla="*/ 5868624 w 6569477"/>
              <a:gd name="connsiteY743" fmla="*/ 3387901 h 6858000"/>
              <a:gd name="connsiteX744" fmla="*/ 5866517 w 6569477"/>
              <a:gd name="connsiteY744" fmla="*/ 3410045 h 6858000"/>
              <a:gd name="connsiteX745" fmla="*/ 5867131 w 6569477"/>
              <a:gd name="connsiteY745" fmla="*/ 3410229 h 6858000"/>
              <a:gd name="connsiteX746" fmla="*/ 5872246 w 6569477"/>
              <a:gd name="connsiteY746" fmla="*/ 3386637 h 6858000"/>
              <a:gd name="connsiteX747" fmla="*/ 5872535 w 6569477"/>
              <a:gd name="connsiteY747" fmla="*/ 3347224 h 6858000"/>
              <a:gd name="connsiteX748" fmla="*/ 5872815 w 6569477"/>
              <a:gd name="connsiteY748" fmla="*/ 3260906 h 6858000"/>
              <a:gd name="connsiteX749" fmla="*/ 5887499 w 6569477"/>
              <a:gd name="connsiteY749" fmla="*/ 3252816 h 6858000"/>
              <a:gd name="connsiteX750" fmla="*/ 5880163 w 6569477"/>
              <a:gd name="connsiteY750" fmla="*/ 3070525 h 6858000"/>
              <a:gd name="connsiteX751" fmla="*/ 5878087 w 6569477"/>
              <a:gd name="connsiteY751" fmla="*/ 3050101 h 6858000"/>
              <a:gd name="connsiteX752" fmla="*/ 5870867 w 6569477"/>
              <a:gd name="connsiteY752" fmla="*/ 3036635 h 6858000"/>
              <a:gd name="connsiteX753" fmla="*/ 5865140 w 6569477"/>
              <a:gd name="connsiteY753" fmla="*/ 3025482 h 6858000"/>
              <a:gd name="connsiteX754" fmla="*/ 5864600 w 6569477"/>
              <a:gd name="connsiteY754" fmla="*/ 3026174 h 6858000"/>
              <a:gd name="connsiteX755" fmla="*/ 5859570 w 6569477"/>
              <a:gd name="connsiteY755" fmla="*/ 3025027 h 6858000"/>
              <a:gd name="connsiteX756" fmla="*/ 5858588 w 6569477"/>
              <a:gd name="connsiteY756" fmla="*/ 3012722 h 6858000"/>
              <a:gd name="connsiteX757" fmla="*/ 5843319 w 6569477"/>
              <a:gd name="connsiteY757" fmla="*/ 2982990 h 6858000"/>
              <a:gd name="connsiteX758" fmla="*/ 5834884 w 6569477"/>
              <a:gd name="connsiteY758" fmla="*/ 3016734 h 6858000"/>
              <a:gd name="connsiteX759" fmla="*/ 5818012 w 6569477"/>
              <a:gd name="connsiteY759" fmla="*/ 2864891 h 6858000"/>
              <a:gd name="connsiteX760" fmla="*/ 5804304 w 6569477"/>
              <a:gd name="connsiteY760" fmla="*/ 2829962 h 6858000"/>
              <a:gd name="connsiteX761" fmla="*/ 6508420 w 6569477"/>
              <a:gd name="connsiteY761" fmla="*/ 2779156 h 6858000"/>
              <a:gd name="connsiteX762" fmla="*/ 6507136 w 6569477"/>
              <a:gd name="connsiteY762" fmla="*/ 2780799 h 6858000"/>
              <a:gd name="connsiteX763" fmla="*/ 6500134 w 6569477"/>
              <a:gd name="connsiteY763" fmla="*/ 2779246 h 6858000"/>
              <a:gd name="connsiteX764" fmla="*/ 6502399 w 6569477"/>
              <a:gd name="connsiteY764" fmla="*/ 2890359 h 6858000"/>
              <a:gd name="connsiteX765" fmla="*/ 6505686 w 6569477"/>
              <a:gd name="connsiteY765" fmla="*/ 2887611 h 6858000"/>
              <a:gd name="connsiteX766" fmla="*/ 6511866 w 6569477"/>
              <a:gd name="connsiteY766" fmla="*/ 2873422 h 6858000"/>
              <a:gd name="connsiteX767" fmla="*/ 6513497 w 6569477"/>
              <a:gd name="connsiteY767" fmla="*/ 2877577 h 6858000"/>
              <a:gd name="connsiteX768" fmla="*/ 6514565 w 6569477"/>
              <a:gd name="connsiteY768" fmla="*/ 2898237 h 6858000"/>
              <a:gd name="connsiteX769" fmla="*/ 6519875 w 6569477"/>
              <a:gd name="connsiteY769" fmla="*/ 2893798 h 6858000"/>
              <a:gd name="connsiteX770" fmla="*/ 6513497 w 6569477"/>
              <a:gd name="connsiteY770" fmla="*/ 2877577 h 6858000"/>
              <a:gd name="connsiteX771" fmla="*/ 5404661 w 6569477"/>
              <a:gd name="connsiteY771" fmla="*/ 2763661 h 6858000"/>
              <a:gd name="connsiteX772" fmla="*/ 5413098 w 6569477"/>
              <a:gd name="connsiteY772" fmla="*/ 2788968 h 6858000"/>
              <a:gd name="connsiteX773" fmla="*/ 5413098 w 6569477"/>
              <a:gd name="connsiteY773" fmla="*/ 2797406 h 6858000"/>
              <a:gd name="connsiteX774" fmla="*/ 5413098 w 6569477"/>
              <a:gd name="connsiteY774" fmla="*/ 2805841 h 6858000"/>
              <a:gd name="connsiteX775" fmla="*/ 5413098 w 6569477"/>
              <a:gd name="connsiteY775" fmla="*/ 2814276 h 6858000"/>
              <a:gd name="connsiteX776" fmla="*/ 5404662 w 6569477"/>
              <a:gd name="connsiteY776" fmla="*/ 2797406 h 6858000"/>
              <a:gd name="connsiteX777" fmla="*/ 6368014 w 6569477"/>
              <a:gd name="connsiteY777" fmla="*/ 2752114 h 6858000"/>
              <a:gd name="connsiteX778" fmla="*/ 6354550 w 6569477"/>
              <a:gd name="connsiteY778" fmla="*/ 2796770 h 6858000"/>
              <a:gd name="connsiteX779" fmla="*/ 6353593 w 6569477"/>
              <a:gd name="connsiteY779" fmla="*/ 2805446 h 6858000"/>
              <a:gd name="connsiteX780" fmla="*/ 6374570 w 6569477"/>
              <a:gd name="connsiteY780" fmla="*/ 2874671 h 6858000"/>
              <a:gd name="connsiteX781" fmla="*/ 6409578 w 6569477"/>
              <a:gd name="connsiteY781" fmla="*/ 3143175 h 6858000"/>
              <a:gd name="connsiteX782" fmla="*/ 6414888 w 6569477"/>
              <a:gd name="connsiteY782" fmla="*/ 3138739 h 6858000"/>
              <a:gd name="connsiteX783" fmla="*/ 6421068 w 6569477"/>
              <a:gd name="connsiteY783" fmla="*/ 3124551 h 6858000"/>
              <a:gd name="connsiteX784" fmla="*/ 6422700 w 6569477"/>
              <a:gd name="connsiteY784" fmla="*/ 3128706 h 6858000"/>
              <a:gd name="connsiteX785" fmla="*/ 6423768 w 6569477"/>
              <a:gd name="connsiteY785" fmla="*/ 3149362 h 6858000"/>
              <a:gd name="connsiteX786" fmla="*/ 6429077 w 6569477"/>
              <a:gd name="connsiteY786" fmla="*/ 3144926 h 6858000"/>
              <a:gd name="connsiteX787" fmla="*/ 6422700 w 6569477"/>
              <a:gd name="connsiteY787" fmla="*/ 3128706 h 6858000"/>
              <a:gd name="connsiteX788" fmla="*/ 6417015 w 6569477"/>
              <a:gd name="connsiteY788" fmla="*/ 3018534 h 6858000"/>
              <a:gd name="connsiteX789" fmla="*/ 6414015 w 6569477"/>
              <a:gd name="connsiteY789" fmla="*/ 2972866 h 6858000"/>
              <a:gd name="connsiteX790" fmla="*/ 6406544 w 6569477"/>
              <a:gd name="connsiteY790" fmla="*/ 2951752 h 6858000"/>
              <a:gd name="connsiteX791" fmla="*/ 6389030 w 6569477"/>
              <a:gd name="connsiteY791" fmla="*/ 2804652 h 6858000"/>
              <a:gd name="connsiteX792" fmla="*/ 6368014 w 6569477"/>
              <a:gd name="connsiteY792" fmla="*/ 2752114 h 6858000"/>
              <a:gd name="connsiteX793" fmla="*/ 6478241 w 6569477"/>
              <a:gd name="connsiteY793" fmla="*/ 2723750 h 6858000"/>
              <a:gd name="connsiteX794" fmla="*/ 6481412 w 6569477"/>
              <a:gd name="connsiteY794" fmla="*/ 2772854 h 6858000"/>
              <a:gd name="connsiteX795" fmla="*/ 6481359 w 6569477"/>
              <a:gd name="connsiteY795" fmla="*/ 2778262 h 6858000"/>
              <a:gd name="connsiteX796" fmla="*/ 6492255 w 6569477"/>
              <a:gd name="connsiteY796" fmla="*/ 2843453 h 6858000"/>
              <a:gd name="connsiteX797" fmla="*/ 6492103 w 6569477"/>
              <a:gd name="connsiteY797" fmla="*/ 2836567 h 6858000"/>
              <a:gd name="connsiteX798" fmla="*/ 6487688 w 6569477"/>
              <a:gd name="connsiteY798" fmla="*/ 2751180 h 6858000"/>
              <a:gd name="connsiteX799" fmla="*/ 6471948 w 6569477"/>
              <a:gd name="connsiteY799" fmla="*/ 2602764 h 6858000"/>
              <a:gd name="connsiteX800" fmla="*/ 6470476 w 6569477"/>
              <a:gd name="connsiteY800" fmla="*/ 2603507 h 6858000"/>
              <a:gd name="connsiteX801" fmla="*/ 6474714 w 6569477"/>
              <a:gd name="connsiteY801" fmla="*/ 2669154 h 6858000"/>
              <a:gd name="connsiteX802" fmla="*/ 6474578 w 6569477"/>
              <a:gd name="connsiteY802" fmla="*/ 2659237 h 6858000"/>
              <a:gd name="connsiteX803" fmla="*/ 6476460 w 6569477"/>
              <a:gd name="connsiteY803" fmla="*/ 2609956 h 6858000"/>
              <a:gd name="connsiteX804" fmla="*/ 6471948 w 6569477"/>
              <a:gd name="connsiteY804" fmla="*/ 2602764 h 6858000"/>
              <a:gd name="connsiteX805" fmla="*/ 6458450 w 6569477"/>
              <a:gd name="connsiteY805" fmla="*/ 2239645 h 6858000"/>
              <a:gd name="connsiteX806" fmla="*/ 6450161 w 6569477"/>
              <a:gd name="connsiteY806" fmla="*/ 2257976 h 6858000"/>
              <a:gd name="connsiteX807" fmla="*/ 6433952 w 6569477"/>
              <a:gd name="connsiteY807" fmla="*/ 2243260 h 6858000"/>
              <a:gd name="connsiteX808" fmla="*/ 6419984 w 6569477"/>
              <a:gd name="connsiteY808" fmla="*/ 2274915 h 6858000"/>
              <a:gd name="connsiteX809" fmla="*/ 6412070 w 6569477"/>
              <a:gd name="connsiteY809" fmla="*/ 2253880 h 6858000"/>
              <a:gd name="connsiteX810" fmla="*/ 6438066 w 6569477"/>
              <a:gd name="connsiteY810" fmla="*/ 2377354 h 6858000"/>
              <a:gd name="connsiteX811" fmla="*/ 6458698 w 6569477"/>
              <a:gd name="connsiteY811" fmla="*/ 2510576 h 6858000"/>
              <a:gd name="connsiteX812" fmla="*/ 6465170 w 6569477"/>
              <a:gd name="connsiteY812" fmla="*/ 2512554 h 6858000"/>
              <a:gd name="connsiteX813" fmla="*/ 6466949 w 6569477"/>
              <a:gd name="connsiteY813" fmla="*/ 2477172 h 6858000"/>
              <a:gd name="connsiteX814" fmla="*/ 6512779 w 6569477"/>
              <a:gd name="connsiteY814" fmla="*/ 2527655 h 6858000"/>
              <a:gd name="connsiteX815" fmla="*/ 6482025 w 6569477"/>
              <a:gd name="connsiteY815" fmla="*/ 2340112 h 6858000"/>
              <a:gd name="connsiteX816" fmla="*/ 6479231 w 6569477"/>
              <a:gd name="connsiteY816" fmla="*/ 2346442 h 6858000"/>
              <a:gd name="connsiteX817" fmla="*/ 6476437 w 6569477"/>
              <a:gd name="connsiteY817" fmla="*/ 2352774 h 6858000"/>
              <a:gd name="connsiteX818" fmla="*/ 6472897 w 6569477"/>
              <a:gd name="connsiteY818" fmla="*/ 2343650 h 6858000"/>
              <a:gd name="connsiteX819" fmla="*/ 6472151 w 6569477"/>
              <a:gd name="connsiteY819" fmla="*/ 2328192 h 6858000"/>
              <a:gd name="connsiteX820" fmla="*/ 6469356 w 6569477"/>
              <a:gd name="connsiteY820" fmla="*/ 2334523 h 6858000"/>
              <a:gd name="connsiteX821" fmla="*/ 6467117 w 6569477"/>
              <a:gd name="connsiteY821" fmla="*/ 2288151 h 6858000"/>
              <a:gd name="connsiteX822" fmla="*/ 6460782 w 6569477"/>
              <a:gd name="connsiteY822" fmla="*/ 2285355 h 6858000"/>
              <a:gd name="connsiteX823" fmla="*/ 6457242 w 6569477"/>
              <a:gd name="connsiteY823" fmla="*/ 2276229 h 6858000"/>
              <a:gd name="connsiteX824" fmla="*/ 6460035 w 6569477"/>
              <a:gd name="connsiteY824" fmla="*/ 2269898 h 6858000"/>
              <a:gd name="connsiteX825" fmla="*/ 6462830 w 6569477"/>
              <a:gd name="connsiteY825" fmla="*/ 2263567 h 6858000"/>
              <a:gd name="connsiteX826" fmla="*/ 6466369 w 6569477"/>
              <a:gd name="connsiteY826" fmla="*/ 2272693 h 6858000"/>
              <a:gd name="connsiteX827" fmla="*/ 6469164 w 6569477"/>
              <a:gd name="connsiteY827" fmla="*/ 2266362 h 6858000"/>
              <a:gd name="connsiteX828" fmla="*/ 6461975 w 6569477"/>
              <a:gd name="connsiteY828" fmla="*/ 2240852 h 6858000"/>
              <a:gd name="connsiteX829" fmla="*/ 6458450 w 6569477"/>
              <a:gd name="connsiteY829" fmla="*/ 2239645 h 6858000"/>
              <a:gd name="connsiteX830" fmla="*/ 6119324 w 6569477"/>
              <a:gd name="connsiteY830" fmla="*/ 1470230 h 6858000"/>
              <a:gd name="connsiteX831" fmla="*/ 6182372 w 6569477"/>
              <a:gd name="connsiteY831" fmla="*/ 1708395 h 6858000"/>
              <a:gd name="connsiteX832" fmla="*/ 6213896 w 6569477"/>
              <a:gd name="connsiteY832" fmla="*/ 1718901 h 6858000"/>
              <a:gd name="connsiteX833" fmla="*/ 6230856 w 6569477"/>
              <a:gd name="connsiteY833" fmla="*/ 1709003 h 6858000"/>
              <a:gd name="connsiteX834" fmla="*/ 6226890 w 6569477"/>
              <a:gd name="connsiteY834" fmla="*/ 1691895 h 6858000"/>
              <a:gd name="connsiteX835" fmla="*/ 6185731 w 6569477"/>
              <a:gd name="connsiteY835" fmla="*/ 1576670 h 6858000"/>
              <a:gd name="connsiteX836" fmla="*/ 6173508 w 6569477"/>
              <a:gd name="connsiteY836" fmla="*/ 1521886 h 6858000"/>
              <a:gd name="connsiteX837" fmla="*/ 6172469 w 6569477"/>
              <a:gd name="connsiteY837" fmla="*/ 1515742 h 6858000"/>
              <a:gd name="connsiteX838" fmla="*/ 6170551 w 6569477"/>
              <a:gd name="connsiteY838" fmla="*/ 1514447 h 6858000"/>
              <a:gd name="connsiteX839" fmla="*/ 6119324 w 6569477"/>
              <a:gd name="connsiteY839" fmla="*/ 1470230 h 6858000"/>
              <a:gd name="connsiteX840" fmla="*/ 6220785 w 6569477"/>
              <a:gd name="connsiteY840" fmla="*/ 1467284 h 6858000"/>
              <a:gd name="connsiteX841" fmla="*/ 6224419 w 6569477"/>
              <a:gd name="connsiteY841" fmla="*/ 1484860 h 6858000"/>
              <a:gd name="connsiteX842" fmla="*/ 6221902 w 6569477"/>
              <a:gd name="connsiteY842" fmla="*/ 1506545 h 6858000"/>
              <a:gd name="connsiteX843" fmla="*/ 6228674 w 6569477"/>
              <a:gd name="connsiteY843" fmla="*/ 1507988 h 6858000"/>
              <a:gd name="connsiteX844" fmla="*/ 6234004 w 6569477"/>
              <a:gd name="connsiteY844" fmla="*/ 1516199 h 6858000"/>
              <a:gd name="connsiteX845" fmla="*/ 6229680 w 6569477"/>
              <a:gd name="connsiteY845" fmla="*/ 1536503 h 6858000"/>
              <a:gd name="connsiteX846" fmla="*/ 6224350 w 6569477"/>
              <a:gd name="connsiteY846" fmla="*/ 1528292 h 6858000"/>
              <a:gd name="connsiteX847" fmla="*/ 6223684 w 6569477"/>
              <a:gd name="connsiteY847" fmla="*/ 1527266 h 6858000"/>
              <a:gd name="connsiteX848" fmla="*/ 6220817 w 6569477"/>
              <a:gd name="connsiteY848" fmla="*/ 1522851 h 6858000"/>
              <a:gd name="connsiteX849" fmla="*/ 6221874 w 6569477"/>
              <a:gd name="connsiteY849" fmla="*/ 1531073 h 6858000"/>
              <a:gd name="connsiteX850" fmla="*/ 6242353 w 6569477"/>
              <a:gd name="connsiteY850" fmla="*/ 1609953 h 6858000"/>
              <a:gd name="connsiteX851" fmla="*/ 6223042 w 6569477"/>
              <a:gd name="connsiteY851" fmla="*/ 1634143 h 6858000"/>
              <a:gd name="connsiteX852" fmla="*/ 6239473 w 6569477"/>
              <a:gd name="connsiteY852" fmla="*/ 1705560 h 6858000"/>
              <a:gd name="connsiteX853" fmla="*/ 6250673 w 6569477"/>
              <a:gd name="connsiteY853" fmla="*/ 1702375 h 6858000"/>
              <a:gd name="connsiteX854" fmla="*/ 6297961 w 6569477"/>
              <a:gd name="connsiteY854" fmla="*/ 1764435 h 6858000"/>
              <a:gd name="connsiteX855" fmla="*/ 6373267 w 6569477"/>
              <a:gd name="connsiteY855" fmla="*/ 2069581 h 6858000"/>
              <a:gd name="connsiteX856" fmla="*/ 6384393 w 6569477"/>
              <a:gd name="connsiteY856" fmla="*/ 2122429 h 6858000"/>
              <a:gd name="connsiteX857" fmla="*/ 6393144 w 6569477"/>
              <a:gd name="connsiteY857" fmla="*/ 2124321 h 6858000"/>
              <a:gd name="connsiteX858" fmla="*/ 6418298 w 6569477"/>
              <a:gd name="connsiteY858" fmla="*/ 2175842 h 6858000"/>
              <a:gd name="connsiteX859" fmla="*/ 6419599 w 6569477"/>
              <a:gd name="connsiteY859" fmla="*/ 2138595 h 6858000"/>
              <a:gd name="connsiteX860" fmla="*/ 6401898 w 6569477"/>
              <a:gd name="connsiteY860" fmla="*/ 2092964 h 6858000"/>
              <a:gd name="connsiteX861" fmla="*/ 6319338 w 6569477"/>
              <a:gd name="connsiteY861" fmla="*/ 1731284 h 6858000"/>
              <a:gd name="connsiteX862" fmla="*/ 6294555 w 6569477"/>
              <a:gd name="connsiteY862" fmla="*/ 1667400 h 6858000"/>
              <a:gd name="connsiteX863" fmla="*/ 6274614 w 6569477"/>
              <a:gd name="connsiteY863" fmla="*/ 1575398 h 6858000"/>
              <a:gd name="connsiteX864" fmla="*/ 6261945 w 6569477"/>
              <a:gd name="connsiteY864" fmla="*/ 1569807 h 6858000"/>
              <a:gd name="connsiteX865" fmla="*/ 6227264 w 6569477"/>
              <a:gd name="connsiteY865" fmla="*/ 1485482 h 6858000"/>
              <a:gd name="connsiteX866" fmla="*/ 6163232 w 6569477"/>
              <a:gd name="connsiteY866" fmla="*/ 1291657 h 6858000"/>
              <a:gd name="connsiteX867" fmla="*/ 6169423 w 6569477"/>
              <a:gd name="connsiteY867" fmla="*/ 1308672 h 6858000"/>
              <a:gd name="connsiteX868" fmla="*/ 6164862 w 6569477"/>
              <a:gd name="connsiteY868" fmla="*/ 1292485 h 6858000"/>
              <a:gd name="connsiteX869" fmla="*/ 4999747 w 6569477"/>
              <a:gd name="connsiteY869" fmla="*/ 1084964 h 6858000"/>
              <a:gd name="connsiteX870" fmla="*/ 5004170 w 6569477"/>
              <a:gd name="connsiteY870" fmla="*/ 1092826 h 6858000"/>
              <a:gd name="connsiteX871" fmla="*/ 5000801 w 6569477"/>
              <a:gd name="connsiteY871" fmla="*/ 1092344 h 6858000"/>
              <a:gd name="connsiteX872" fmla="*/ 4999747 w 6569477"/>
              <a:gd name="connsiteY872" fmla="*/ 1084964 h 6858000"/>
              <a:gd name="connsiteX873" fmla="*/ 4933923 w 6569477"/>
              <a:gd name="connsiteY873" fmla="*/ 1003153 h 6858000"/>
              <a:gd name="connsiteX874" fmla="*/ 4947450 w 6569477"/>
              <a:gd name="connsiteY874" fmla="*/ 1028780 h 6858000"/>
              <a:gd name="connsiteX875" fmla="*/ 4940697 w 6569477"/>
              <a:gd name="connsiteY875" fmla="*/ 1009043 h 6858000"/>
              <a:gd name="connsiteX876" fmla="*/ 4932262 w 6569477"/>
              <a:gd name="connsiteY876" fmla="*/ 644497 h 6858000"/>
              <a:gd name="connsiteX877" fmla="*/ 4940697 w 6569477"/>
              <a:gd name="connsiteY877" fmla="*/ 654745 h 6858000"/>
              <a:gd name="connsiteX878" fmla="*/ 4932262 w 6569477"/>
              <a:gd name="connsiteY878" fmla="*/ 646309 h 6858000"/>
              <a:gd name="connsiteX879" fmla="*/ 5581482 w 6569477"/>
              <a:gd name="connsiteY879" fmla="*/ 244629 h 6858000"/>
              <a:gd name="connsiteX880" fmla="*/ 5577991 w 6569477"/>
              <a:gd name="connsiteY880" fmla="*/ 250629 h 6858000"/>
              <a:gd name="connsiteX881" fmla="*/ 5577495 w 6569477"/>
              <a:gd name="connsiteY881" fmla="*/ 252297 h 6858000"/>
              <a:gd name="connsiteX882" fmla="*/ 5647778 w 6569477"/>
              <a:gd name="connsiteY882" fmla="*/ 373537 h 6858000"/>
              <a:gd name="connsiteX883" fmla="*/ 5709512 w 6569477"/>
              <a:gd name="connsiteY883" fmla="*/ 510569 h 6858000"/>
              <a:gd name="connsiteX884" fmla="*/ 5951197 w 6569477"/>
              <a:gd name="connsiteY884" fmla="*/ 1025425 h 6858000"/>
              <a:gd name="connsiteX885" fmla="*/ 5942878 w 6569477"/>
              <a:gd name="connsiteY885" fmla="*/ 913784 h 6858000"/>
              <a:gd name="connsiteX886" fmla="*/ 5930115 w 6569477"/>
              <a:gd name="connsiteY886" fmla="*/ 859785 h 6858000"/>
              <a:gd name="connsiteX887" fmla="*/ 5902782 w 6569477"/>
              <a:gd name="connsiteY887" fmla="*/ 807112 h 6858000"/>
              <a:gd name="connsiteX888" fmla="*/ 5831966 w 6569477"/>
              <a:gd name="connsiteY888" fmla="*/ 645218 h 6858000"/>
              <a:gd name="connsiteX889" fmla="*/ 5794655 w 6569477"/>
              <a:gd name="connsiteY889" fmla="*/ 587744 h 6858000"/>
              <a:gd name="connsiteX890" fmla="*/ 5756339 w 6569477"/>
              <a:gd name="connsiteY890" fmla="*/ 501756 h 6858000"/>
              <a:gd name="connsiteX891" fmla="*/ 5742795 w 6569477"/>
              <a:gd name="connsiteY891" fmla="*/ 498872 h 6858000"/>
              <a:gd name="connsiteX892" fmla="*/ 5657513 w 6569477"/>
              <a:gd name="connsiteY892" fmla="*/ 367504 h 6858000"/>
              <a:gd name="connsiteX893" fmla="*/ 5591104 w 6569477"/>
              <a:gd name="connsiteY893" fmla="*/ 247231 h 6858000"/>
              <a:gd name="connsiteX894" fmla="*/ 5581482 w 6569477"/>
              <a:gd name="connsiteY894" fmla="*/ 244629 h 6858000"/>
              <a:gd name="connsiteX895" fmla="*/ 4684964 w 6569477"/>
              <a:gd name="connsiteY895" fmla="*/ 0 h 6858000"/>
              <a:gd name="connsiteX896" fmla="*/ 5380578 w 6569477"/>
              <a:gd name="connsiteY896" fmla="*/ 0 h 6858000"/>
              <a:gd name="connsiteX897" fmla="*/ 5478611 w 6569477"/>
              <a:gd name="connsiteY897" fmla="*/ 117479 h 6858000"/>
              <a:gd name="connsiteX898" fmla="*/ 5500013 w 6569477"/>
              <a:gd name="connsiteY898" fmla="*/ 146283 h 6858000"/>
              <a:gd name="connsiteX899" fmla="*/ 5500055 w 6569477"/>
              <a:gd name="connsiteY899" fmla="*/ 142937 h 6858000"/>
              <a:gd name="connsiteX900" fmla="*/ 5534919 w 6569477"/>
              <a:gd name="connsiteY900" fmla="*/ 178662 h 6858000"/>
              <a:gd name="connsiteX901" fmla="*/ 5448194 w 6569477"/>
              <a:gd name="connsiteY901" fmla="*/ 54062 h 6858000"/>
              <a:gd name="connsiteX902" fmla="*/ 5412460 w 6569477"/>
              <a:gd name="connsiteY902" fmla="*/ 0 h 6858000"/>
              <a:gd name="connsiteX903" fmla="*/ 5476134 w 6569477"/>
              <a:gd name="connsiteY903" fmla="*/ 0 h 6858000"/>
              <a:gd name="connsiteX904" fmla="*/ 5485373 w 6569477"/>
              <a:gd name="connsiteY904" fmla="*/ 12455 h 6858000"/>
              <a:gd name="connsiteX905" fmla="*/ 5571665 w 6569477"/>
              <a:gd name="connsiteY905" fmla="*/ 130771 h 6858000"/>
              <a:gd name="connsiteX906" fmla="*/ 5619902 w 6569477"/>
              <a:gd name="connsiteY906" fmla="*/ 208686 h 6858000"/>
              <a:gd name="connsiteX907" fmla="*/ 5662149 w 6569477"/>
              <a:gd name="connsiteY907" fmla="*/ 253738 h 6858000"/>
              <a:gd name="connsiteX908" fmla="*/ 5686327 w 6569477"/>
              <a:gd name="connsiteY908" fmla="*/ 295355 h 6858000"/>
              <a:gd name="connsiteX909" fmla="*/ 5686913 w 6569477"/>
              <a:gd name="connsiteY909" fmla="*/ 295939 h 6858000"/>
              <a:gd name="connsiteX910" fmla="*/ 5696157 w 6569477"/>
              <a:gd name="connsiteY910" fmla="*/ 311903 h 6858000"/>
              <a:gd name="connsiteX911" fmla="*/ 5731531 w 6569477"/>
              <a:gd name="connsiteY911" fmla="*/ 366614 h 6858000"/>
              <a:gd name="connsiteX912" fmla="*/ 5812509 w 6569477"/>
              <a:gd name="connsiteY912" fmla="*/ 478933 h 6858000"/>
              <a:gd name="connsiteX913" fmla="*/ 5815302 w 6569477"/>
              <a:gd name="connsiteY913" fmla="*/ 472602 h 6858000"/>
              <a:gd name="connsiteX914" fmla="*/ 5814555 w 6569477"/>
              <a:gd name="connsiteY914" fmla="*/ 457145 h 6858000"/>
              <a:gd name="connsiteX915" fmla="*/ 5817860 w 6569477"/>
              <a:gd name="connsiteY915" fmla="*/ 460147 h 6858000"/>
              <a:gd name="connsiteX916" fmla="*/ 5827972 w 6569477"/>
              <a:gd name="connsiteY916" fmla="*/ 478193 h 6858000"/>
              <a:gd name="connsiteX917" fmla="*/ 5830766 w 6569477"/>
              <a:gd name="connsiteY917" fmla="*/ 471862 h 6858000"/>
              <a:gd name="connsiteX918" fmla="*/ 5817860 w 6569477"/>
              <a:gd name="connsiteY918" fmla="*/ 460147 h 6858000"/>
              <a:gd name="connsiteX919" fmla="*/ 5763946 w 6569477"/>
              <a:gd name="connsiteY919" fmla="*/ 363899 h 6858000"/>
              <a:gd name="connsiteX920" fmla="*/ 5712077 w 6569477"/>
              <a:gd name="connsiteY920" fmla="*/ 260643 h 6858000"/>
              <a:gd name="connsiteX921" fmla="*/ 5647795 w 6569477"/>
              <a:gd name="connsiteY921" fmla="*/ 149075 h 6858000"/>
              <a:gd name="connsiteX922" fmla="*/ 5750084 w 6569477"/>
              <a:gd name="connsiteY922" fmla="*/ 277415 h 6858000"/>
              <a:gd name="connsiteX923" fmla="*/ 5737415 w 6569477"/>
              <a:gd name="connsiteY923" fmla="*/ 271824 h 6858000"/>
              <a:gd name="connsiteX924" fmla="*/ 5780454 w 6569477"/>
              <a:gd name="connsiteY924" fmla="*/ 328637 h 6858000"/>
              <a:gd name="connsiteX925" fmla="*/ 5784739 w 6569477"/>
              <a:gd name="connsiteY925" fmla="*/ 353221 h 6858000"/>
              <a:gd name="connsiteX926" fmla="*/ 5865230 w 6569477"/>
              <a:gd name="connsiteY926" fmla="*/ 479507 h 6858000"/>
              <a:gd name="connsiteX927" fmla="*/ 5891313 w 6569477"/>
              <a:gd name="connsiteY927" fmla="*/ 506145 h 6858000"/>
              <a:gd name="connsiteX928" fmla="*/ 6056025 w 6569477"/>
              <a:gd name="connsiteY928" fmla="*/ 836005 h 6858000"/>
              <a:gd name="connsiteX929" fmla="*/ 6104098 w 6569477"/>
              <a:gd name="connsiteY929" fmla="*/ 932857 h 6858000"/>
              <a:gd name="connsiteX930" fmla="*/ 6138008 w 6569477"/>
              <a:gd name="connsiteY930" fmla="*/ 993205 h 6858000"/>
              <a:gd name="connsiteX931" fmla="*/ 6123293 w 6569477"/>
              <a:gd name="connsiteY931" fmla="*/ 1009405 h 6858000"/>
              <a:gd name="connsiteX932" fmla="*/ 6012986 w 6569477"/>
              <a:gd name="connsiteY932" fmla="*/ 779192 h 6858000"/>
              <a:gd name="connsiteX933" fmla="*/ 6006652 w 6569477"/>
              <a:gd name="connsiteY933" fmla="*/ 776396 h 6858000"/>
              <a:gd name="connsiteX934" fmla="*/ 6010193 w 6569477"/>
              <a:gd name="connsiteY934" fmla="*/ 785523 h 6858000"/>
              <a:gd name="connsiteX935" fmla="*/ 6014480 w 6569477"/>
              <a:gd name="connsiteY935" fmla="*/ 810107 h 6858000"/>
              <a:gd name="connsiteX936" fmla="*/ 6004788 w 6569477"/>
              <a:gd name="connsiteY936" fmla="*/ 798404 h 6858000"/>
              <a:gd name="connsiteX937" fmla="*/ 6001064 w 6569477"/>
              <a:gd name="connsiteY937" fmla="*/ 789058 h 6858000"/>
              <a:gd name="connsiteX938" fmla="*/ 6004605 w 6569477"/>
              <a:gd name="connsiteY938" fmla="*/ 798185 h 6858000"/>
              <a:gd name="connsiteX939" fmla="*/ 6004788 w 6569477"/>
              <a:gd name="connsiteY939" fmla="*/ 798404 h 6858000"/>
              <a:gd name="connsiteX940" fmla="*/ 6051771 w 6569477"/>
              <a:gd name="connsiteY940" fmla="*/ 916385 h 6858000"/>
              <a:gd name="connsiteX941" fmla="*/ 6109323 w 6569477"/>
              <a:gd name="connsiteY941" fmla="*/ 1041059 h 6858000"/>
              <a:gd name="connsiteX942" fmla="*/ 6218330 w 6569477"/>
              <a:gd name="connsiteY942" fmla="*/ 1308516 h 6858000"/>
              <a:gd name="connsiteX943" fmla="*/ 6248699 w 6569477"/>
              <a:gd name="connsiteY943" fmla="*/ 1359737 h 6858000"/>
              <a:gd name="connsiteX944" fmla="*/ 6317460 w 6569477"/>
              <a:gd name="connsiteY944" fmla="*/ 1564049 h 6858000"/>
              <a:gd name="connsiteX945" fmla="*/ 6327364 w 6569477"/>
              <a:gd name="connsiteY945" fmla="*/ 1565758 h 6858000"/>
              <a:gd name="connsiteX946" fmla="*/ 6405224 w 6569477"/>
              <a:gd name="connsiteY946" fmla="*/ 1840478 h 6858000"/>
              <a:gd name="connsiteX947" fmla="*/ 6402944 w 6569477"/>
              <a:gd name="connsiteY947" fmla="*/ 1841928 h 6858000"/>
              <a:gd name="connsiteX948" fmla="*/ 6401876 w 6569477"/>
              <a:gd name="connsiteY948" fmla="*/ 1835782 h 6858000"/>
              <a:gd name="connsiteX949" fmla="*/ 6399693 w 6569477"/>
              <a:gd name="connsiteY949" fmla="*/ 1834088 h 6858000"/>
              <a:gd name="connsiteX950" fmla="*/ 6398335 w 6569477"/>
              <a:gd name="connsiteY950" fmla="*/ 1826656 h 6858000"/>
              <a:gd name="connsiteX951" fmla="*/ 6399057 w 6569477"/>
              <a:gd name="connsiteY951" fmla="*/ 1833594 h 6858000"/>
              <a:gd name="connsiteX952" fmla="*/ 6399693 w 6569477"/>
              <a:gd name="connsiteY952" fmla="*/ 1834088 h 6858000"/>
              <a:gd name="connsiteX953" fmla="*/ 6403601 w 6569477"/>
              <a:gd name="connsiteY953" fmla="*/ 1855454 h 6858000"/>
              <a:gd name="connsiteX954" fmla="*/ 6404114 w 6569477"/>
              <a:gd name="connsiteY954" fmla="*/ 1882153 h 6858000"/>
              <a:gd name="connsiteX955" fmla="*/ 6473067 w 6569477"/>
              <a:gd name="connsiteY955" fmla="*/ 2154626 h 6858000"/>
              <a:gd name="connsiteX956" fmla="*/ 6483134 w 6569477"/>
              <a:gd name="connsiteY956" fmla="*/ 2234707 h 6858000"/>
              <a:gd name="connsiteX957" fmla="*/ 6520415 w 6569477"/>
              <a:gd name="connsiteY957" fmla="*/ 2493203 h 6858000"/>
              <a:gd name="connsiteX958" fmla="*/ 6531980 w 6569477"/>
              <a:gd name="connsiteY958" fmla="*/ 2633394 h 6858000"/>
              <a:gd name="connsiteX959" fmla="*/ 6527593 w 6569477"/>
              <a:gd name="connsiteY959" fmla="*/ 2646575 h 6858000"/>
              <a:gd name="connsiteX960" fmla="*/ 6529126 w 6569477"/>
              <a:gd name="connsiteY960" fmla="*/ 2655889 h 6858000"/>
              <a:gd name="connsiteX961" fmla="*/ 6530629 w 6569477"/>
              <a:gd name="connsiteY961" fmla="*/ 2656552 h 6858000"/>
              <a:gd name="connsiteX962" fmla="*/ 6531421 w 6569477"/>
              <a:gd name="connsiteY962" fmla="*/ 2656903 h 6858000"/>
              <a:gd name="connsiteX963" fmla="*/ 6534962 w 6569477"/>
              <a:gd name="connsiteY963" fmla="*/ 2666028 h 6858000"/>
              <a:gd name="connsiteX964" fmla="*/ 6531926 w 6569477"/>
              <a:gd name="connsiteY964" fmla="*/ 2672908 h 6858000"/>
              <a:gd name="connsiteX965" fmla="*/ 6533706 w 6569477"/>
              <a:gd name="connsiteY965" fmla="*/ 2683731 h 6858000"/>
              <a:gd name="connsiteX966" fmla="*/ 6528462 w 6569477"/>
              <a:gd name="connsiteY966" fmla="*/ 2680756 h 6858000"/>
              <a:gd name="connsiteX967" fmla="*/ 6526580 w 6569477"/>
              <a:gd name="connsiteY967" fmla="*/ 2685022 h 6858000"/>
              <a:gd name="connsiteX968" fmla="*/ 6526136 w 6569477"/>
              <a:gd name="connsiteY968" fmla="*/ 2683881 h 6858000"/>
              <a:gd name="connsiteX969" fmla="*/ 6524812 w 6569477"/>
              <a:gd name="connsiteY969" fmla="*/ 2680466 h 6858000"/>
              <a:gd name="connsiteX970" fmla="*/ 6524804 w 6569477"/>
              <a:gd name="connsiteY970" fmla="*/ 2684545 h 6858000"/>
              <a:gd name="connsiteX971" fmla="*/ 6538236 w 6569477"/>
              <a:gd name="connsiteY971" fmla="*/ 2743109 h 6858000"/>
              <a:gd name="connsiteX972" fmla="*/ 6531185 w 6569477"/>
              <a:gd name="connsiteY972" fmla="*/ 2767044 h 6858000"/>
              <a:gd name="connsiteX973" fmla="*/ 6547385 w 6569477"/>
              <a:gd name="connsiteY973" fmla="*/ 2915923 h 6858000"/>
              <a:gd name="connsiteX974" fmla="*/ 6558964 w 6569477"/>
              <a:gd name="connsiteY974" fmla="*/ 2951360 h 6858000"/>
              <a:gd name="connsiteX975" fmla="*/ 6560463 w 6569477"/>
              <a:gd name="connsiteY975" fmla="*/ 3320054 h 6858000"/>
              <a:gd name="connsiteX976" fmla="*/ 6560643 w 6569477"/>
              <a:gd name="connsiteY976" fmla="*/ 3428182 h 6858000"/>
              <a:gd name="connsiteX977" fmla="*/ 6564303 w 6569477"/>
              <a:gd name="connsiteY977" fmla="*/ 3497307 h 6858000"/>
              <a:gd name="connsiteX978" fmla="*/ 6543934 w 6569477"/>
              <a:gd name="connsiteY978" fmla="*/ 3505308 h 6858000"/>
              <a:gd name="connsiteX979" fmla="*/ 6547053 w 6569477"/>
              <a:gd name="connsiteY979" fmla="*/ 3250053 h 6858000"/>
              <a:gd name="connsiteX980" fmla="*/ 6542614 w 6569477"/>
              <a:gd name="connsiteY980" fmla="*/ 3244740 h 6858000"/>
              <a:gd name="connsiteX981" fmla="*/ 6541744 w 6569477"/>
              <a:gd name="connsiteY981" fmla="*/ 3254490 h 6858000"/>
              <a:gd name="connsiteX982" fmla="*/ 6534694 w 6569477"/>
              <a:gd name="connsiteY982" fmla="*/ 3278429 h 6858000"/>
              <a:gd name="connsiteX983" fmla="*/ 6531190 w 6569477"/>
              <a:gd name="connsiteY983" fmla="*/ 3263643 h 6858000"/>
              <a:gd name="connsiteX984" fmla="*/ 6531994 w 6569477"/>
              <a:gd name="connsiteY984" fmla="*/ 3253615 h 6858000"/>
              <a:gd name="connsiteX985" fmla="*/ 6531124 w 6569477"/>
              <a:gd name="connsiteY985" fmla="*/ 3263366 h 6858000"/>
              <a:gd name="connsiteX986" fmla="*/ 6531190 w 6569477"/>
              <a:gd name="connsiteY986" fmla="*/ 3263643 h 6858000"/>
              <a:gd name="connsiteX987" fmla="*/ 6521033 w 6569477"/>
              <a:gd name="connsiteY987" fmla="*/ 3390229 h 6858000"/>
              <a:gd name="connsiteX988" fmla="*/ 6517384 w 6569477"/>
              <a:gd name="connsiteY988" fmla="*/ 3527497 h 6858000"/>
              <a:gd name="connsiteX989" fmla="*/ 6496595 w 6569477"/>
              <a:gd name="connsiteY989" fmla="*/ 3815563 h 6858000"/>
              <a:gd name="connsiteX990" fmla="*/ 6501124 w 6569477"/>
              <a:gd name="connsiteY990" fmla="*/ 3874940 h 6858000"/>
              <a:gd name="connsiteX991" fmla="*/ 6472234 w 6569477"/>
              <a:gd name="connsiteY991" fmla="*/ 4088567 h 6858000"/>
              <a:gd name="connsiteX992" fmla="*/ 6480357 w 6569477"/>
              <a:gd name="connsiteY992" fmla="*/ 4094487 h 6858000"/>
              <a:gd name="connsiteX993" fmla="*/ 6428427 w 6569477"/>
              <a:gd name="connsiteY993" fmla="*/ 4375267 h 6858000"/>
              <a:gd name="connsiteX994" fmla="*/ 6425741 w 6569477"/>
              <a:gd name="connsiteY994" fmla="*/ 4375556 h 6858000"/>
              <a:gd name="connsiteX995" fmla="*/ 6427506 w 6569477"/>
              <a:gd name="connsiteY995" fmla="*/ 4369573 h 6858000"/>
              <a:gd name="connsiteX996" fmla="*/ 6426300 w 6569477"/>
              <a:gd name="connsiteY996" fmla="*/ 4367087 h 6858000"/>
              <a:gd name="connsiteX997" fmla="*/ 6428376 w 6569477"/>
              <a:gd name="connsiteY997" fmla="*/ 4359822 h 6858000"/>
              <a:gd name="connsiteX998" fmla="*/ 6425949 w 6569477"/>
              <a:gd name="connsiteY998" fmla="*/ 4366362 h 6858000"/>
              <a:gd name="connsiteX999" fmla="*/ 6426300 w 6569477"/>
              <a:gd name="connsiteY999" fmla="*/ 4367087 h 6858000"/>
              <a:gd name="connsiteX1000" fmla="*/ 6420336 w 6569477"/>
              <a:gd name="connsiteY1000" fmla="*/ 4387972 h 6858000"/>
              <a:gd name="connsiteX1001" fmla="*/ 6408966 w 6569477"/>
              <a:gd name="connsiteY1001" fmla="*/ 4412135 h 6858000"/>
              <a:gd name="connsiteX1002" fmla="*/ 6350047 w 6569477"/>
              <a:gd name="connsiteY1002" fmla="*/ 4686953 h 6858000"/>
              <a:gd name="connsiteX1003" fmla="*/ 6323588 w 6569477"/>
              <a:gd name="connsiteY1003" fmla="*/ 4763203 h 6858000"/>
              <a:gd name="connsiteX1004" fmla="*/ 6242470 w 6569477"/>
              <a:gd name="connsiteY1004" fmla="*/ 5011457 h 6858000"/>
              <a:gd name="connsiteX1005" fmla="*/ 6206632 w 6569477"/>
              <a:gd name="connsiteY1005" fmla="*/ 5110210 h 6858000"/>
              <a:gd name="connsiteX1006" fmla="*/ 6191507 w 6569477"/>
              <a:gd name="connsiteY1006" fmla="*/ 5140673 h 6858000"/>
              <a:gd name="connsiteX1007" fmla="*/ 6172300 w 6569477"/>
              <a:gd name="connsiteY1007" fmla="*/ 5199455 h 6858000"/>
              <a:gd name="connsiteX1008" fmla="*/ 6156345 w 6569477"/>
              <a:gd name="connsiteY1008" fmla="*/ 5277115 h 6858000"/>
              <a:gd name="connsiteX1009" fmla="*/ 6059140 w 6569477"/>
              <a:gd name="connsiteY1009" fmla="*/ 5529842 h 6858000"/>
              <a:gd name="connsiteX1010" fmla="*/ 6065922 w 6569477"/>
              <a:gd name="connsiteY1010" fmla="*/ 5528472 h 6858000"/>
              <a:gd name="connsiteX1011" fmla="*/ 6078119 w 6569477"/>
              <a:gd name="connsiteY1011" fmla="*/ 5518945 h 6858000"/>
              <a:gd name="connsiteX1012" fmla="*/ 6077573 w 6569477"/>
              <a:gd name="connsiteY1012" fmla="*/ 5523376 h 6858000"/>
              <a:gd name="connsiteX1013" fmla="*/ 6068664 w 6569477"/>
              <a:gd name="connsiteY1013" fmla="*/ 5542046 h 6858000"/>
              <a:gd name="connsiteX1014" fmla="*/ 6075448 w 6569477"/>
              <a:gd name="connsiteY1014" fmla="*/ 5540675 h 6858000"/>
              <a:gd name="connsiteX1015" fmla="*/ 6077573 w 6569477"/>
              <a:gd name="connsiteY1015" fmla="*/ 5523376 h 6858000"/>
              <a:gd name="connsiteX1016" fmla="*/ 6125089 w 6569477"/>
              <a:gd name="connsiteY1016" fmla="*/ 5423814 h 6858000"/>
              <a:gd name="connsiteX1017" fmla="*/ 6179507 w 6569477"/>
              <a:gd name="connsiteY1017" fmla="*/ 5321879 h 6858000"/>
              <a:gd name="connsiteX1018" fmla="*/ 6233557 w 6569477"/>
              <a:gd name="connsiteY1018" fmla="*/ 5205010 h 6858000"/>
              <a:gd name="connsiteX1019" fmla="*/ 6187733 w 6569477"/>
              <a:gd name="connsiteY1019" fmla="*/ 5362599 h 6858000"/>
              <a:gd name="connsiteX1020" fmla="*/ 6184992 w 6569477"/>
              <a:gd name="connsiteY1020" fmla="*/ 5349026 h 6858000"/>
              <a:gd name="connsiteX1021" fmla="*/ 6163414 w 6569477"/>
              <a:gd name="connsiteY1021" fmla="*/ 5416956 h 6858000"/>
              <a:gd name="connsiteX1022" fmla="*/ 6145805 w 6569477"/>
              <a:gd name="connsiteY1022" fmla="*/ 5434638 h 6858000"/>
              <a:gd name="connsiteX1023" fmla="*/ 6089085 w 6569477"/>
              <a:gd name="connsiteY1023" fmla="*/ 5573237 h 6858000"/>
              <a:gd name="connsiteX1024" fmla="*/ 6082373 w 6569477"/>
              <a:gd name="connsiteY1024" fmla="*/ 5609909 h 6858000"/>
              <a:gd name="connsiteX1025" fmla="*/ 5907955 w 6569477"/>
              <a:gd name="connsiteY1025" fmla="*/ 5934742 h 6858000"/>
              <a:gd name="connsiteX1026" fmla="*/ 5856575 w 6569477"/>
              <a:gd name="connsiteY1026" fmla="*/ 6029882 h 6858000"/>
              <a:gd name="connsiteX1027" fmla="*/ 5826843 w 6569477"/>
              <a:gd name="connsiteY1027" fmla="*/ 6092393 h 6858000"/>
              <a:gd name="connsiteX1028" fmla="*/ 5805124 w 6569477"/>
              <a:gd name="connsiteY1028" fmla="*/ 6089719 h 6858000"/>
              <a:gd name="connsiteX1029" fmla="*/ 5929533 w 6569477"/>
              <a:gd name="connsiteY1029" fmla="*/ 5866812 h 6858000"/>
              <a:gd name="connsiteX1030" fmla="*/ 5928163 w 6569477"/>
              <a:gd name="connsiteY1030" fmla="*/ 5860025 h 6858000"/>
              <a:gd name="connsiteX1031" fmla="*/ 5922749 w 6569477"/>
              <a:gd name="connsiteY1031" fmla="*/ 5868182 h 6858000"/>
              <a:gd name="connsiteX1032" fmla="*/ 5905143 w 6569477"/>
              <a:gd name="connsiteY1032" fmla="*/ 5885866 h 6858000"/>
              <a:gd name="connsiteX1033" fmla="*/ 5909110 w 6569477"/>
              <a:gd name="connsiteY1033" fmla="*/ 5871199 h 6858000"/>
              <a:gd name="connsiteX1034" fmla="*/ 5914596 w 6569477"/>
              <a:gd name="connsiteY1034" fmla="*/ 5862765 h 6858000"/>
              <a:gd name="connsiteX1035" fmla="*/ 5909184 w 6569477"/>
              <a:gd name="connsiteY1035" fmla="*/ 5870922 h 6858000"/>
              <a:gd name="connsiteX1036" fmla="*/ 5909110 w 6569477"/>
              <a:gd name="connsiteY1036" fmla="*/ 5871199 h 6858000"/>
              <a:gd name="connsiteX1037" fmla="*/ 5839843 w 6569477"/>
              <a:gd name="connsiteY1037" fmla="*/ 5977637 h 6858000"/>
              <a:gd name="connsiteX1038" fmla="*/ 5771208 w 6569477"/>
              <a:gd name="connsiteY1038" fmla="*/ 6096571 h 6858000"/>
              <a:gd name="connsiteX1039" fmla="*/ 5615626 w 6569477"/>
              <a:gd name="connsiteY1039" fmla="*/ 6339899 h 6858000"/>
              <a:gd name="connsiteX1040" fmla="*/ 5591306 w 6569477"/>
              <a:gd name="connsiteY1040" fmla="*/ 6394255 h 6858000"/>
              <a:gd name="connsiteX1041" fmla="*/ 5464086 w 6569477"/>
              <a:gd name="connsiteY1041" fmla="*/ 6568285 h 6858000"/>
              <a:gd name="connsiteX1042" fmla="*/ 5468405 w 6569477"/>
              <a:gd name="connsiteY1042" fmla="*/ 6577359 h 6858000"/>
              <a:gd name="connsiteX1043" fmla="*/ 5288922 w 6569477"/>
              <a:gd name="connsiteY1043" fmla="*/ 6799441 h 6858000"/>
              <a:gd name="connsiteX1044" fmla="*/ 5286422 w 6569477"/>
              <a:gd name="connsiteY1044" fmla="*/ 6798415 h 6858000"/>
              <a:gd name="connsiteX1045" fmla="*/ 5290826 w 6569477"/>
              <a:gd name="connsiteY1045" fmla="*/ 6793995 h 6858000"/>
              <a:gd name="connsiteX1046" fmla="*/ 5290950 w 6569477"/>
              <a:gd name="connsiteY1046" fmla="*/ 6791235 h 6858000"/>
              <a:gd name="connsiteX1047" fmla="*/ 5296238 w 6569477"/>
              <a:gd name="connsiteY1047" fmla="*/ 6785838 h 6858000"/>
              <a:gd name="connsiteX1048" fmla="*/ 5290987 w 6569477"/>
              <a:gd name="connsiteY1048" fmla="*/ 6790431 h 6858000"/>
              <a:gd name="connsiteX1049" fmla="*/ 5290950 w 6569477"/>
              <a:gd name="connsiteY1049" fmla="*/ 6791235 h 6858000"/>
              <a:gd name="connsiteX1050" fmla="*/ 5275753 w 6569477"/>
              <a:gd name="connsiteY1050" fmla="*/ 6806752 h 6858000"/>
              <a:gd name="connsiteX1051" fmla="*/ 5254239 w 6569477"/>
              <a:gd name="connsiteY1051" fmla="*/ 6822575 h 6858000"/>
              <a:gd name="connsiteX1052" fmla="*/ 5225321 w 6569477"/>
              <a:gd name="connsiteY1052" fmla="*/ 6858000 h 6858000"/>
              <a:gd name="connsiteX1053" fmla="*/ 5157501 w 6569477"/>
              <a:gd name="connsiteY1053" fmla="*/ 6858000 h 6858000"/>
              <a:gd name="connsiteX1054" fmla="*/ 5208211 w 6569477"/>
              <a:gd name="connsiteY1054" fmla="*/ 6795673 h 6858000"/>
              <a:gd name="connsiteX1055" fmla="*/ 5328568 w 6569477"/>
              <a:gd name="connsiteY1055" fmla="*/ 6666293 h 6858000"/>
              <a:gd name="connsiteX1056" fmla="*/ 5366453 w 6569477"/>
              <a:gd name="connsiteY1056" fmla="*/ 6609197 h 6858000"/>
              <a:gd name="connsiteX1057" fmla="*/ 5430099 w 6569477"/>
              <a:gd name="connsiteY1057" fmla="*/ 6539833 h 6858000"/>
              <a:gd name="connsiteX1058" fmla="*/ 5427358 w 6569477"/>
              <a:gd name="connsiteY1058" fmla="*/ 6526259 h 6858000"/>
              <a:gd name="connsiteX1059" fmla="*/ 5513952 w 6569477"/>
              <a:gd name="connsiteY1059" fmla="*/ 6395753 h 6858000"/>
              <a:gd name="connsiteX1060" fmla="*/ 5597877 w 6569477"/>
              <a:gd name="connsiteY1060" fmla="*/ 6286977 h 6858000"/>
              <a:gd name="connsiteX1061" fmla="*/ 5589542 w 6569477"/>
              <a:gd name="connsiteY1061" fmla="*/ 6276299 h 6858000"/>
              <a:gd name="connsiteX1062" fmla="*/ 5579347 w 6569477"/>
              <a:gd name="connsiteY1062" fmla="*/ 6278801 h 6858000"/>
              <a:gd name="connsiteX1063" fmla="*/ 5572013 w 6569477"/>
              <a:gd name="connsiteY1063" fmla="*/ 6278854 h 6858000"/>
              <a:gd name="connsiteX1064" fmla="*/ 5561199 w 6569477"/>
              <a:gd name="connsiteY1064" fmla="*/ 6297181 h 6858000"/>
              <a:gd name="connsiteX1065" fmla="*/ 5561199 w 6569477"/>
              <a:gd name="connsiteY1065" fmla="*/ 6283333 h 6858000"/>
              <a:gd name="connsiteX1066" fmla="*/ 5526598 w 6569477"/>
              <a:gd name="connsiteY1066" fmla="*/ 6345645 h 6858000"/>
              <a:gd name="connsiteX1067" fmla="*/ 5505837 w 6569477"/>
              <a:gd name="connsiteY1067" fmla="*/ 6359491 h 6858000"/>
              <a:gd name="connsiteX1068" fmla="*/ 5422797 w 6569477"/>
              <a:gd name="connsiteY1068" fmla="*/ 6484116 h 6858000"/>
              <a:gd name="connsiteX1069" fmla="*/ 5408957 w 6569477"/>
              <a:gd name="connsiteY1069" fmla="*/ 6518733 h 6858000"/>
              <a:gd name="connsiteX1070" fmla="*/ 5173676 w 6569477"/>
              <a:gd name="connsiteY1070" fmla="*/ 6802601 h 6858000"/>
              <a:gd name="connsiteX1071" fmla="*/ 5153132 w 6569477"/>
              <a:gd name="connsiteY1071" fmla="*/ 6832134 h 6858000"/>
              <a:gd name="connsiteX1072" fmla="*/ 5136638 w 6569477"/>
              <a:gd name="connsiteY1072" fmla="*/ 6858000 h 6858000"/>
              <a:gd name="connsiteX1073" fmla="*/ 5106051 w 6569477"/>
              <a:gd name="connsiteY1073" fmla="*/ 6858000 h 6858000"/>
              <a:gd name="connsiteX1074" fmla="*/ 5127832 w 6569477"/>
              <a:gd name="connsiteY1074" fmla="*/ 6832026 h 6858000"/>
              <a:gd name="connsiteX1075" fmla="*/ 5208277 w 6569477"/>
              <a:gd name="connsiteY1075" fmla="*/ 6740288 h 6858000"/>
              <a:gd name="connsiteX1076" fmla="*/ 5208277 w 6569477"/>
              <a:gd name="connsiteY1076" fmla="*/ 6733364 h 6858000"/>
              <a:gd name="connsiteX1077" fmla="*/ 5201357 w 6569477"/>
              <a:gd name="connsiteY1077" fmla="*/ 6740288 h 6858000"/>
              <a:gd name="connsiteX1078" fmla="*/ 5180596 w 6569477"/>
              <a:gd name="connsiteY1078" fmla="*/ 6754136 h 6858000"/>
              <a:gd name="connsiteX1079" fmla="*/ 5187389 w 6569477"/>
              <a:gd name="connsiteY1079" fmla="*/ 6740544 h 6858000"/>
              <a:gd name="connsiteX1080" fmla="*/ 5194437 w 6569477"/>
              <a:gd name="connsiteY1080" fmla="*/ 6733364 h 6858000"/>
              <a:gd name="connsiteX1081" fmla="*/ 5187516 w 6569477"/>
              <a:gd name="connsiteY1081" fmla="*/ 6740288 h 6858000"/>
              <a:gd name="connsiteX1082" fmla="*/ 5187389 w 6569477"/>
              <a:gd name="connsiteY1082" fmla="*/ 6740544 h 6858000"/>
              <a:gd name="connsiteX1083" fmla="*/ 5098421 w 6569477"/>
              <a:gd name="connsiteY1083" fmla="*/ 6831161 h 6858000"/>
              <a:gd name="connsiteX1084" fmla="*/ 5074751 w 6569477"/>
              <a:gd name="connsiteY1084" fmla="*/ 6858000 h 6858000"/>
              <a:gd name="connsiteX1085" fmla="*/ 4627783 w 6569477"/>
              <a:gd name="connsiteY1085" fmla="*/ 6858000 h 6858000"/>
              <a:gd name="connsiteX1086" fmla="*/ 4759894 w 6569477"/>
              <a:gd name="connsiteY1086" fmla="*/ 6716663 h 6858000"/>
              <a:gd name="connsiteX1087" fmla="*/ 5986727 w 6569477"/>
              <a:gd name="connsiteY1087" fmla="*/ 3868735 h 6858000"/>
              <a:gd name="connsiteX1088" fmla="*/ 6003597 w 6569477"/>
              <a:gd name="connsiteY1088" fmla="*/ 3548178 h 6858000"/>
              <a:gd name="connsiteX1089" fmla="*/ 6012034 w 6569477"/>
              <a:gd name="connsiteY1089" fmla="*/ 3539742 h 6858000"/>
              <a:gd name="connsiteX1090" fmla="*/ 6012033 w 6569477"/>
              <a:gd name="connsiteY1090" fmla="*/ 3514433 h 6858000"/>
              <a:gd name="connsiteX1091" fmla="*/ 6003597 w 6569477"/>
              <a:gd name="connsiteY1091" fmla="*/ 3506001 h 6858000"/>
              <a:gd name="connsiteX1092" fmla="*/ 6003597 w 6569477"/>
              <a:gd name="connsiteY1092" fmla="*/ 3269799 h 6858000"/>
              <a:gd name="connsiteX1093" fmla="*/ 5952984 w 6569477"/>
              <a:gd name="connsiteY1093" fmla="*/ 2721484 h 6858000"/>
              <a:gd name="connsiteX1094" fmla="*/ 5404662 w 6569477"/>
              <a:gd name="connsiteY1094" fmla="*/ 1051221 h 6858000"/>
              <a:gd name="connsiteX1095" fmla="*/ 4873211 w 6569477"/>
              <a:gd name="connsiteY1095" fmla="*/ 224525 h 6858000"/>
              <a:gd name="connsiteX1096" fmla="*/ 4890083 w 6569477"/>
              <a:gd name="connsiteY1096" fmla="*/ 232961 h 6858000"/>
              <a:gd name="connsiteX1097" fmla="*/ 4797289 w 6569477"/>
              <a:gd name="connsiteY1097" fmla="*/ 114861 h 6858000"/>
              <a:gd name="connsiteX1098" fmla="*/ 4738239 w 6569477"/>
              <a:gd name="connsiteY1098" fmla="*/ 55811 h 6858000"/>
              <a:gd name="connsiteX1099" fmla="*/ 0 w 6569477"/>
              <a:gd name="connsiteY1099" fmla="*/ 0 h 6858000"/>
              <a:gd name="connsiteX1100" fmla="*/ 4229922 w 6569477"/>
              <a:gd name="connsiteY1100" fmla="*/ 0 h 6858000"/>
              <a:gd name="connsiteX1101" fmla="*/ 4372273 w 6569477"/>
              <a:gd name="connsiteY1101" fmla="*/ 157015 h 6858000"/>
              <a:gd name="connsiteX1102" fmla="*/ 4543809 w 6569477"/>
              <a:gd name="connsiteY1102" fmla="*/ 370769 h 6858000"/>
              <a:gd name="connsiteX1103" fmla="*/ 4849592 w 6569477"/>
              <a:gd name="connsiteY1103" fmla="*/ 843375 h 6858000"/>
              <a:gd name="connsiteX1104" fmla="*/ 4914877 w 6569477"/>
              <a:gd name="connsiteY1104" fmla="*/ 967066 h 6858000"/>
              <a:gd name="connsiteX1105" fmla="*/ 4925933 w 6569477"/>
              <a:gd name="connsiteY1105" fmla="*/ 979122 h 6858000"/>
              <a:gd name="connsiteX1106" fmla="*/ 4982878 w 6569477"/>
              <a:gd name="connsiteY1106" fmla="*/ 1068093 h 6858000"/>
              <a:gd name="connsiteX1107" fmla="*/ 4982876 w 6569477"/>
              <a:gd name="connsiteY1107" fmla="*/ 1076527 h 6858000"/>
              <a:gd name="connsiteX1108" fmla="*/ 4982876 w 6569477"/>
              <a:gd name="connsiteY1108" fmla="*/ 1084962 h 6858000"/>
              <a:gd name="connsiteX1109" fmla="*/ 4991312 w 6569477"/>
              <a:gd name="connsiteY1109" fmla="*/ 1084964 h 6858000"/>
              <a:gd name="connsiteX1110" fmla="*/ 5008183 w 6569477"/>
              <a:gd name="connsiteY1110" fmla="*/ 1127139 h 6858000"/>
              <a:gd name="connsiteX1111" fmla="*/ 5008183 w 6569477"/>
              <a:gd name="connsiteY1111" fmla="*/ 1135577 h 6858000"/>
              <a:gd name="connsiteX1112" fmla="*/ 5016618 w 6569477"/>
              <a:gd name="connsiteY1112" fmla="*/ 1144015 h 6858000"/>
              <a:gd name="connsiteX1113" fmla="*/ 5016619 w 6569477"/>
              <a:gd name="connsiteY1113" fmla="*/ 1135576 h 6858000"/>
              <a:gd name="connsiteX1114" fmla="*/ 5075670 w 6569477"/>
              <a:gd name="connsiteY1114" fmla="*/ 1228369 h 6858000"/>
              <a:gd name="connsiteX1115" fmla="*/ 5067232 w 6569477"/>
              <a:gd name="connsiteY1115" fmla="*/ 1228371 h 6858000"/>
              <a:gd name="connsiteX1116" fmla="*/ 5067232 w 6569477"/>
              <a:gd name="connsiteY1116" fmla="*/ 1236805 h 6858000"/>
              <a:gd name="connsiteX1117" fmla="*/ 5075669 w 6569477"/>
              <a:gd name="connsiteY1117" fmla="*/ 1245241 h 6858000"/>
              <a:gd name="connsiteX1118" fmla="*/ 5084105 w 6569477"/>
              <a:gd name="connsiteY1118" fmla="*/ 1245241 h 6858000"/>
              <a:gd name="connsiteX1119" fmla="*/ 5084107 w 6569477"/>
              <a:gd name="connsiteY1119" fmla="*/ 1253677 h 6858000"/>
              <a:gd name="connsiteX1120" fmla="*/ 5100976 w 6569477"/>
              <a:gd name="connsiteY1120" fmla="*/ 1304291 h 6858000"/>
              <a:gd name="connsiteX1121" fmla="*/ 5117847 w 6569477"/>
              <a:gd name="connsiteY1121" fmla="*/ 1312726 h 6858000"/>
              <a:gd name="connsiteX1122" fmla="*/ 5126282 w 6569477"/>
              <a:gd name="connsiteY1122" fmla="*/ 1329598 h 6858000"/>
              <a:gd name="connsiteX1123" fmla="*/ 5117847 w 6569477"/>
              <a:gd name="connsiteY1123" fmla="*/ 1338033 h 6858000"/>
              <a:gd name="connsiteX1124" fmla="*/ 5126283 w 6569477"/>
              <a:gd name="connsiteY1124" fmla="*/ 1346469 h 6858000"/>
              <a:gd name="connsiteX1125" fmla="*/ 5134719 w 6569477"/>
              <a:gd name="connsiteY1125" fmla="*/ 1354905 h 6858000"/>
              <a:gd name="connsiteX1126" fmla="*/ 5176898 w 6569477"/>
              <a:gd name="connsiteY1126" fmla="*/ 1430824 h 6858000"/>
              <a:gd name="connsiteX1127" fmla="*/ 5168461 w 6569477"/>
              <a:gd name="connsiteY1127" fmla="*/ 1397082 h 6858000"/>
              <a:gd name="connsiteX1128" fmla="*/ 5143155 w 6569477"/>
              <a:gd name="connsiteY1128" fmla="*/ 1363341 h 6858000"/>
              <a:gd name="connsiteX1129" fmla="*/ 5143154 w 6569477"/>
              <a:gd name="connsiteY1129" fmla="*/ 1354903 h 6858000"/>
              <a:gd name="connsiteX1130" fmla="*/ 5143155 w 6569477"/>
              <a:gd name="connsiteY1130" fmla="*/ 1346469 h 6858000"/>
              <a:gd name="connsiteX1131" fmla="*/ 5134719 w 6569477"/>
              <a:gd name="connsiteY1131" fmla="*/ 1329598 h 6858000"/>
              <a:gd name="connsiteX1132" fmla="*/ 5092539 w 6569477"/>
              <a:gd name="connsiteY1132" fmla="*/ 1262112 h 6858000"/>
              <a:gd name="connsiteX1133" fmla="*/ 5092540 w 6569477"/>
              <a:gd name="connsiteY1133" fmla="*/ 1245241 h 6858000"/>
              <a:gd name="connsiteX1134" fmla="*/ 5092539 w 6569477"/>
              <a:gd name="connsiteY1134" fmla="*/ 1236803 h 6858000"/>
              <a:gd name="connsiteX1135" fmla="*/ 5092539 w 6569477"/>
              <a:gd name="connsiteY1135" fmla="*/ 1219933 h 6858000"/>
              <a:gd name="connsiteX1136" fmla="*/ 5084107 w 6569477"/>
              <a:gd name="connsiteY1136" fmla="*/ 1219935 h 6858000"/>
              <a:gd name="connsiteX1137" fmla="*/ 5075668 w 6569477"/>
              <a:gd name="connsiteY1137" fmla="*/ 1219935 h 6858000"/>
              <a:gd name="connsiteX1138" fmla="*/ 5050362 w 6569477"/>
              <a:gd name="connsiteY1138" fmla="*/ 1186189 h 6858000"/>
              <a:gd name="connsiteX1139" fmla="*/ 5025055 w 6569477"/>
              <a:gd name="connsiteY1139" fmla="*/ 1135578 h 6858000"/>
              <a:gd name="connsiteX1140" fmla="*/ 5025054 w 6569477"/>
              <a:gd name="connsiteY1140" fmla="*/ 1127141 h 6858000"/>
              <a:gd name="connsiteX1141" fmla="*/ 5025055 w 6569477"/>
              <a:gd name="connsiteY1141" fmla="*/ 1118707 h 6858000"/>
              <a:gd name="connsiteX1142" fmla="*/ 5009238 w 6569477"/>
              <a:gd name="connsiteY1142" fmla="*/ 1101833 h 6858000"/>
              <a:gd name="connsiteX1143" fmla="*/ 5004170 w 6569477"/>
              <a:gd name="connsiteY1143" fmla="*/ 1092826 h 6858000"/>
              <a:gd name="connsiteX1144" fmla="*/ 5008183 w 6569477"/>
              <a:gd name="connsiteY1144" fmla="*/ 1093400 h 6858000"/>
              <a:gd name="connsiteX1145" fmla="*/ 5008182 w 6569477"/>
              <a:gd name="connsiteY1145" fmla="*/ 1084964 h 6858000"/>
              <a:gd name="connsiteX1146" fmla="*/ 4999746 w 6569477"/>
              <a:gd name="connsiteY1146" fmla="*/ 1076527 h 6858000"/>
              <a:gd name="connsiteX1147" fmla="*/ 4991312 w 6569477"/>
              <a:gd name="connsiteY1147" fmla="*/ 1068091 h 6858000"/>
              <a:gd name="connsiteX1148" fmla="*/ 4982876 w 6569477"/>
              <a:gd name="connsiteY1148" fmla="*/ 1042786 h 6858000"/>
              <a:gd name="connsiteX1149" fmla="*/ 4966004 w 6569477"/>
              <a:gd name="connsiteY1149" fmla="*/ 1025912 h 6858000"/>
              <a:gd name="connsiteX1150" fmla="*/ 4982876 w 6569477"/>
              <a:gd name="connsiteY1150" fmla="*/ 1034349 h 6858000"/>
              <a:gd name="connsiteX1151" fmla="*/ 4957571 w 6569477"/>
              <a:gd name="connsiteY1151" fmla="*/ 1009043 h 6858000"/>
              <a:gd name="connsiteX1152" fmla="*/ 4932262 w 6569477"/>
              <a:gd name="connsiteY1152" fmla="*/ 966864 h 6858000"/>
              <a:gd name="connsiteX1153" fmla="*/ 4957569 w 6569477"/>
              <a:gd name="connsiteY1153" fmla="*/ 966864 h 6858000"/>
              <a:gd name="connsiteX1154" fmla="*/ 4923825 w 6569477"/>
              <a:gd name="connsiteY1154" fmla="*/ 933123 h 6858000"/>
              <a:gd name="connsiteX1155" fmla="*/ 4932261 w 6569477"/>
              <a:gd name="connsiteY1155" fmla="*/ 933122 h 6858000"/>
              <a:gd name="connsiteX1156" fmla="*/ 4932262 w 6569477"/>
              <a:gd name="connsiteY1156" fmla="*/ 924686 h 6858000"/>
              <a:gd name="connsiteX1157" fmla="*/ 4923825 w 6569477"/>
              <a:gd name="connsiteY1157" fmla="*/ 916250 h 6858000"/>
              <a:gd name="connsiteX1158" fmla="*/ 4898518 w 6569477"/>
              <a:gd name="connsiteY1158" fmla="*/ 890943 h 6858000"/>
              <a:gd name="connsiteX1159" fmla="*/ 4890083 w 6569477"/>
              <a:gd name="connsiteY1159" fmla="*/ 874073 h 6858000"/>
              <a:gd name="connsiteX1160" fmla="*/ 4881646 w 6569477"/>
              <a:gd name="connsiteY1160" fmla="*/ 865638 h 6858000"/>
              <a:gd name="connsiteX1161" fmla="*/ 4881647 w 6569477"/>
              <a:gd name="connsiteY1161" fmla="*/ 874073 h 6858000"/>
              <a:gd name="connsiteX1162" fmla="*/ 4881647 w 6569477"/>
              <a:gd name="connsiteY1162" fmla="*/ 882507 h 6858000"/>
              <a:gd name="connsiteX1163" fmla="*/ 4839470 w 6569477"/>
              <a:gd name="connsiteY1163" fmla="*/ 815023 h 6858000"/>
              <a:gd name="connsiteX1164" fmla="*/ 4864776 w 6569477"/>
              <a:gd name="connsiteY1164" fmla="*/ 823459 h 6858000"/>
              <a:gd name="connsiteX1165" fmla="*/ 4814160 w 6569477"/>
              <a:gd name="connsiteY1165" fmla="*/ 772843 h 6858000"/>
              <a:gd name="connsiteX1166" fmla="*/ 4771982 w 6569477"/>
              <a:gd name="connsiteY1166" fmla="*/ 705360 h 6858000"/>
              <a:gd name="connsiteX1167" fmla="*/ 4780419 w 6569477"/>
              <a:gd name="connsiteY1167" fmla="*/ 713795 h 6858000"/>
              <a:gd name="connsiteX1168" fmla="*/ 4788853 w 6569477"/>
              <a:gd name="connsiteY1168" fmla="*/ 713795 h 6858000"/>
              <a:gd name="connsiteX1169" fmla="*/ 4797292 w 6569477"/>
              <a:gd name="connsiteY1169" fmla="*/ 713795 h 6858000"/>
              <a:gd name="connsiteX1170" fmla="*/ 4788854 w 6569477"/>
              <a:gd name="connsiteY1170" fmla="*/ 696923 h 6858000"/>
              <a:gd name="connsiteX1171" fmla="*/ 4797290 w 6569477"/>
              <a:gd name="connsiteY1171" fmla="*/ 696923 h 6858000"/>
              <a:gd name="connsiteX1172" fmla="*/ 4805728 w 6569477"/>
              <a:gd name="connsiteY1172" fmla="*/ 705359 h 6858000"/>
              <a:gd name="connsiteX1173" fmla="*/ 4805726 w 6569477"/>
              <a:gd name="connsiteY1173" fmla="*/ 713795 h 6858000"/>
              <a:gd name="connsiteX1174" fmla="*/ 4814160 w 6569477"/>
              <a:gd name="connsiteY1174" fmla="*/ 722229 h 6858000"/>
              <a:gd name="connsiteX1175" fmla="*/ 4822596 w 6569477"/>
              <a:gd name="connsiteY1175" fmla="*/ 730666 h 6858000"/>
              <a:gd name="connsiteX1176" fmla="*/ 4991311 w 6569477"/>
              <a:gd name="connsiteY1176" fmla="*/ 1000607 h 6858000"/>
              <a:gd name="connsiteX1177" fmla="*/ 4991312 w 6569477"/>
              <a:gd name="connsiteY1177" fmla="*/ 1009043 h 6858000"/>
              <a:gd name="connsiteX1178" fmla="*/ 4999746 w 6569477"/>
              <a:gd name="connsiteY1178" fmla="*/ 1017476 h 6858000"/>
              <a:gd name="connsiteX1179" fmla="*/ 5033490 w 6569477"/>
              <a:gd name="connsiteY1179" fmla="*/ 1068093 h 6858000"/>
              <a:gd name="connsiteX1180" fmla="*/ 5041925 w 6569477"/>
              <a:gd name="connsiteY1180" fmla="*/ 1093401 h 6858000"/>
              <a:gd name="connsiteX1181" fmla="*/ 5050362 w 6569477"/>
              <a:gd name="connsiteY1181" fmla="*/ 1101835 h 6858000"/>
              <a:gd name="connsiteX1182" fmla="*/ 5092540 w 6569477"/>
              <a:gd name="connsiteY1182" fmla="*/ 1160885 h 6858000"/>
              <a:gd name="connsiteX1183" fmla="*/ 5100975 w 6569477"/>
              <a:gd name="connsiteY1183" fmla="*/ 1169321 h 6858000"/>
              <a:gd name="connsiteX1184" fmla="*/ 5100976 w 6569477"/>
              <a:gd name="connsiteY1184" fmla="*/ 1194627 h 6858000"/>
              <a:gd name="connsiteX1185" fmla="*/ 5143155 w 6569477"/>
              <a:gd name="connsiteY1185" fmla="*/ 1253676 h 6858000"/>
              <a:gd name="connsiteX1186" fmla="*/ 5151590 w 6569477"/>
              <a:gd name="connsiteY1186" fmla="*/ 1262112 h 6858000"/>
              <a:gd name="connsiteX1187" fmla="*/ 5151590 w 6569477"/>
              <a:gd name="connsiteY1187" fmla="*/ 1270548 h 6858000"/>
              <a:gd name="connsiteX1188" fmla="*/ 5261254 w 6569477"/>
              <a:gd name="connsiteY1188" fmla="*/ 1506748 h 6858000"/>
              <a:gd name="connsiteX1189" fmla="*/ 5278126 w 6569477"/>
              <a:gd name="connsiteY1189" fmla="*/ 1532055 h 6858000"/>
              <a:gd name="connsiteX1190" fmla="*/ 5278128 w 6569477"/>
              <a:gd name="connsiteY1190" fmla="*/ 1557362 h 6858000"/>
              <a:gd name="connsiteX1191" fmla="*/ 5294998 w 6569477"/>
              <a:gd name="connsiteY1191" fmla="*/ 1557362 h 6858000"/>
              <a:gd name="connsiteX1192" fmla="*/ 5303433 w 6569477"/>
              <a:gd name="connsiteY1192" fmla="*/ 1574233 h 6858000"/>
              <a:gd name="connsiteX1193" fmla="*/ 5345614 w 6569477"/>
              <a:gd name="connsiteY1193" fmla="*/ 1692332 h 6858000"/>
              <a:gd name="connsiteX1194" fmla="*/ 5345612 w 6569477"/>
              <a:gd name="connsiteY1194" fmla="*/ 1700767 h 6858000"/>
              <a:gd name="connsiteX1195" fmla="*/ 5345612 w 6569477"/>
              <a:gd name="connsiteY1195" fmla="*/ 1717637 h 6858000"/>
              <a:gd name="connsiteX1196" fmla="*/ 5354048 w 6569477"/>
              <a:gd name="connsiteY1196" fmla="*/ 1717639 h 6858000"/>
              <a:gd name="connsiteX1197" fmla="*/ 5413098 w 6569477"/>
              <a:gd name="connsiteY1197" fmla="*/ 1844173 h 6858000"/>
              <a:gd name="connsiteX1198" fmla="*/ 5480584 w 6569477"/>
              <a:gd name="connsiteY1198" fmla="*/ 2012887 h 6858000"/>
              <a:gd name="connsiteX1199" fmla="*/ 5514328 w 6569477"/>
              <a:gd name="connsiteY1199" fmla="*/ 2105680 h 6858000"/>
              <a:gd name="connsiteX1200" fmla="*/ 5514328 w 6569477"/>
              <a:gd name="connsiteY1200" fmla="*/ 2114117 h 6858000"/>
              <a:gd name="connsiteX1201" fmla="*/ 5514327 w 6569477"/>
              <a:gd name="connsiteY1201" fmla="*/ 2122551 h 6858000"/>
              <a:gd name="connsiteX1202" fmla="*/ 5514328 w 6569477"/>
              <a:gd name="connsiteY1202" fmla="*/ 2130987 h 6858000"/>
              <a:gd name="connsiteX1203" fmla="*/ 5522762 w 6569477"/>
              <a:gd name="connsiteY1203" fmla="*/ 2130987 h 6858000"/>
              <a:gd name="connsiteX1204" fmla="*/ 5539633 w 6569477"/>
              <a:gd name="connsiteY1204" fmla="*/ 2139424 h 6858000"/>
              <a:gd name="connsiteX1205" fmla="*/ 5556503 w 6569477"/>
              <a:gd name="connsiteY1205" fmla="*/ 2198472 h 6858000"/>
              <a:gd name="connsiteX1206" fmla="*/ 5573376 w 6569477"/>
              <a:gd name="connsiteY1206" fmla="*/ 2215344 h 6858000"/>
              <a:gd name="connsiteX1207" fmla="*/ 5531197 w 6569477"/>
              <a:gd name="connsiteY1207" fmla="*/ 2114117 h 6858000"/>
              <a:gd name="connsiteX1208" fmla="*/ 5531198 w 6569477"/>
              <a:gd name="connsiteY1208" fmla="*/ 2097245 h 6858000"/>
              <a:gd name="connsiteX1209" fmla="*/ 5522762 w 6569477"/>
              <a:gd name="connsiteY1209" fmla="*/ 2088808 h 6858000"/>
              <a:gd name="connsiteX1210" fmla="*/ 5480583 w 6569477"/>
              <a:gd name="connsiteY1210" fmla="*/ 1953837 h 6858000"/>
              <a:gd name="connsiteX1211" fmla="*/ 5362484 w 6569477"/>
              <a:gd name="connsiteY1211" fmla="*/ 1641717 h 6858000"/>
              <a:gd name="connsiteX1212" fmla="*/ 5235948 w 6569477"/>
              <a:gd name="connsiteY1212" fmla="*/ 1346470 h 6858000"/>
              <a:gd name="connsiteX1213" fmla="*/ 5210643 w 6569477"/>
              <a:gd name="connsiteY1213" fmla="*/ 1304291 h 6858000"/>
              <a:gd name="connsiteX1214" fmla="*/ 5109412 w 6569477"/>
              <a:gd name="connsiteY1214" fmla="*/ 1093400 h 6858000"/>
              <a:gd name="connsiteX1215" fmla="*/ 5067234 w 6569477"/>
              <a:gd name="connsiteY1215" fmla="*/ 1025914 h 6858000"/>
              <a:gd name="connsiteX1216" fmla="*/ 4974440 w 6569477"/>
              <a:gd name="connsiteY1216" fmla="*/ 882507 h 6858000"/>
              <a:gd name="connsiteX1217" fmla="*/ 4814162 w 6569477"/>
              <a:gd name="connsiteY1217" fmla="*/ 637873 h 6858000"/>
              <a:gd name="connsiteX1218" fmla="*/ 4771983 w 6569477"/>
              <a:gd name="connsiteY1218" fmla="*/ 595695 h 6858000"/>
              <a:gd name="connsiteX1219" fmla="*/ 4729804 w 6569477"/>
              <a:gd name="connsiteY1219" fmla="*/ 519774 h 6858000"/>
              <a:gd name="connsiteX1220" fmla="*/ 4712933 w 6569477"/>
              <a:gd name="connsiteY1220" fmla="*/ 511338 h 6858000"/>
              <a:gd name="connsiteX1221" fmla="*/ 4628576 w 6569477"/>
              <a:gd name="connsiteY1221" fmla="*/ 393238 h 6858000"/>
              <a:gd name="connsiteX1222" fmla="*/ 4594833 w 6569477"/>
              <a:gd name="connsiteY1222" fmla="*/ 376368 h 6858000"/>
              <a:gd name="connsiteX1223" fmla="*/ 4577960 w 6569477"/>
              <a:gd name="connsiteY1223" fmla="*/ 342623 h 6858000"/>
              <a:gd name="connsiteX1224" fmla="*/ 4324890 w 6569477"/>
              <a:gd name="connsiteY1224" fmla="*/ 72683 h 6858000"/>
              <a:gd name="connsiteX1225" fmla="*/ 4273221 w 6569477"/>
              <a:gd name="connsiteY1225" fmla="*/ 16797 h 6858000"/>
              <a:gd name="connsiteX1226" fmla="*/ 4257562 w 6569477"/>
              <a:gd name="connsiteY1226" fmla="*/ 0 h 6858000"/>
              <a:gd name="connsiteX1227" fmla="*/ 4303981 w 6569477"/>
              <a:gd name="connsiteY1227" fmla="*/ 0 h 6858000"/>
              <a:gd name="connsiteX1228" fmla="*/ 4319485 w 6569477"/>
              <a:gd name="connsiteY1228" fmla="*/ 14161 h 6858000"/>
              <a:gd name="connsiteX1229" fmla="*/ 4341761 w 6569477"/>
              <a:gd name="connsiteY1229" fmla="*/ 38940 h 6858000"/>
              <a:gd name="connsiteX1230" fmla="*/ 4333323 w 6569477"/>
              <a:gd name="connsiteY1230" fmla="*/ 38940 h 6858000"/>
              <a:gd name="connsiteX1231" fmla="*/ 4341761 w 6569477"/>
              <a:gd name="connsiteY1231" fmla="*/ 47377 h 6858000"/>
              <a:gd name="connsiteX1232" fmla="*/ 4316454 w 6569477"/>
              <a:gd name="connsiteY1232" fmla="*/ 38940 h 6858000"/>
              <a:gd name="connsiteX1233" fmla="*/ 4358630 w 6569477"/>
              <a:gd name="connsiteY1233" fmla="*/ 64247 h 6858000"/>
              <a:gd name="connsiteX1234" fmla="*/ 4367067 w 6569477"/>
              <a:gd name="connsiteY1234" fmla="*/ 81121 h 6858000"/>
              <a:gd name="connsiteX1235" fmla="*/ 4375504 w 6569477"/>
              <a:gd name="connsiteY1235" fmla="*/ 89556 h 6858000"/>
              <a:gd name="connsiteX1236" fmla="*/ 4383940 w 6569477"/>
              <a:gd name="connsiteY1236" fmla="*/ 81120 h 6858000"/>
              <a:gd name="connsiteX1237" fmla="*/ 4434553 w 6569477"/>
              <a:gd name="connsiteY1237" fmla="*/ 131733 h 6858000"/>
              <a:gd name="connsiteX1238" fmla="*/ 4442990 w 6569477"/>
              <a:gd name="connsiteY1238" fmla="*/ 140168 h 6858000"/>
              <a:gd name="connsiteX1239" fmla="*/ 4451426 w 6569477"/>
              <a:gd name="connsiteY1239" fmla="*/ 140168 h 6858000"/>
              <a:gd name="connsiteX1240" fmla="*/ 4611704 w 6569477"/>
              <a:gd name="connsiteY1240" fmla="*/ 300447 h 6858000"/>
              <a:gd name="connsiteX1241" fmla="*/ 4620140 w 6569477"/>
              <a:gd name="connsiteY1241" fmla="*/ 325755 h 6858000"/>
              <a:gd name="connsiteX1242" fmla="*/ 4637011 w 6569477"/>
              <a:gd name="connsiteY1242" fmla="*/ 334188 h 6858000"/>
              <a:gd name="connsiteX1243" fmla="*/ 4755110 w 6569477"/>
              <a:gd name="connsiteY1243" fmla="*/ 477595 h 6858000"/>
              <a:gd name="connsiteX1244" fmla="*/ 4873211 w 6569477"/>
              <a:gd name="connsiteY1244" fmla="*/ 629438 h 6858000"/>
              <a:gd name="connsiteX1245" fmla="*/ 4881646 w 6569477"/>
              <a:gd name="connsiteY1245" fmla="*/ 654745 h 6858000"/>
              <a:gd name="connsiteX1246" fmla="*/ 4890082 w 6569477"/>
              <a:gd name="connsiteY1246" fmla="*/ 646309 h 6858000"/>
              <a:gd name="connsiteX1247" fmla="*/ 4949133 w 6569477"/>
              <a:gd name="connsiteY1247" fmla="*/ 739102 h 6858000"/>
              <a:gd name="connsiteX1248" fmla="*/ 4991312 w 6569477"/>
              <a:gd name="connsiteY1248" fmla="*/ 798150 h 6858000"/>
              <a:gd name="connsiteX1249" fmla="*/ 5058797 w 6569477"/>
              <a:gd name="connsiteY1249" fmla="*/ 899380 h 6858000"/>
              <a:gd name="connsiteX1250" fmla="*/ 5143155 w 6569477"/>
              <a:gd name="connsiteY1250" fmla="*/ 1034350 h 6858000"/>
              <a:gd name="connsiteX1251" fmla="*/ 5143154 w 6569477"/>
              <a:gd name="connsiteY1251" fmla="*/ 1051222 h 6858000"/>
              <a:gd name="connsiteX1252" fmla="*/ 5227512 w 6569477"/>
              <a:gd name="connsiteY1252" fmla="*/ 1203064 h 6858000"/>
              <a:gd name="connsiteX1253" fmla="*/ 5244383 w 6569477"/>
              <a:gd name="connsiteY1253" fmla="*/ 1219935 h 6858000"/>
              <a:gd name="connsiteX1254" fmla="*/ 5278126 w 6569477"/>
              <a:gd name="connsiteY1254" fmla="*/ 1295855 h 6858000"/>
              <a:gd name="connsiteX1255" fmla="*/ 5311869 w 6569477"/>
              <a:gd name="connsiteY1255" fmla="*/ 1338033 h 6858000"/>
              <a:gd name="connsiteX1256" fmla="*/ 5379354 w 6569477"/>
              <a:gd name="connsiteY1256" fmla="*/ 1523620 h 6858000"/>
              <a:gd name="connsiteX1257" fmla="*/ 5480584 w 6569477"/>
              <a:gd name="connsiteY1257" fmla="*/ 1768253 h 6858000"/>
              <a:gd name="connsiteX1258" fmla="*/ 5514328 w 6569477"/>
              <a:gd name="connsiteY1258" fmla="*/ 1835738 h 6858000"/>
              <a:gd name="connsiteX1259" fmla="*/ 5505890 w 6569477"/>
              <a:gd name="connsiteY1259" fmla="*/ 1827301 h 6858000"/>
              <a:gd name="connsiteX1260" fmla="*/ 5539634 w 6569477"/>
              <a:gd name="connsiteY1260" fmla="*/ 1920094 h 6858000"/>
              <a:gd name="connsiteX1261" fmla="*/ 5539634 w 6569477"/>
              <a:gd name="connsiteY1261" fmla="*/ 1945401 h 6858000"/>
              <a:gd name="connsiteX1262" fmla="*/ 5623989 w 6569477"/>
              <a:gd name="connsiteY1262" fmla="*/ 2215343 h 6858000"/>
              <a:gd name="connsiteX1263" fmla="*/ 5615554 w 6569477"/>
              <a:gd name="connsiteY1263" fmla="*/ 2215342 h 6858000"/>
              <a:gd name="connsiteX1264" fmla="*/ 5615555 w 6569477"/>
              <a:gd name="connsiteY1264" fmla="*/ 2223779 h 6858000"/>
              <a:gd name="connsiteX1265" fmla="*/ 5623988 w 6569477"/>
              <a:gd name="connsiteY1265" fmla="*/ 2232216 h 6858000"/>
              <a:gd name="connsiteX1266" fmla="*/ 5649298 w 6569477"/>
              <a:gd name="connsiteY1266" fmla="*/ 2325008 h 6858000"/>
              <a:gd name="connsiteX1267" fmla="*/ 5649298 w 6569477"/>
              <a:gd name="connsiteY1267" fmla="*/ 2333444 h 6858000"/>
              <a:gd name="connsiteX1268" fmla="*/ 5649298 w 6569477"/>
              <a:gd name="connsiteY1268" fmla="*/ 2341878 h 6858000"/>
              <a:gd name="connsiteX1269" fmla="*/ 5657733 w 6569477"/>
              <a:gd name="connsiteY1269" fmla="*/ 2341879 h 6858000"/>
              <a:gd name="connsiteX1270" fmla="*/ 5657733 w 6569477"/>
              <a:gd name="connsiteY1270" fmla="*/ 2333443 h 6858000"/>
              <a:gd name="connsiteX1271" fmla="*/ 5666169 w 6569477"/>
              <a:gd name="connsiteY1271" fmla="*/ 2367185 h 6858000"/>
              <a:gd name="connsiteX1272" fmla="*/ 5683040 w 6569477"/>
              <a:gd name="connsiteY1272" fmla="*/ 2367183 h 6858000"/>
              <a:gd name="connsiteX1273" fmla="*/ 5674605 w 6569477"/>
              <a:gd name="connsiteY1273" fmla="*/ 2341878 h 6858000"/>
              <a:gd name="connsiteX1274" fmla="*/ 5683040 w 6569477"/>
              <a:gd name="connsiteY1274" fmla="*/ 2341879 h 6858000"/>
              <a:gd name="connsiteX1275" fmla="*/ 5649298 w 6569477"/>
              <a:gd name="connsiteY1275" fmla="*/ 2274394 h 6858000"/>
              <a:gd name="connsiteX1276" fmla="*/ 5649298 w 6569477"/>
              <a:gd name="connsiteY1276" fmla="*/ 2257524 h 6858000"/>
              <a:gd name="connsiteX1277" fmla="*/ 5649298 w 6569477"/>
              <a:gd name="connsiteY1277" fmla="*/ 2249087 h 6858000"/>
              <a:gd name="connsiteX1278" fmla="*/ 5649297 w 6569477"/>
              <a:gd name="connsiteY1278" fmla="*/ 2240649 h 6858000"/>
              <a:gd name="connsiteX1279" fmla="*/ 5640860 w 6569477"/>
              <a:gd name="connsiteY1279" fmla="*/ 2240651 h 6858000"/>
              <a:gd name="connsiteX1280" fmla="*/ 5640862 w 6569477"/>
              <a:gd name="connsiteY1280" fmla="*/ 2223779 h 6858000"/>
              <a:gd name="connsiteX1281" fmla="*/ 5657734 w 6569477"/>
              <a:gd name="connsiteY1281" fmla="*/ 2232217 h 6858000"/>
              <a:gd name="connsiteX1282" fmla="*/ 5649298 w 6569477"/>
              <a:gd name="connsiteY1282" fmla="*/ 2206908 h 6858000"/>
              <a:gd name="connsiteX1283" fmla="*/ 5649298 w 6569477"/>
              <a:gd name="connsiteY1283" fmla="*/ 2198470 h 6858000"/>
              <a:gd name="connsiteX1284" fmla="*/ 5649297 w 6569477"/>
              <a:gd name="connsiteY1284" fmla="*/ 2190035 h 6858000"/>
              <a:gd name="connsiteX1285" fmla="*/ 5649298 w 6569477"/>
              <a:gd name="connsiteY1285" fmla="*/ 2181601 h 6858000"/>
              <a:gd name="connsiteX1286" fmla="*/ 5640859 w 6569477"/>
              <a:gd name="connsiteY1286" fmla="*/ 2147859 h 6858000"/>
              <a:gd name="connsiteX1287" fmla="*/ 5632426 w 6569477"/>
              <a:gd name="connsiteY1287" fmla="*/ 2139423 h 6858000"/>
              <a:gd name="connsiteX1288" fmla="*/ 5607121 w 6569477"/>
              <a:gd name="connsiteY1288" fmla="*/ 2055067 h 6858000"/>
              <a:gd name="connsiteX1289" fmla="*/ 5607118 w 6569477"/>
              <a:gd name="connsiteY1289" fmla="*/ 2038194 h 6858000"/>
              <a:gd name="connsiteX1290" fmla="*/ 5598684 w 6569477"/>
              <a:gd name="connsiteY1290" fmla="*/ 2038192 h 6858000"/>
              <a:gd name="connsiteX1291" fmla="*/ 5573377 w 6569477"/>
              <a:gd name="connsiteY1291" fmla="*/ 1962273 h 6858000"/>
              <a:gd name="connsiteX1292" fmla="*/ 5564941 w 6569477"/>
              <a:gd name="connsiteY1292" fmla="*/ 1962273 h 6858000"/>
              <a:gd name="connsiteX1293" fmla="*/ 5564941 w 6569477"/>
              <a:gd name="connsiteY1293" fmla="*/ 1953837 h 6858000"/>
              <a:gd name="connsiteX1294" fmla="*/ 5573376 w 6569477"/>
              <a:gd name="connsiteY1294" fmla="*/ 1953838 h 6858000"/>
              <a:gd name="connsiteX1295" fmla="*/ 5573377 w 6569477"/>
              <a:gd name="connsiteY1295" fmla="*/ 1945401 h 6858000"/>
              <a:gd name="connsiteX1296" fmla="*/ 5564941 w 6569477"/>
              <a:gd name="connsiteY1296" fmla="*/ 1936967 h 6858000"/>
              <a:gd name="connsiteX1297" fmla="*/ 5489019 w 6569477"/>
              <a:gd name="connsiteY1297" fmla="*/ 1700769 h 6858000"/>
              <a:gd name="connsiteX1298" fmla="*/ 5472148 w 6569477"/>
              <a:gd name="connsiteY1298" fmla="*/ 1633282 h 6858000"/>
              <a:gd name="connsiteX1299" fmla="*/ 5446841 w 6569477"/>
              <a:gd name="connsiteY1299" fmla="*/ 1591103 h 6858000"/>
              <a:gd name="connsiteX1300" fmla="*/ 5413098 w 6569477"/>
              <a:gd name="connsiteY1300" fmla="*/ 1523619 h 6858000"/>
              <a:gd name="connsiteX1301" fmla="*/ 5176900 w 6569477"/>
              <a:gd name="connsiteY1301" fmla="*/ 1034350 h 6858000"/>
              <a:gd name="connsiteX1302" fmla="*/ 5185333 w 6569477"/>
              <a:gd name="connsiteY1302" fmla="*/ 1017477 h 6858000"/>
              <a:gd name="connsiteX1303" fmla="*/ 5185335 w 6569477"/>
              <a:gd name="connsiteY1303" fmla="*/ 1025912 h 6858000"/>
              <a:gd name="connsiteX1304" fmla="*/ 5193769 w 6569477"/>
              <a:gd name="connsiteY1304" fmla="*/ 1025914 h 6858000"/>
              <a:gd name="connsiteX1305" fmla="*/ 5185332 w 6569477"/>
              <a:gd name="connsiteY1305" fmla="*/ 1009044 h 6858000"/>
              <a:gd name="connsiteX1306" fmla="*/ 5185332 w 6569477"/>
              <a:gd name="connsiteY1306" fmla="*/ 983737 h 6858000"/>
              <a:gd name="connsiteX1307" fmla="*/ 5151590 w 6569477"/>
              <a:gd name="connsiteY1307" fmla="*/ 958427 h 6858000"/>
              <a:gd name="connsiteX1308" fmla="*/ 5151589 w 6569477"/>
              <a:gd name="connsiteY1308" fmla="*/ 949995 h 6858000"/>
              <a:gd name="connsiteX1309" fmla="*/ 5143155 w 6569477"/>
              <a:gd name="connsiteY1309" fmla="*/ 941557 h 6858000"/>
              <a:gd name="connsiteX1310" fmla="*/ 5143155 w 6569477"/>
              <a:gd name="connsiteY1310" fmla="*/ 933122 h 6858000"/>
              <a:gd name="connsiteX1311" fmla="*/ 5134718 w 6569477"/>
              <a:gd name="connsiteY1311" fmla="*/ 933123 h 6858000"/>
              <a:gd name="connsiteX1312" fmla="*/ 5126283 w 6569477"/>
              <a:gd name="connsiteY1312" fmla="*/ 916250 h 6858000"/>
              <a:gd name="connsiteX1313" fmla="*/ 5109414 w 6569477"/>
              <a:gd name="connsiteY1313" fmla="*/ 874074 h 6858000"/>
              <a:gd name="connsiteX1314" fmla="*/ 5117847 w 6569477"/>
              <a:gd name="connsiteY1314" fmla="*/ 874073 h 6858000"/>
              <a:gd name="connsiteX1315" fmla="*/ 5126285 w 6569477"/>
              <a:gd name="connsiteY1315" fmla="*/ 882507 h 6858000"/>
              <a:gd name="connsiteX1316" fmla="*/ 5117848 w 6569477"/>
              <a:gd name="connsiteY1316" fmla="*/ 865636 h 6858000"/>
              <a:gd name="connsiteX1317" fmla="*/ 5109412 w 6569477"/>
              <a:gd name="connsiteY1317" fmla="*/ 857200 h 6858000"/>
              <a:gd name="connsiteX1318" fmla="*/ 5084104 w 6569477"/>
              <a:gd name="connsiteY1318" fmla="*/ 823460 h 6858000"/>
              <a:gd name="connsiteX1319" fmla="*/ 5084105 w 6569477"/>
              <a:gd name="connsiteY1319" fmla="*/ 815023 h 6858000"/>
              <a:gd name="connsiteX1320" fmla="*/ 5075670 w 6569477"/>
              <a:gd name="connsiteY1320" fmla="*/ 798150 h 6858000"/>
              <a:gd name="connsiteX1321" fmla="*/ 5067233 w 6569477"/>
              <a:gd name="connsiteY1321" fmla="*/ 798150 h 6858000"/>
              <a:gd name="connsiteX1322" fmla="*/ 5067232 w 6569477"/>
              <a:gd name="connsiteY1322" fmla="*/ 806587 h 6858000"/>
              <a:gd name="connsiteX1323" fmla="*/ 5058798 w 6569477"/>
              <a:gd name="connsiteY1323" fmla="*/ 781279 h 6858000"/>
              <a:gd name="connsiteX1324" fmla="*/ 5041925 w 6569477"/>
              <a:gd name="connsiteY1324" fmla="*/ 781279 h 6858000"/>
              <a:gd name="connsiteX1325" fmla="*/ 5041926 w 6569477"/>
              <a:gd name="connsiteY1325" fmla="*/ 764409 h 6858000"/>
              <a:gd name="connsiteX1326" fmla="*/ 5033489 w 6569477"/>
              <a:gd name="connsiteY1326" fmla="*/ 755973 h 6858000"/>
              <a:gd name="connsiteX1327" fmla="*/ 5033489 w 6569477"/>
              <a:gd name="connsiteY1327" fmla="*/ 747536 h 6858000"/>
              <a:gd name="connsiteX1328" fmla="*/ 5025055 w 6569477"/>
              <a:gd name="connsiteY1328" fmla="*/ 747536 h 6858000"/>
              <a:gd name="connsiteX1329" fmla="*/ 5025055 w 6569477"/>
              <a:gd name="connsiteY1329" fmla="*/ 755973 h 6858000"/>
              <a:gd name="connsiteX1330" fmla="*/ 4957570 w 6569477"/>
              <a:gd name="connsiteY1330" fmla="*/ 663182 h 6858000"/>
              <a:gd name="connsiteX1331" fmla="*/ 4949133 w 6569477"/>
              <a:gd name="connsiteY1331" fmla="*/ 646309 h 6858000"/>
              <a:gd name="connsiteX1332" fmla="*/ 4932264 w 6569477"/>
              <a:gd name="connsiteY1332" fmla="*/ 637873 h 6858000"/>
              <a:gd name="connsiteX1333" fmla="*/ 4932262 w 6569477"/>
              <a:gd name="connsiteY1333" fmla="*/ 644497 h 6858000"/>
              <a:gd name="connsiteX1334" fmla="*/ 4910645 w 6569477"/>
              <a:gd name="connsiteY1334" fmla="*/ 618234 h 6858000"/>
              <a:gd name="connsiteX1335" fmla="*/ 4839468 w 6569477"/>
              <a:gd name="connsiteY1335" fmla="*/ 519774 h 6858000"/>
              <a:gd name="connsiteX1336" fmla="*/ 4797289 w 6569477"/>
              <a:gd name="connsiteY1336" fmla="*/ 494466 h 6858000"/>
              <a:gd name="connsiteX1337" fmla="*/ 4797289 w 6569477"/>
              <a:gd name="connsiteY1337" fmla="*/ 469162 h 6858000"/>
              <a:gd name="connsiteX1338" fmla="*/ 4755109 w 6569477"/>
              <a:gd name="connsiteY1338" fmla="*/ 418545 h 6858000"/>
              <a:gd name="connsiteX1339" fmla="*/ 4721368 w 6569477"/>
              <a:gd name="connsiteY1339" fmla="*/ 401675 h 6858000"/>
              <a:gd name="connsiteX1340" fmla="*/ 4696060 w 6569477"/>
              <a:gd name="connsiteY1340" fmla="*/ 359495 h 6858000"/>
              <a:gd name="connsiteX1341" fmla="*/ 4704496 w 6569477"/>
              <a:gd name="connsiteY1341" fmla="*/ 359495 h 6858000"/>
              <a:gd name="connsiteX1342" fmla="*/ 4721369 w 6569477"/>
              <a:gd name="connsiteY1342" fmla="*/ 367932 h 6858000"/>
              <a:gd name="connsiteX1343" fmla="*/ 4712933 w 6569477"/>
              <a:gd name="connsiteY1343" fmla="*/ 351061 h 6858000"/>
              <a:gd name="connsiteX1344" fmla="*/ 4704497 w 6569477"/>
              <a:gd name="connsiteY1344" fmla="*/ 342625 h 6858000"/>
              <a:gd name="connsiteX1345" fmla="*/ 4729804 w 6569477"/>
              <a:gd name="connsiteY1345" fmla="*/ 359495 h 6858000"/>
              <a:gd name="connsiteX1346" fmla="*/ 4696060 w 6569477"/>
              <a:gd name="connsiteY1346" fmla="*/ 325754 h 6858000"/>
              <a:gd name="connsiteX1347" fmla="*/ 4687626 w 6569477"/>
              <a:gd name="connsiteY1347" fmla="*/ 317318 h 6858000"/>
              <a:gd name="connsiteX1348" fmla="*/ 4662317 w 6569477"/>
              <a:gd name="connsiteY1348" fmla="*/ 300447 h 6858000"/>
              <a:gd name="connsiteX1349" fmla="*/ 4670754 w 6569477"/>
              <a:gd name="connsiteY1349" fmla="*/ 317320 h 6858000"/>
              <a:gd name="connsiteX1350" fmla="*/ 4670753 w 6569477"/>
              <a:gd name="connsiteY1350" fmla="*/ 325755 h 6858000"/>
              <a:gd name="connsiteX1351" fmla="*/ 4645447 w 6569477"/>
              <a:gd name="connsiteY1351" fmla="*/ 300448 h 6858000"/>
              <a:gd name="connsiteX1352" fmla="*/ 4653882 w 6569477"/>
              <a:gd name="connsiteY1352" fmla="*/ 334188 h 6858000"/>
              <a:gd name="connsiteX1353" fmla="*/ 4620140 w 6569477"/>
              <a:gd name="connsiteY1353" fmla="*/ 275141 h 6858000"/>
              <a:gd name="connsiteX1354" fmla="*/ 4628578 w 6569477"/>
              <a:gd name="connsiteY1354" fmla="*/ 283575 h 6858000"/>
              <a:gd name="connsiteX1355" fmla="*/ 4645446 w 6569477"/>
              <a:gd name="connsiteY1355" fmla="*/ 283575 h 6858000"/>
              <a:gd name="connsiteX1356" fmla="*/ 4628576 w 6569477"/>
              <a:gd name="connsiteY1356" fmla="*/ 266706 h 6858000"/>
              <a:gd name="connsiteX1357" fmla="*/ 4628576 w 6569477"/>
              <a:gd name="connsiteY1357" fmla="*/ 258268 h 6858000"/>
              <a:gd name="connsiteX1358" fmla="*/ 4628578 w 6569477"/>
              <a:gd name="connsiteY1358" fmla="*/ 249831 h 6858000"/>
              <a:gd name="connsiteX1359" fmla="*/ 4637010 w 6569477"/>
              <a:gd name="connsiteY1359" fmla="*/ 249831 h 6858000"/>
              <a:gd name="connsiteX1360" fmla="*/ 4620140 w 6569477"/>
              <a:gd name="connsiteY1360" fmla="*/ 241397 h 6858000"/>
              <a:gd name="connsiteX1361" fmla="*/ 4611704 w 6569477"/>
              <a:gd name="connsiteY1361" fmla="*/ 232961 h 6858000"/>
              <a:gd name="connsiteX1362" fmla="*/ 4594835 w 6569477"/>
              <a:gd name="connsiteY1362" fmla="*/ 199218 h 6858000"/>
              <a:gd name="connsiteX1363" fmla="*/ 4603267 w 6569477"/>
              <a:gd name="connsiteY1363" fmla="*/ 207654 h 6858000"/>
              <a:gd name="connsiteX1364" fmla="*/ 4620140 w 6569477"/>
              <a:gd name="connsiteY1364" fmla="*/ 216090 h 6858000"/>
              <a:gd name="connsiteX1365" fmla="*/ 4603267 w 6569477"/>
              <a:gd name="connsiteY1365" fmla="*/ 190783 h 6858000"/>
              <a:gd name="connsiteX1366" fmla="*/ 4594832 w 6569477"/>
              <a:gd name="connsiteY1366" fmla="*/ 182347 h 6858000"/>
              <a:gd name="connsiteX1367" fmla="*/ 4586397 w 6569477"/>
              <a:gd name="connsiteY1367" fmla="*/ 173911 h 6858000"/>
              <a:gd name="connsiteX1368" fmla="*/ 4569526 w 6569477"/>
              <a:gd name="connsiteY1368" fmla="*/ 173913 h 6858000"/>
              <a:gd name="connsiteX1369" fmla="*/ 4577960 w 6569477"/>
              <a:gd name="connsiteY1369" fmla="*/ 190784 h 6858000"/>
              <a:gd name="connsiteX1370" fmla="*/ 4586396 w 6569477"/>
              <a:gd name="connsiteY1370" fmla="*/ 190783 h 6858000"/>
              <a:gd name="connsiteX1371" fmla="*/ 4594835 w 6569477"/>
              <a:gd name="connsiteY1371" fmla="*/ 199218 h 6858000"/>
              <a:gd name="connsiteX1372" fmla="*/ 4603267 w 6569477"/>
              <a:gd name="connsiteY1372" fmla="*/ 232961 h 6858000"/>
              <a:gd name="connsiteX1373" fmla="*/ 4594833 w 6569477"/>
              <a:gd name="connsiteY1373" fmla="*/ 224525 h 6858000"/>
              <a:gd name="connsiteX1374" fmla="*/ 4594835 w 6569477"/>
              <a:gd name="connsiteY1374" fmla="*/ 232961 h 6858000"/>
              <a:gd name="connsiteX1375" fmla="*/ 4594833 w 6569477"/>
              <a:gd name="connsiteY1375" fmla="*/ 241395 h 6858000"/>
              <a:gd name="connsiteX1376" fmla="*/ 4603266 w 6569477"/>
              <a:gd name="connsiteY1376" fmla="*/ 241396 h 6858000"/>
              <a:gd name="connsiteX1377" fmla="*/ 4611704 w 6569477"/>
              <a:gd name="connsiteY1377" fmla="*/ 249833 h 6858000"/>
              <a:gd name="connsiteX1378" fmla="*/ 4603267 w 6569477"/>
              <a:gd name="connsiteY1378" fmla="*/ 249831 h 6858000"/>
              <a:gd name="connsiteX1379" fmla="*/ 4611704 w 6569477"/>
              <a:gd name="connsiteY1379" fmla="*/ 258268 h 6858000"/>
              <a:gd name="connsiteX1380" fmla="*/ 4611703 w 6569477"/>
              <a:gd name="connsiteY1380" fmla="*/ 266704 h 6858000"/>
              <a:gd name="connsiteX1381" fmla="*/ 4552654 w 6569477"/>
              <a:gd name="connsiteY1381" fmla="*/ 207654 h 6858000"/>
              <a:gd name="connsiteX1382" fmla="*/ 4561090 w 6569477"/>
              <a:gd name="connsiteY1382" fmla="*/ 207654 h 6858000"/>
              <a:gd name="connsiteX1383" fmla="*/ 4569525 w 6569477"/>
              <a:gd name="connsiteY1383" fmla="*/ 207654 h 6858000"/>
              <a:gd name="connsiteX1384" fmla="*/ 4561090 w 6569477"/>
              <a:gd name="connsiteY1384" fmla="*/ 199218 h 6858000"/>
              <a:gd name="connsiteX1385" fmla="*/ 4552654 w 6569477"/>
              <a:gd name="connsiteY1385" fmla="*/ 199219 h 6858000"/>
              <a:gd name="connsiteX1386" fmla="*/ 4544217 w 6569477"/>
              <a:gd name="connsiteY1386" fmla="*/ 190783 h 6858000"/>
              <a:gd name="connsiteX1387" fmla="*/ 4527347 w 6569477"/>
              <a:gd name="connsiteY1387" fmla="*/ 157040 h 6858000"/>
              <a:gd name="connsiteX1388" fmla="*/ 4527346 w 6569477"/>
              <a:gd name="connsiteY1388" fmla="*/ 148604 h 6858000"/>
              <a:gd name="connsiteX1389" fmla="*/ 4518910 w 6569477"/>
              <a:gd name="connsiteY1389" fmla="*/ 140168 h 6858000"/>
              <a:gd name="connsiteX1390" fmla="*/ 4510474 w 6569477"/>
              <a:gd name="connsiteY1390" fmla="*/ 140168 h 6858000"/>
              <a:gd name="connsiteX1391" fmla="*/ 4510474 w 6569477"/>
              <a:gd name="connsiteY1391" fmla="*/ 148604 h 6858000"/>
              <a:gd name="connsiteX1392" fmla="*/ 4476732 w 6569477"/>
              <a:gd name="connsiteY1392" fmla="*/ 106427 h 6858000"/>
              <a:gd name="connsiteX1393" fmla="*/ 4468297 w 6569477"/>
              <a:gd name="connsiteY1393" fmla="*/ 97990 h 6858000"/>
              <a:gd name="connsiteX1394" fmla="*/ 4459861 w 6569477"/>
              <a:gd name="connsiteY1394" fmla="*/ 97990 h 6858000"/>
              <a:gd name="connsiteX1395" fmla="*/ 4459861 w 6569477"/>
              <a:gd name="connsiteY1395" fmla="*/ 106428 h 6858000"/>
              <a:gd name="connsiteX1396" fmla="*/ 4426117 w 6569477"/>
              <a:gd name="connsiteY1396" fmla="*/ 89554 h 6858000"/>
              <a:gd name="connsiteX1397" fmla="*/ 4388156 w 6569477"/>
              <a:gd name="connsiteY1397" fmla="*/ 29450 h 6858000"/>
              <a:gd name="connsiteX1398" fmla="*/ 4360109 w 6569477"/>
              <a:gd name="connsiteY1398" fmla="*/ 0 h 6858000"/>
              <a:gd name="connsiteX1399" fmla="*/ 4638592 w 6569477"/>
              <a:gd name="connsiteY1399" fmla="*/ 0 h 6858000"/>
              <a:gd name="connsiteX1400" fmla="*/ 4699158 w 6569477"/>
              <a:gd name="connsiteY1400" fmla="*/ 62995 h 6858000"/>
              <a:gd name="connsiteX1401" fmla="*/ 5404662 w 6569477"/>
              <a:gd name="connsiteY1401" fmla="*/ 1051221 h 6858000"/>
              <a:gd name="connsiteX1402" fmla="*/ 5938418 w 6569477"/>
              <a:gd name="connsiteY1402" fmla="*/ 2935851 h 6858000"/>
              <a:gd name="connsiteX1403" fmla="*/ 5947253 w 6569477"/>
              <a:gd name="connsiteY1403" fmla="*/ 3112842 h 6858000"/>
              <a:gd name="connsiteX1404" fmla="*/ 5951125 w 6569477"/>
              <a:gd name="connsiteY1404" fmla="*/ 3133338 h 6858000"/>
              <a:gd name="connsiteX1405" fmla="*/ 5950868 w 6569477"/>
              <a:gd name="connsiteY1405" fmla="*/ 3126941 h 6858000"/>
              <a:gd name="connsiteX1406" fmla="*/ 5953938 w 6569477"/>
              <a:gd name="connsiteY1406" fmla="*/ 3123616 h 6858000"/>
              <a:gd name="connsiteX1407" fmla="*/ 5954453 w 6569477"/>
              <a:gd name="connsiteY1407" fmla="*/ 3136408 h 6858000"/>
              <a:gd name="connsiteX1408" fmla="*/ 5957779 w 6569477"/>
              <a:gd name="connsiteY1408" fmla="*/ 3139480 h 6858000"/>
              <a:gd name="connsiteX1409" fmla="*/ 5954710 w 6569477"/>
              <a:gd name="connsiteY1409" fmla="*/ 3142804 h 6858000"/>
              <a:gd name="connsiteX1410" fmla="*/ 5960116 w 6569477"/>
              <a:gd name="connsiteY1410" fmla="*/ 3277128 h 6858000"/>
              <a:gd name="connsiteX1411" fmla="*/ 5972174 w 6569477"/>
              <a:gd name="connsiteY1411" fmla="*/ 3417593 h 6858000"/>
              <a:gd name="connsiteX1412" fmla="*/ 5962709 w 6569477"/>
              <a:gd name="connsiteY1412" fmla="*/ 3421173 h 6858000"/>
              <a:gd name="connsiteX1413" fmla="*/ 5968094 w 6569477"/>
              <a:gd name="connsiteY1413" fmla="*/ 3475415 h 6858000"/>
              <a:gd name="connsiteX1414" fmla="*/ 5964787 w 6569477"/>
              <a:gd name="connsiteY1414" fmla="*/ 3552426 h 6858000"/>
              <a:gd name="connsiteX1415" fmla="*/ 5951498 w 6569477"/>
              <a:gd name="connsiteY1415" fmla="*/ 3620225 h 6858000"/>
              <a:gd name="connsiteX1416" fmla="*/ 5941518 w 6569477"/>
              <a:gd name="connsiteY1416" fmla="*/ 3611013 h 6858000"/>
              <a:gd name="connsiteX1417" fmla="*/ 5933358 w 6569477"/>
              <a:gd name="connsiteY1417" fmla="*/ 3726657 h 6858000"/>
              <a:gd name="connsiteX1418" fmla="*/ 5932401 w 6569477"/>
              <a:gd name="connsiteY1418" fmla="*/ 3750159 h 6858000"/>
              <a:gd name="connsiteX1419" fmla="*/ 5936112 w 6569477"/>
              <a:gd name="connsiteY1419" fmla="*/ 3742197 h 6858000"/>
              <a:gd name="connsiteX1420" fmla="*/ 5931041 w 6569477"/>
              <a:gd name="connsiteY1420" fmla="*/ 3783572 h 6858000"/>
              <a:gd name="connsiteX1421" fmla="*/ 5930942 w 6569477"/>
              <a:gd name="connsiteY1421" fmla="*/ 3786013 h 6858000"/>
              <a:gd name="connsiteX1422" fmla="*/ 5930199 w 6569477"/>
              <a:gd name="connsiteY1422" fmla="*/ 3790443 h 6858000"/>
              <a:gd name="connsiteX1423" fmla="*/ 5909750 w 6569477"/>
              <a:gd name="connsiteY1423" fmla="*/ 3957308 h 6858000"/>
              <a:gd name="connsiteX1424" fmla="*/ 5877062 w 6569477"/>
              <a:gd name="connsiteY1424" fmla="*/ 4172416 h 6858000"/>
              <a:gd name="connsiteX1425" fmla="*/ 5868625 w 6569477"/>
              <a:gd name="connsiteY1425" fmla="*/ 4214595 h 6858000"/>
              <a:gd name="connsiteX1426" fmla="*/ 5609277 w 6569477"/>
              <a:gd name="connsiteY1426" fmla="*/ 5137233 h 6858000"/>
              <a:gd name="connsiteX1427" fmla="*/ 5491924 w 6569477"/>
              <a:gd name="connsiteY1427" fmla="*/ 5411666 h 6858000"/>
              <a:gd name="connsiteX1428" fmla="*/ 5491547 w 6569477"/>
              <a:gd name="connsiteY1428" fmla="*/ 5414872 h 6858000"/>
              <a:gd name="connsiteX1429" fmla="*/ 5487221 w 6569477"/>
              <a:gd name="connsiteY1429" fmla="*/ 5422780 h 6858000"/>
              <a:gd name="connsiteX1430" fmla="*/ 5489486 w 6569477"/>
              <a:gd name="connsiteY1430" fmla="*/ 5427576 h 6858000"/>
              <a:gd name="connsiteX1431" fmla="*/ 5484693 w 6569477"/>
              <a:gd name="connsiteY1431" fmla="*/ 5429840 h 6858000"/>
              <a:gd name="connsiteX1432" fmla="*/ 5431604 w 6569477"/>
              <a:gd name="connsiteY1432" fmla="*/ 5578103 h 6858000"/>
              <a:gd name="connsiteX1433" fmla="*/ 5383045 w 6569477"/>
              <a:gd name="connsiteY1433" fmla="*/ 5735954 h 6858000"/>
              <a:gd name="connsiteX1434" fmla="*/ 5371193 w 6569477"/>
              <a:gd name="connsiteY1434" fmla="*/ 5735689 h 6858000"/>
              <a:gd name="connsiteX1435" fmla="*/ 5353234 w 6569477"/>
              <a:gd name="connsiteY1435" fmla="*/ 5796964 h 6858000"/>
              <a:gd name="connsiteX1436" fmla="*/ 5315838 w 6569477"/>
              <a:gd name="connsiteY1436" fmla="*/ 5879154 h 6858000"/>
              <a:gd name="connsiteX1437" fmla="*/ 5271646 w 6569477"/>
              <a:gd name="connsiteY1437" fmla="*/ 5946958 h 6858000"/>
              <a:gd name="connsiteX1438" fmla="*/ 5264849 w 6569477"/>
              <a:gd name="connsiteY1438" fmla="*/ 5932571 h 6858000"/>
              <a:gd name="connsiteX1439" fmla="*/ 5205226 w 6569477"/>
              <a:gd name="connsiteY1439" fmla="*/ 6054591 h 6858000"/>
              <a:gd name="connsiteX1440" fmla="*/ 5133488 w 6569477"/>
              <a:gd name="connsiteY1440" fmla="*/ 6188200 h 6858000"/>
              <a:gd name="connsiteX1441" fmla="*/ 5117105 w 6569477"/>
              <a:gd name="connsiteY1441" fmla="*/ 6178342 h 6858000"/>
              <a:gd name="connsiteX1442" fmla="*/ 5104989 w 6569477"/>
              <a:gd name="connsiteY1442" fmla="*/ 6189932 h 6858000"/>
              <a:gd name="connsiteX1443" fmla="*/ 5105252 w 6569477"/>
              <a:gd name="connsiteY1443" fmla="*/ 6178076 h 6858000"/>
              <a:gd name="connsiteX1444" fmla="*/ 5107780 w 6569477"/>
              <a:gd name="connsiteY1444" fmla="*/ 6171017 h 6858000"/>
              <a:gd name="connsiteX1445" fmla="*/ 5110570 w 6569477"/>
              <a:gd name="connsiteY1445" fmla="*/ 6152101 h 6858000"/>
              <a:gd name="connsiteX1446" fmla="*/ 5117630 w 6569477"/>
              <a:gd name="connsiteY1446" fmla="*/ 6154631 h 6858000"/>
              <a:gd name="connsiteX1447" fmla="*/ 5124951 w 6569477"/>
              <a:gd name="connsiteY1447" fmla="*/ 6145306 h 6858000"/>
              <a:gd name="connsiteX1448" fmla="*/ 5124689 w 6569477"/>
              <a:gd name="connsiteY1448" fmla="*/ 6157162 h 6858000"/>
              <a:gd name="connsiteX1449" fmla="*/ 5122160 w 6569477"/>
              <a:gd name="connsiteY1449" fmla="*/ 6164222 h 6858000"/>
              <a:gd name="connsiteX1450" fmla="*/ 5161821 w 6569477"/>
              <a:gd name="connsiteY1450" fmla="*/ 6086827 h 6858000"/>
              <a:gd name="connsiteX1451" fmla="*/ 5223710 w 6569477"/>
              <a:gd name="connsiteY1451" fmla="*/ 5969604 h 6858000"/>
              <a:gd name="connsiteX1452" fmla="*/ 5255262 w 6569477"/>
              <a:gd name="connsiteY1452" fmla="*/ 5937100 h 6858000"/>
              <a:gd name="connsiteX1453" fmla="*/ 5265899 w 6569477"/>
              <a:gd name="connsiteY1453" fmla="*/ 5885149 h 6858000"/>
              <a:gd name="connsiteX1454" fmla="*/ 5310355 w 6569477"/>
              <a:gd name="connsiteY1454" fmla="*/ 5805490 h 6858000"/>
              <a:gd name="connsiteX1455" fmla="*/ 5342957 w 6569477"/>
              <a:gd name="connsiteY1455" fmla="*/ 5725565 h 6858000"/>
              <a:gd name="connsiteX1456" fmla="*/ 5359603 w 6569477"/>
              <a:gd name="connsiteY1456" fmla="*/ 5723566 h 6858000"/>
              <a:gd name="connsiteX1457" fmla="*/ 5405162 w 6569477"/>
              <a:gd name="connsiteY1457" fmla="*/ 5607458 h 6858000"/>
              <a:gd name="connsiteX1458" fmla="*/ 5419834 w 6569477"/>
              <a:gd name="connsiteY1458" fmla="*/ 5556614 h 6858000"/>
              <a:gd name="connsiteX1459" fmla="*/ 5343783 w 6569477"/>
              <a:gd name="connsiteY1459" fmla="*/ 5707015 h 6858000"/>
              <a:gd name="connsiteX1460" fmla="*/ 4588841 w 6569477"/>
              <a:gd name="connsiteY1460" fmla="*/ 6742552 h 6858000"/>
              <a:gd name="connsiteX1461" fmla="*/ 4469515 w 6569477"/>
              <a:gd name="connsiteY1461" fmla="*/ 6858000 h 6858000"/>
              <a:gd name="connsiteX1462" fmla="*/ 4102414 w 6569477"/>
              <a:gd name="connsiteY1462" fmla="*/ 6858000 h 6858000"/>
              <a:gd name="connsiteX1463" fmla="*/ 4156175 w 6569477"/>
              <a:gd name="connsiteY1463" fmla="*/ 6787476 h 6858000"/>
              <a:gd name="connsiteX1464" fmla="*/ 4333324 w 6569477"/>
              <a:gd name="connsiteY1464" fmla="*/ 6525971 h 6858000"/>
              <a:gd name="connsiteX1465" fmla="*/ 4350197 w 6569477"/>
              <a:gd name="connsiteY1465" fmla="*/ 6551277 h 6858000"/>
              <a:gd name="connsiteX1466" fmla="*/ 4451424 w 6569477"/>
              <a:gd name="connsiteY1466" fmla="*/ 6365693 h 6858000"/>
              <a:gd name="connsiteX1467" fmla="*/ 4527346 w 6569477"/>
              <a:gd name="connsiteY1467" fmla="*/ 6225714 h 6858000"/>
              <a:gd name="connsiteX1468" fmla="*/ 4556321 w 6569477"/>
              <a:gd name="connsiteY1468" fmla="*/ 6179312 h 6858000"/>
              <a:gd name="connsiteX1469" fmla="*/ 4561089 w 6569477"/>
              <a:gd name="connsiteY1469" fmla="*/ 6180105 h 6858000"/>
              <a:gd name="connsiteX1470" fmla="*/ 4577961 w 6569477"/>
              <a:gd name="connsiteY1470" fmla="*/ 6171673 h 6858000"/>
              <a:gd name="connsiteX1471" fmla="*/ 4586396 w 6569477"/>
              <a:gd name="connsiteY1471" fmla="*/ 6171671 h 6858000"/>
              <a:gd name="connsiteX1472" fmla="*/ 4603267 w 6569477"/>
              <a:gd name="connsiteY1472" fmla="*/ 6129493 h 6858000"/>
              <a:gd name="connsiteX1473" fmla="*/ 4620139 w 6569477"/>
              <a:gd name="connsiteY1473" fmla="*/ 6112623 h 6858000"/>
              <a:gd name="connsiteX1474" fmla="*/ 4620140 w 6569477"/>
              <a:gd name="connsiteY1474" fmla="*/ 6104185 h 6858000"/>
              <a:gd name="connsiteX1475" fmla="*/ 4611704 w 6569477"/>
              <a:gd name="connsiteY1475" fmla="*/ 6104186 h 6858000"/>
              <a:gd name="connsiteX1476" fmla="*/ 4645446 w 6569477"/>
              <a:gd name="connsiteY1476" fmla="*/ 6049356 h 6858000"/>
              <a:gd name="connsiteX1477" fmla="*/ 4658579 w 6569477"/>
              <a:gd name="connsiteY1477" fmla="*/ 6024607 h 6858000"/>
              <a:gd name="connsiteX1478" fmla="*/ 4657191 w 6569477"/>
              <a:gd name="connsiteY1478" fmla="*/ 6022823 h 6858000"/>
              <a:gd name="connsiteX1479" fmla="*/ 4637720 w 6569477"/>
              <a:gd name="connsiteY1479" fmla="*/ 6031225 h 6858000"/>
              <a:gd name="connsiteX1480" fmla="*/ 4625218 w 6569477"/>
              <a:gd name="connsiteY1480" fmla="*/ 6042395 h 6858000"/>
              <a:gd name="connsiteX1481" fmla="*/ 4625358 w 6569477"/>
              <a:gd name="connsiteY1481" fmla="*/ 6039920 h 6858000"/>
              <a:gd name="connsiteX1482" fmla="*/ 4603267 w 6569477"/>
              <a:gd name="connsiteY1482" fmla="*/ 6062007 h 6858000"/>
              <a:gd name="connsiteX1483" fmla="*/ 4620139 w 6569477"/>
              <a:gd name="connsiteY1483" fmla="*/ 6036700 h 6858000"/>
              <a:gd name="connsiteX1484" fmla="*/ 4502039 w 6569477"/>
              <a:gd name="connsiteY1484" fmla="*/ 6188543 h 6858000"/>
              <a:gd name="connsiteX1485" fmla="*/ 4383940 w 6569477"/>
              <a:gd name="connsiteY1485" fmla="*/ 6357257 h 6858000"/>
              <a:gd name="connsiteX1486" fmla="*/ 4367067 w 6569477"/>
              <a:gd name="connsiteY1486" fmla="*/ 6357256 h 6858000"/>
              <a:gd name="connsiteX1487" fmla="*/ 4240530 w 6569477"/>
              <a:gd name="connsiteY1487" fmla="*/ 6492227 h 6858000"/>
              <a:gd name="connsiteX1488" fmla="*/ 4189918 w 6569477"/>
              <a:gd name="connsiteY1488" fmla="*/ 6542842 h 6858000"/>
              <a:gd name="connsiteX1489" fmla="*/ 4173045 w 6569477"/>
              <a:gd name="connsiteY1489" fmla="*/ 6568148 h 6858000"/>
              <a:gd name="connsiteX1490" fmla="*/ 4130868 w 6569477"/>
              <a:gd name="connsiteY1490" fmla="*/ 6601891 h 6858000"/>
              <a:gd name="connsiteX1491" fmla="*/ 4054944 w 6569477"/>
              <a:gd name="connsiteY1491" fmla="*/ 6686246 h 6858000"/>
              <a:gd name="connsiteX1492" fmla="*/ 3979024 w 6569477"/>
              <a:gd name="connsiteY1492" fmla="*/ 6762169 h 6858000"/>
              <a:gd name="connsiteX1493" fmla="*/ 3916151 w 6569477"/>
              <a:gd name="connsiteY1493" fmla="*/ 6823459 h 6858000"/>
              <a:gd name="connsiteX1494" fmla="*/ 3874750 w 6569477"/>
              <a:gd name="connsiteY1494" fmla="*/ 6858000 h 6858000"/>
              <a:gd name="connsiteX1495" fmla="*/ 3809992 w 6569477"/>
              <a:gd name="connsiteY1495" fmla="*/ 6858000 h 6858000"/>
              <a:gd name="connsiteX1496" fmla="*/ 3835617 w 6569477"/>
              <a:gd name="connsiteY1496" fmla="*/ 6838089 h 6858000"/>
              <a:gd name="connsiteX1497" fmla="*/ 4139304 w 6569477"/>
              <a:gd name="connsiteY1497" fmla="*/ 6576584 h 6858000"/>
              <a:gd name="connsiteX1498" fmla="*/ 4046510 w 6569477"/>
              <a:gd name="connsiteY1498" fmla="*/ 6652505 h 6858000"/>
              <a:gd name="connsiteX1499" fmla="*/ 4021202 w 6569477"/>
              <a:gd name="connsiteY1499" fmla="*/ 6660941 h 6858000"/>
              <a:gd name="connsiteX1500" fmla="*/ 3810311 w 6569477"/>
              <a:gd name="connsiteY1500" fmla="*/ 6829655 h 6858000"/>
              <a:gd name="connsiteX1501" fmla="*/ 3774445 w 6569477"/>
              <a:gd name="connsiteY1501" fmla="*/ 6858000 h 6858000"/>
              <a:gd name="connsiteX1502" fmla="*/ 3720522 w 6569477"/>
              <a:gd name="connsiteY1502" fmla="*/ 6858000 h 6858000"/>
              <a:gd name="connsiteX1503" fmla="*/ 3734388 w 6569477"/>
              <a:gd name="connsiteY1503" fmla="*/ 6846525 h 6858000"/>
              <a:gd name="connsiteX1504" fmla="*/ 3768132 w 6569477"/>
              <a:gd name="connsiteY1504" fmla="*/ 6821217 h 6858000"/>
              <a:gd name="connsiteX1505" fmla="*/ 3869358 w 6569477"/>
              <a:gd name="connsiteY1505" fmla="*/ 6745298 h 6858000"/>
              <a:gd name="connsiteX1506" fmla="*/ 3911538 w 6569477"/>
              <a:gd name="connsiteY1506" fmla="*/ 6711555 h 6858000"/>
              <a:gd name="connsiteX1507" fmla="*/ 3919975 w 6569477"/>
              <a:gd name="connsiteY1507" fmla="*/ 6711555 h 6858000"/>
              <a:gd name="connsiteX1508" fmla="*/ 3928411 w 6569477"/>
              <a:gd name="connsiteY1508" fmla="*/ 6703118 h 6858000"/>
              <a:gd name="connsiteX1509" fmla="*/ 3928411 w 6569477"/>
              <a:gd name="connsiteY1509" fmla="*/ 6694684 h 6858000"/>
              <a:gd name="connsiteX1510" fmla="*/ 3936845 w 6569477"/>
              <a:gd name="connsiteY1510" fmla="*/ 6694684 h 6858000"/>
              <a:gd name="connsiteX1511" fmla="*/ 4097124 w 6569477"/>
              <a:gd name="connsiteY1511" fmla="*/ 6551277 h 6858000"/>
              <a:gd name="connsiteX1512" fmla="*/ 4113995 w 6569477"/>
              <a:gd name="connsiteY1512" fmla="*/ 6542841 h 6858000"/>
              <a:gd name="connsiteX1513" fmla="*/ 4122431 w 6569477"/>
              <a:gd name="connsiteY1513" fmla="*/ 6542841 h 6858000"/>
              <a:gd name="connsiteX1514" fmla="*/ 4130869 w 6569477"/>
              <a:gd name="connsiteY1514" fmla="*/ 6534407 h 6858000"/>
              <a:gd name="connsiteX1515" fmla="*/ 4130868 w 6569477"/>
              <a:gd name="connsiteY1515" fmla="*/ 6525971 h 6858000"/>
              <a:gd name="connsiteX1516" fmla="*/ 4189919 w 6569477"/>
              <a:gd name="connsiteY1516" fmla="*/ 6458484 h 6858000"/>
              <a:gd name="connsiteX1517" fmla="*/ 4198354 w 6569477"/>
              <a:gd name="connsiteY1517" fmla="*/ 6450050 h 6858000"/>
              <a:gd name="connsiteX1518" fmla="*/ 4206790 w 6569477"/>
              <a:gd name="connsiteY1518" fmla="*/ 6433178 h 6858000"/>
              <a:gd name="connsiteX1519" fmla="*/ 4190270 w 6569477"/>
              <a:gd name="connsiteY1519" fmla="*/ 6433178 h 6858000"/>
              <a:gd name="connsiteX1520" fmla="*/ 4207843 w 6569477"/>
              <a:gd name="connsiteY1520" fmla="*/ 6416307 h 6858000"/>
              <a:gd name="connsiteX1521" fmla="*/ 4215199 w 6569477"/>
              <a:gd name="connsiteY1521" fmla="*/ 6391088 h 6858000"/>
              <a:gd name="connsiteX1522" fmla="*/ 4215378 w 6569477"/>
              <a:gd name="connsiteY1522" fmla="*/ 6390919 h 6858000"/>
              <a:gd name="connsiteX1523" fmla="*/ 4244751 w 6569477"/>
              <a:gd name="connsiteY1523" fmla="*/ 6375183 h 6858000"/>
              <a:gd name="connsiteX1524" fmla="*/ 4274275 w 6569477"/>
              <a:gd name="connsiteY1524" fmla="*/ 6340386 h 6858000"/>
              <a:gd name="connsiteX1525" fmla="*/ 4282710 w 6569477"/>
              <a:gd name="connsiteY1525" fmla="*/ 6340386 h 6858000"/>
              <a:gd name="connsiteX1526" fmla="*/ 4282712 w 6569477"/>
              <a:gd name="connsiteY1526" fmla="*/ 6331950 h 6858000"/>
              <a:gd name="connsiteX1527" fmla="*/ 4282711 w 6569477"/>
              <a:gd name="connsiteY1527" fmla="*/ 6323514 h 6858000"/>
              <a:gd name="connsiteX1528" fmla="*/ 4308018 w 6569477"/>
              <a:gd name="connsiteY1528" fmla="*/ 6315078 h 6858000"/>
              <a:gd name="connsiteX1529" fmla="*/ 4299581 w 6569477"/>
              <a:gd name="connsiteY1529" fmla="*/ 6323514 h 6858000"/>
              <a:gd name="connsiteX1530" fmla="*/ 4291147 w 6569477"/>
              <a:gd name="connsiteY1530" fmla="*/ 6340386 h 6858000"/>
              <a:gd name="connsiteX1531" fmla="*/ 4308019 w 6569477"/>
              <a:gd name="connsiteY1531" fmla="*/ 6331950 h 6858000"/>
              <a:gd name="connsiteX1532" fmla="*/ 4316453 w 6569477"/>
              <a:gd name="connsiteY1532" fmla="*/ 6331950 h 6858000"/>
              <a:gd name="connsiteX1533" fmla="*/ 4282711 w 6569477"/>
              <a:gd name="connsiteY1533" fmla="*/ 6374128 h 6858000"/>
              <a:gd name="connsiteX1534" fmla="*/ 4544217 w 6569477"/>
              <a:gd name="connsiteY1534" fmla="*/ 6104187 h 6858000"/>
              <a:gd name="connsiteX1535" fmla="*/ 4569526 w 6569477"/>
              <a:gd name="connsiteY1535" fmla="*/ 6070442 h 6858000"/>
              <a:gd name="connsiteX1536" fmla="*/ 4577961 w 6569477"/>
              <a:gd name="connsiteY1536" fmla="*/ 6062009 h 6858000"/>
              <a:gd name="connsiteX1537" fmla="*/ 4683408 w 6569477"/>
              <a:gd name="connsiteY1537" fmla="*/ 5931256 h 6858000"/>
              <a:gd name="connsiteX1538" fmla="*/ 4748312 w 6569477"/>
              <a:gd name="connsiteY1538" fmla="*/ 5835198 h 6858000"/>
              <a:gd name="connsiteX1539" fmla="*/ 4751363 w 6569477"/>
              <a:gd name="connsiteY1539" fmla="*/ 5826231 h 6858000"/>
              <a:gd name="connsiteX1540" fmla="*/ 4767931 w 6569477"/>
              <a:gd name="connsiteY1540" fmla="*/ 5806085 h 6858000"/>
              <a:gd name="connsiteX1541" fmla="*/ 4768003 w 6569477"/>
              <a:gd name="connsiteY1541" fmla="*/ 5806053 h 6858000"/>
              <a:gd name="connsiteX1542" fmla="*/ 4788853 w 6569477"/>
              <a:gd name="connsiteY1542" fmla="*/ 5775196 h 6858000"/>
              <a:gd name="connsiteX1543" fmla="*/ 4792070 w 6569477"/>
              <a:gd name="connsiteY1543" fmla="*/ 5772856 h 6858000"/>
              <a:gd name="connsiteX1544" fmla="*/ 4793063 w 6569477"/>
              <a:gd name="connsiteY1544" fmla="*/ 5765638 h 6858000"/>
              <a:gd name="connsiteX1545" fmla="*/ 4796398 w 6569477"/>
              <a:gd name="connsiteY1545" fmla="*/ 5743259 h 6858000"/>
              <a:gd name="connsiteX1546" fmla="*/ 4843536 w 6569477"/>
              <a:gd name="connsiteY1546" fmla="*/ 5665159 h 6858000"/>
              <a:gd name="connsiteX1547" fmla="*/ 4878837 w 6569477"/>
              <a:gd name="connsiteY1547" fmla="*/ 5586387 h 6858000"/>
              <a:gd name="connsiteX1548" fmla="*/ 4895541 w 6569477"/>
              <a:gd name="connsiteY1548" fmla="*/ 5584956 h 6858000"/>
              <a:gd name="connsiteX1549" fmla="*/ 4981973 w 6569477"/>
              <a:gd name="connsiteY1549" fmla="*/ 5357045 h 6858000"/>
              <a:gd name="connsiteX1550" fmla="*/ 4962502 w 6569477"/>
              <a:gd name="connsiteY1550" fmla="*/ 5365447 h 6858000"/>
              <a:gd name="connsiteX1551" fmla="*/ 5038742 w 6569477"/>
              <a:gd name="connsiteY1551" fmla="*/ 5234354 h 6858000"/>
              <a:gd name="connsiteX1552" fmla="*/ 5031211 w 6569477"/>
              <a:gd name="connsiteY1552" fmla="*/ 5283813 h 6858000"/>
              <a:gd name="connsiteX1553" fmla="*/ 5033979 w 6569477"/>
              <a:gd name="connsiteY1553" fmla="*/ 5276843 h 6858000"/>
              <a:gd name="connsiteX1554" fmla="*/ 5038846 w 6569477"/>
              <a:gd name="connsiteY1554" fmla="*/ 5274743 h 6858000"/>
              <a:gd name="connsiteX1555" fmla="*/ 5033312 w 6569477"/>
              <a:gd name="connsiteY1555" fmla="*/ 5288683 h 6858000"/>
              <a:gd name="connsiteX1556" fmla="*/ 5035413 w 6569477"/>
              <a:gd name="connsiteY1556" fmla="*/ 5293552 h 6858000"/>
              <a:gd name="connsiteX1557" fmla="*/ 5030545 w 6569477"/>
              <a:gd name="connsiteY1557" fmla="*/ 5295653 h 6858000"/>
              <a:gd name="connsiteX1558" fmla="*/ 4972446 w 6569477"/>
              <a:gd name="connsiteY1558" fmla="*/ 5442024 h 6858000"/>
              <a:gd name="connsiteX1559" fmla="*/ 4918549 w 6569477"/>
              <a:gd name="connsiteY1559" fmla="*/ 5598134 h 6858000"/>
              <a:gd name="connsiteX1560" fmla="*/ 4906713 w 6569477"/>
              <a:gd name="connsiteY1560" fmla="*/ 5597465 h 6858000"/>
              <a:gd name="connsiteX1561" fmla="*/ 4886681 w 6569477"/>
              <a:gd name="connsiteY1561" fmla="*/ 5658095 h 6858000"/>
              <a:gd name="connsiteX1562" fmla="*/ 4846511 w 6569477"/>
              <a:gd name="connsiteY1562" fmla="*/ 5738966 h 6858000"/>
              <a:gd name="connsiteX1563" fmla="*/ 4800039 w 6569477"/>
              <a:gd name="connsiteY1563" fmla="*/ 5805228 h 6858000"/>
              <a:gd name="connsiteX1564" fmla="*/ 4796888 w 6569477"/>
              <a:gd name="connsiteY1564" fmla="*/ 5797923 h 6858000"/>
              <a:gd name="connsiteX1565" fmla="*/ 4793961 w 6569477"/>
              <a:gd name="connsiteY1565" fmla="*/ 5791139 h 6858000"/>
              <a:gd name="connsiteX1566" fmla="*/ 4788854 w 6569477"/>
              <a:gd name="connsiteY1566" fmla="*/ 5800502 h 6858000"/>
              <a:gd name="connsiteX1567" fmla="*/ 4788524 w 6569477"/>
              <a:gd name="connsiteY1567" fmla="*/ 5800530 h 6858000"/>
              <a:gd name="connsiteX1568" fmla="*/ 4772434 w 6569477"/>
              <a:gd name="connsiteY1568" fmla="*/ 5831127 h 6858000"/>
              <a:gd name="connsiteX1569" fmla="*/ 4771983 w 6569477"/>
              <a:gd name="connsiteY1569" fmla="*/ 5834245 h 6858000"/>
              <a:gd name="connsiteX1570" fmla="*/ 4770615 w 6569477"/>
              <a:gd name="connsiteY1570" fmla="*/ 5834587 h 6858000"/>
              <a:gd name="connsiteX1571" fmla="*/ 4763546 w 6569477"/>
              <a:gd name="connsiteY1571" fmla="*/ 5848027 h 6858000"/>
              <a:gd name="connsiteX1572" fmla="*/ 4763547 w 6569477"/>
              <a:gd name="connsiteY1572" fmla="*/ 5851116 h 6858000"/>
              <a:gd name="connsiteX1573" fmla="*/ 4729804 w 6569477"/>
              <a:gd name="connsiteY1573" fmla="*/ 5927037 h 6858000"/>
              <a:gd name="connsiteX1574" fmla="*/ 4738240 w 6569477"/>
              <a:gd name="connsiteY1574" fmla="*/ 5910164 h 6858000"/>
              <a:gd name="connsiteX1575" fmla="*/ 4738240 w 6569477"/>
              <a:gd name="connsiteY1575" fmla="*/ 5927039 h 6858000"/>
              <a:gd name="connsiteX1576" fmla="*/ 4755110 w 6569477"/>
              <a:gd name="connsiteY1576" fmla="*/ 5918603 h 6858000"/>
              <a:gd name="connsiteX1577" fmla="*/ 4755112 w 6569477"/>
              <a:gd name="connsiteY1577" fmla="*/ 5927039 h 6858000"/>
              <a:gd name="connsiteX1578" fmla="*/ 4746676 w 6569477"/>
              <a:gd name="connsiteY1578" fmla="*/ 5935473 h 6858000"/>
              <a:gd name="connsiteX1579" fmla="*/ 4746678 w 6569477"/>
              <a:gd name="connsiteY1579" fmla="*/ 5943907 h 6858000"/>
              <a:gd name="connsiteX1580" fmla="*/ 4721368 w 6569477"/>
              <a:gd name="connsiteY1580" fmla="*/ 5994521 h 6858000"/>
              <a:gd name="connsiteX1581" fmla="*/ 4721369 w 6569477"/>
              <a:gd name="connsiteY1581" fmla="*/ 6002959 h 6858000"/>
              <a:gd name="connsiteX1582" fmla="*/ 4729804 w 6569477"/>
              <a:gd name="connsiteY1582" fmla="*/ 5994523 h 6858000"/>
              <a:gd name="connsiteX1583" fmla="*/ 4738240 w 6569477"/>
              <a:gd name="connsiteY1583" fmla="*/ 5994523 h 6858000"/>
              <a:gd name="connsiteX1584" fmla="*/ 4653883 w 6569477"/>
              <a:gd name="connsiteY1584" fmla="*/ 6146366 h 6858000"/>
              <a:gd name="connsiteX1585" fmla="*/ 4561090 w 6569477"/>
              <a:gd name="connsiteY1585" fmla="*/ 6289771 h 6858000"/>
              <a:gd name="connsiteX1586" fmla="*/ 4561089 w 6569477"/>
              <a:gd name="connsiteY1586" fmla="*/ 6298205 h 6858000"/>
              <a:gd name="connsiteX1587" fmla="*/ 4552654 w 6569477"/>
              <a:gd name="connsiteY1587" fmla="*/ 6298207 h 6858000"/>
              <a:gd name="connsiteX1588" fmla="*/ 4552653 w 6569477"/>
              <a:gd name="connsiteY1588" fmla="*/ 6306643 h 6858000"/>
              <a:gd name="connsiteX1589" fmla="*/ 4544217 w 6569477"/>
              <a:gd name="connsiteY1589" fmla="*/ 6315080 h 6858000"/>
              <a:gd name="connsiteX1590" fmla="*/ 4527347 w 6569477"/>
              <a:gd name="connsiteY1590" fmla="*/ 6340384 h 6858000"/>
              <a:gd name="connsiteX1591" fmla="*/ 4527349 w 6569477"/>
              <a:gd name="connsiteY1591" fmla="*/ 6357257 h 6858000"/>
              <a:gd name="connsiteX1592" fmla="*/ 4544216 w 6569477"/>
              <a:gd name="connsiteY1592" fmla="*/ 6323514 h 6858000"/>
              <a:gd name="connsiteX1593" fmla="*/ 4552655 w 6569477"/>
              <a:gd name="connsiteY1593" fmla="*/ 6323514 h 6858000"/>
              <a:gd name="connsiteX1594" fmla="*/ 4552653 w 6569477"/>
              <a:gd name="connsiteY1594" fmla="*/ 6331950 h 6858000"/>
              <a:gd name="connsiteX1595" fmla="*/ 4561089 w 6569477"/>
              <a:gd name="connsiteY1595" fmla="*/ 6323512 h 6858000"/>
              <a:gd name="connsiteX1596" fmla="*/ 4561090 w 6569477"/>
              <a:gd name="connsiteY1596" fmla="*/ 6315079 h 6858000"/>
              <a:gd name="connsiteX1597" fmla="*/ 4569526 w 6569477"/>
              <a:gd name="connsiteY1597" fmla="*/ 6306641 h 6858000"/>
              <a:gd name="connsiteX1598" fmla="*/ 4586397 w 6569477"/>
              <a:gd name="connsiteY1598" fmla="*/ 6281336 h 6858000"/>
              <a:gd name="connsiteX1599" fmla="*/ 4586397 w 6569477"/>
              <a:gd name="connsiteY1599" fmla="*/ 6264464 h 6858000"/>
              <a:gd name="connsiteX1600" fmla="*/ 4603267 w 6569477"/>
              <a:gd name="connsiteY1600" fmla="*/ 6264464 h 6858000"/>
              <a:gd name="connsiteX1601" fmla="*/ 4628576 w 6569477"/>
              <a:gd name="connsiteY1601" fmla="*/ 6205416 h 6858000"/>
              <a:gd name="connsiteX1602" fmla="*/ 4696061 w 6569477"/>
              <a:gd name="connsiteY1602" fmla="*/ 6104186 h 6858000"/>
              <a:gd name="connsiteX1603" fmla="*/ 4687626 w 6569477"/>
              <a:gd name="connsiteY1603" fmla="*/ 6104185 h 6858000"/>
              <a:gd name="connsiteX1604" fmla="*/ 4704496 w 6569477"/>
              <a:gd name="connsiteY1604" fmla="*/ 6087316 h 6858000"/>
              <a:gd name="connsiteX1605" fmla="*/ 4704497 w 6569477"/>
              <a:gd name="connsiteY1605" fmla="*/ 6070444 h 6858000"/>
              <a:gd name="connsiteX1606" fmla="*/ 4712933 w 6569477"/>
              <a:gd name="connsiteY1606" fmla="*/ 6070444 h 6858000"/>
              <a:gd name="connsiteX1607" fmla="*/ 4729804 w 6569477"/>
              <a:gd name="connsiteY1607" fmla="*/ 6053573 h 6858000"/>
              <a:gd name="connsiteX1608" fmla="*/ 4770138 w 6569477"/>
              <a:gd name="connsiteY1608" fmla="*/ 5956299 h 6858000"/>
              <a:gd name="connsiteX1609" fmla="*/ 4783304 w 6569477"/>
              <a:gd name="connsiteY1609" fmla="*/ 5941648 h 6858000"/>
              <a:gd name="connsiteX1610" fmla="*/ 4783581 w 6569477"/>
              <a:gd name="connsiteY1610" fmla="*/ 5941799 h 6858000"/>
              <a:gd name="connsiteX1611" fmla="*/ 4788853 w 6569477"/>
              <a:gd name="connsiteY1611" fmla="*/ 5935473 h 6858000"/>
              <a:gd name="connsiteX1612" fmla="*/ 4783304 w 6569477"/>
              <a:gd name="connsiteY1612" fmla="*/ 5941648 h 6858000"/>
              <a:gd name="connsiteX1613" fmla="*/ 4771983 w 6569477"/>
              <a:gd name="connsiteY1613" fmla="*/ 5935471 h 6858000"/>
              <a:gd name="connsiteX1614" fmla="*/ 4873212 w 6569477"/>
              <a:gd name="connsiteY1614" fmla="*/ 5749889 h 6858000"/>
              <a:gd name="connsiteX1615" fmla="*/ 4949133 w 6569477"/>
              <a:gd name="connsiteY1615" fmla="*/ 5598046 h 6858000"/>
              <a:gd name="connsiteX1616" fmla="*/ 4957571 w 6569477"/>
              <a:gd name="connsiteY1616" fmla="*/ 5598047 h 6858000"/>
              <a:gd name="connsiteX1617" fmla="*/ 5008183 w 6569477"/>
              <a:gd name="connsiteY1617" fmla="*/ 5496818 h 6858000"/>
              <a:gd name="connsiteX1618" fmla="*/ 5008182 w 6569477"/>
              <a:gd name="connsiteY1618" fmla="*/ 5522123 h 6858000"/>
              <a:gd name="connsiteX1619" fmla="*/ 4999747 w 6569477"/>
              <a:gd name="connsiteY1619" fmla="*/ 5488384 h 6858000"/>
              <a:gd name="connsiteX1620" fmla="*/ 5067232 w 6569477"/>
              <a:gd name="connsiteY1620" fmla="*/ 5378718 h 6858000"/>
              <a:gd name="connsiteX1621" fmla="*/ 5075669 w 6569477"/>
              <a:gd name="connsiteY1621" fmla="*/ 5370283 h 6858000"/>
              <a:gd name="connsiteX1622" fmla="*/ 5075669 w 6569477"/>
              <a:gd name="connsiteY1622" fmla="*/ 5361848 h 6858000"/>
              <a:gd name="connsiteX1623" fmla="*/ 5067234 w 6569477"/>
              <a:gd name="connsiteY1623" fmla="*/ 5361848 h 6858000"/>
              <a:gd name="connsiteX1624" fmla="*/ 5075669 w 6569477"/>
              <a:gd name="connsiteY1624" fmla="*/ 5344976 h 6858000"/>
              <a:gd name="connsiteX1625" fmla="*/ 5075671 w 6569477"/>
              <a:gd name="connsiteY1625" fmla="*/ 5353411 h 6858000"/>
              <a:gd name="connsiteX1626" fmla="*/ 5084105 w 6569477"/>
              <a:gd name="connsiteY1626" fmla="*/ 5353411 h 6858000"/>
              <a:gd name="connsiteX1627" fmla="*/ 5084105 w 6569477"/>
              <a:gd name="connsiteY1627" fmla="*/ 5336541 h 6858000"/>
              <a:gd name="connsiteX1628" fmla="*/ 5092541 w 6569477"/>
              <a:gd name="connsiteY1628" fmla="*/ 5328103 h 6858000"/>
              <a:gd name="connsiteX1629" fmla="*/ 5092541 w 6569477"/>
              <a:gd name="connsiteY1629" fmla="*/ 5302798 h 6858000"/>
              <a:gd name="connsiteX1630" fmla="*/ 5100978 w 6569477"/>
              <a:gd name="connsiteY1630" fmla="*/ 5285927 h 6858000"/>
              <a:gd name="connsiteX1631" fmla="*/ 5092541 w 6569477"/>
              <a:gd name="connsiteY1631" fmla="*/ 5294363 h 6858000"/>
              <a:gd name="connsiteX1632" fmla="*/ 5084105 w 6569477"/>
              <a:gd name="connsiteY1632" fmla="*/ 5302796 h 6858000"/>
              <a:gd name="connsiteX1633" fmla="*/ 5084105 w 6569477"/>
              <a:gd name="connsiteY1633" fmla="*/ 5285927 h 6858000"/>
              <a:gd name="connsiteX1634" fmla="*/ 5109412 w 6569477"/>
              <a:gd name="connsiteY1634" fmla="*/ 5235313 h 6858000"/>
              <a:gd name="connsiteX1635" fmla="*/ 5151589 w 6569477"/>
              <a:gd name="connsiteY1635" fmla="*/ 5142520 h 6858000"/>
              <a:gd name="connsiteX1636" fmla="*/ 5160025 w 6569477"/>
              <a:gd name="connsiteY1636" fmla="*/ 5134084 h 6858000"/>
              <a:gd name="connsiteX1637" fmla="*/ 5160025 w 6569477"/>
              <a:gd name="connsiteY1637" fmla="*/ 5125649 h 6858000"/>
              <a:gd name="connsiteX1638" fmla="*/ 5176898 w 6569477"/>
              <a:gd name="connsiteY1638" fmla="*/ 5083470 h 6858000"/>
              <a:gd name="connsiteX1639" fmla="*/ 5185333 w 6569477"/>
              <a:gd name="connsiteY1639" fmla="*/ 5049729 h 6858000"/>
              <a:gd name="connsiteX1640" fmla="*/ 5219076 w 6569477"/>
              <a:gd name="connsiteY1640" fmla="*/ 4990679 h 6858000"/>
              <a:gd name="connsiteX1641" fmla="*/ 5227514 w 6569477"/>
              <a:gd name="connsiteY1641" fmla="*/ 4990679 h 6858000"/>
              <a:gd name="connsiteX1642" fmla="*/ 5227511 w 6569477"/>
              <a:gd name="connsiteY1642" fmla="*/ 4973806 h 6858000"/>
              <a:gd name="connsiteX1643" fmla="*/ 5227512 w 6569477"/>
              <a:gd name="connsiteY1643" fmla="*/ 4965372 h 6858000"/>
              <a:gd name="connsiteX1644" fmla="*/ 5219077 w 6569477"/>
              <a:gd name="connsiteY1644" fmla="*/ 4973806 h 6858000"/>
              <a:gd name="connsiteX1645" fmla="*/ 5244383 w 6569477"/>
              <a:gd name="connsiteY1645" fmla="*/ 4914756 h 6858000"/>
              <a:gd name="connsiteX1646" fmla="*/ 5252819 w 6569477"/>
              <a:gd name="connsiteY1646" fmla="*/ 4906320 h 6858000"/>
              <a:gd name="connsiteX1647" fmla="*/ 5252821 w 6569477"/>
              <a:gd name="connsiteY1647" fmla="*/ 4897886 h 6858000"/>
              <a:gd name="connsiteX1648" fmla="*/ 5269691 w 6569477"/>
              <a:gd name="connsiteY1648" fmla="*/ 4838836 h 6858000"/>
              <a:gd name="connsiteX1649" fmla="*/ 5269691 w 6569477"/>
              <a:gd name="connsiteY1649" fmla="*/ 4847272 h 6858000"/>
              <a:gd name="connsiteX1650" fmla="*/ 5269693 w 6569477"/>
              <a:gd name="connsiteY1650" fmla="*/ 4872579 h 6858000"/>
              <a:gd name="connsiteX1651" fmla="*/ 5278126 w 6569477"/>
              <a:gd name="connsiteY1651" fmla="*/ 4855707 h 6858000"/>
              <a:gd name="connsiteX1652" fmla="*/ 5286562 w 6569477"/>
              <a:gd name="connsiteY1652" fmla="*/ 4847272 h 6858000"/>
              <a:gd name="connsiteX1653" fmla="*/ 5278125 w 6569477"/>
              <a:gd name="connsiteY1653" fmla="*/ 4881015 h 6858000"/>
              <a:gd name="connsiteX1654" fmla="*/ 5294998 w 6569477"/>
              <a:gd name="connsiteY1654" fmla="*/ 4889450 h 6858000"/>
              <a:gd name="connsiteX1655" fmla="*/ 5320304 w 6569477"/>
              <a:gd name="connsiteY1655" fmla="*/ 4830400 h 6858000"/>
              <a:gd name="connsiteX1656" fmla="*/ 5328741 w 6569477"/>
              <a:gd name="connsiteY1656" fmla="*/ 4821963 h 6858000"/>
              <a:gd name="connsiteX1657" fmla="*/ 5328741 w 6569477"/>
              <a:gd name="connsiteY1657" fmla="*/ 4813530 h 6858000"/>
              <a:gd name="connsiteX1658" fmla="*/ 5328741 w 6569477"/>
              <a:gd name="connsiteY1658" fmla="*/ 4805093 h 6858000"/>
              <a:gd name="connsiteX1659" fmla="*/ 5320305 w 6569477"/>
              <a:gd name="connsiteY1659" fmla="*/ 4813527 h 6858000"/>
              <a:gd name="connsiteX1660" fmla="*/ 5320305 w 6569477"/>
              <a:gd name="connsiteY1660" fmla="*/ 4788222 h 6858000"/>
              <a:gd name="connsiteX1661" fmla="*/ 5311868 w 6569477"/>
              <a:gd name="connsiteY1661" fmla="*/ 4779784 h 6858000"/>
              <a:gd name="connsiteX1662" fmla="*/ 5294998 w 6569477"/>
              <a:gd name="connsiteY1662" fmla="*/ 4821963 h 6858000"/>
              <a:gd name="connsiteX1663" fmla="*/ 5294998 w 6569477"/>
              <a:gd name="connsiteY1663" fmla="*/ 4813529 h 6858000"/>
              <a:gd name="connsiteX1664" fmla="*/ 5286562 w 6569477"/>
              <a:gd name="connsiteY1664" fmla="*/ 4796658 h 6858000"/>
              <a:gd name="connsiteX1665" fmla="*/ 5279291 w 6569477"/>
              <a:gd name="connsiteY1665" fmla="*/ 4811201 h 6858000"/>
              <a:gd name="connsiteX1666" fmla="*/ 5280235 w 6569477"/>
              <a:gd name="connsiteY1666" fmla="*/ 4795603 h 6858000"/>
              <a:gd name="connsiteX1667" fmla="*/ 5294997 w 6569477"/>
              <a:gd name="connsiteY1667" fmla="*/ 4754479 h 6858000"/>
              <a:gd name="connsiteX1668" fmla="*/ 5269690 w 6569477"/>
              <a:gd name="connsiteY1668" fmla="*/ 4729170 h 6858000"/>
              <a:gd name="connsiteX1669" fmla="*/ 5278128 w 6569477"/>
              <a:gd name="connsiteY1669" fmla="*/ 4737607 h 6858000"/>
              <a:gd name="connsiteX1670" fmla="*/ 5286561 w 6569477"/>
              <a:gd name="connsiteY1670" fmla="*/ 4737608 h 6858000"/>
              <a:gd name="connsiteX1671" fmla="*/ 5294998 w 6569477"/>
              <a:gd name="connsiteY1671" fmla="*/ 4737608 h 6858000"/>
              <a:gd name="connsiteX1672" fmla="*/ 5294999 w 6569477"/>
              <a:gd name="connsiteY1672" fmla="*/ 4720736 h 6858000"/>
              <a:gd name="connsiteX1673" fmla="*/ 5295000 w 6569477"/>
              <a:gd name="connsiteY1673" fmla="*/ 4712301 h 6858000"/>
              <a:gd name="connsiteX1674" fmla="*/ 5311869 w 6569477"/>
              <a:gd name="connsiteY1674" fmla="*/ 4695429 h 6858000"/>
              <a:gd name="connsiteX1675" fmla="*/ 5311869 w 6569477"/>
              <a:gd name="connsiteY1675" fmla="*/ 4712299 h 6858000"/>
              <a:gd name="connsiteX1676" fmla="*/ 5320307 w 6569477"/>
              <a:gd name="connsiteY1676" fmla="*/ 4712301 h 6858000"/>
              <a:gd name="connsiteX1677" fmla="*/ 5328740 w 6569477"/>
              <a:gd name="connsiteY1677" fmla="*/ 4695429 h 6858000"/>
              <a:gd name="connsiteX1678" fmla="*/ 5328740 w 6569477"/>
              <a:gd name="connsiteY1678" fmla="*/ 4678557 h 6858000"/>
              <a:gd name="connsiteX1679" fmla="*/ 5311871 w 6569477"/>
              <a:gd name="connsiteY1679" fmla="*/ 4661688 h 6858000"/>
              <a:gd name="connsiteX1680" fmla="*/ 5303433 w 6569477"/>
              <a:gd name="connsiteY1680" fmla="*/ 4653252 h 6858000"/>
              <a:gd name="connsiteX1681" fmla="*/ 5294998 w 6569477"/>
              <a:gd name="connsiteY1681" fmla="*/ 4661688 h 6858000"/>
              <a:gd name="connsiteX1682" fmla="*/ 5303432 w 6569477"/>
              <a:gd name="connsiteY1682" fmla="*/ 4619508 h 6858000"/>
              <a:gd name="connsiteX1683" fmla="*/ 5303432 w 6569477"/>
              <a:gd name="connsiteY1683" fmla="*/ 4644816 h 6858000"/>
              <a:gd name="connsiteX1684" fmla="*/ 5320305 w 6569477"/>
              <a:gd name="connsiteY1684" fmla="*/ 4611072 h 6858000"/>
              <a:gd name="connsiteX1685" fmla="*/ 5328743 w 6569477"/>
              <a:gd name="connsiteY1685" fmla="*/ 4611070 h 6858000"/>
              <a:gd name="connsiteX1686" fmla="*/ 5328741 w 6569477"/>
              <a:gd name="connsiteY1686" fmla="*/ 4602637 h 6858000"/>
              <a:gd name="connsiteX1687" fmla="*/ 5328741 w 6569477"/>
              <a:gd name="connsiteY1687" fmla="*/ 4594202 h 6858000"/>
              <a:gd name="connsiteX1688" fmla="*/ 5320304 w 6569477"/>
              <a:gd name="connsiteY1688" fmla="*/ 4594202 h 6858000"/>
              <a:gd name="connsiteX1689" fmla="*/ 5337175 w 6569477"/>
              <a:gd name="connsiteY1689" fmla="*/ 4577331 h 6858000"/>
              <a:gd name="connsiteX1690" fmla="*/ 5337175 w 6569477"/>
              <a:gd name="connsiteY1690" fmla="*/ 4526717 h 6858000"/>
              <a:gd name="connsiteX1691" fmla="*/ 5337176 w 6569477"/>
              <a:gd name="connsiteY1691" fmla="*/ 4543586 h 6858000"/>
              <a:gd name="connsiteX1692" fmla="*/ 5354048 w 6569477"/>
              <a:gd name="connsiteY1692" fmla="*/ 4492974 h 6858000"/>
              <a:gd name="connsiteX1693" fmla="*/ 5362484 w 6569477"/>
              <a:gd name="connsiteY1693" fmla="*/ 4501408 h 6858000"/>
              <a:gd name="connsiteX1694" fmla="*/ 5362484 w 6569477"/>
              <a:gd name="connsiteY1694" fmla="*/ 4492972 h 6858000"/>
              <a:gd name="connsiteX1695" fmla="*/ 5370918 w 6569477"/>
              <a:gd name="connsiteY1695" fmla="*/ 4492974 h 6858000"/>
              <a:gd name="connsiteX1696" fmla="*/ 5379355 w 6569477"/>
              <a:gd name="connsiteY1696" fmla="*/ 4501407 h 6858000"/>
              <a:gd name="connsiteX1697" fmla="*/ 5362484 w 6569477"/>
              <a:gd name="connsiteY1697" fmla="*/ 4577331 h 6858000"/>
              <a:gd name="connsiteX1698" fmla="*/ 5354048 w 6569477"/>
              <a:gd name="connsiteY1698" fmla="*/ 4577331 h 6858000"/>
              <a:gd name="connsiteX1699" fmla="*/ 5345612 w 6569477"/>
              <a:gd name="connsiteY1699" fmla="*/ 4611072 h 6858000"/>
              <a:gd name="connsiteX1700" fmla="*/ 5362483 w 6569477"/>
              <a:gd name="connsiteY1700" fmla="*/ 4585763 h 6858000"/>
              <a:gd name="connsiteX1701" fmla="*/ 5354047 w 6569477"/>
              <a:gd name="connsiteY1701" fmla="*/ 4627944 h 6858000"/>
              <a:gd name="connsiteX1702" fmla="*/ 5345611 w 6569477"/>
              <a:gd name="connsiteY1702" fmla="*/ 4636382 h 6858000"/>
              <a:gd name="connsiteX1703" fmla="*/ 5345612 w 6569477"/>
              <a:gd name="connsiteY1703" fmla="*/ 4644813 h 6858000"/>
              <a:gd name="connsiteX1704" fmla="*/ 5354047 w 6569477"/>
              <a:gd name="connsiteY1704" fmla="*/ 4653250 h 6858000"/>
              <a:gd name="connsiteX1705" fmla="*/ 5362483 w 6569477"/>
              <a:gd name="connsiteY1705" fmla="*/ 4644815 h 6858000"/>
              <a:gd name="connsiteX1706" fmla="*/ 5370919 w 6569477"/>
              <a:gd name="connsiteY1706" fmla="*/ 4627945 h 6858000"/>
              <a:gd name="connsiteX1707" fmla="*/ 5370919 w 6569477"/>
              <a:gd name="connsiteY1707" fmla="*/ 4619508 h 6858000"/>
              <a:gd name="connsiteX1708" fmla="*/ 5362483 w 6569477"/>
              <a:gd name="connsiteY1708" fmla="*/ 4619508 h 6858000"/>
              <a:gd name="connsiteX1709" fmla="*/ 5387791 w 6569477"/>
              <a:gd name="connsiteY1709" fmla="*/ 4501408 h 6858000"/>
              <a:gd name="connsiteX1710" fmla="*/ 5396225 w 6569477"/>
              <a:gd name="connsiteY1710" fmla="*/ 4492972 h 6858000"/>
              <a:gd name="connsiteX1711" fmla="*/ 5396224 w 6569477"/>
              <a:gd name="connsiteY1711" fmla="*/ 4484538 h 6858000"/>
              <a:gd name="connsiteX1712" fmla="*/ 5396225 w 6569477"/>
              <a:gd name="connsiteY1712" fmla="*/ 4476102 h 6858000"/>
              <a:gd name="connsiteX1713" fmla="*/ 5413098 w 6569477"/>
              <a:gd name="connsiteY1713" fmla="*/ 4425488 h 6858000"/>
              <a:gd name="connsiteX1714" fmla="*/ 5404662 w 6569477"/>
              <a:gd name="connsiteY1714" fmla="*/ 4425486 h 6858000"/>
              <a:gd name="connsiteX1715" fmla="*/ 5413098 w 6569477"/>
              <a:gd name="connsiteY1715" fmla="*/ 4417053 h 6858000"/>
              <a:gd name="connsiteX1716" fmla="*/ 5421533 w 6569477"/>
              <a:gd name="connsiteY1716" fmla="*/ 4400179 h 6858000"/>
              <a:gd name="connsiteX1717" fmla="*/ 5413097 w 6569477"/>
              <a:gd name="connsiteY1717" fmla="*/ 4391743 h 6858000"/>
              <a:gd name="connsiteX1718" fmla="*/ 5421797 w 6569477"/>
              <a:gd name="connsiteY1718" fmla="*/ 4335463 h 6858000"/>
              <a:gd name="connsiteX1719" fmla="*/ 5430069 w 6569477"/>
              <a:gd name="connsiteY1719" fmla="*/ 4298454 h 6858000"/>
              <a:gd name="connsiteX1720" fmla="*/ 5422231 w 6569477"/>
              <a:gd name="connsiteY1720" fmla="*/ 4304885 h 6858000"/>
              <a:gd name="connsiteX1721" fmla="*/ 5412724 w 6569477"/>
              <a:gd name="connsiteY1721" fmla="*/ 4318695 h 6858000"/>
              <a:gd name="connsiteX1722" fmla="*/ 5410571 w 6569477"/>
              <a:gd name="connsiteY1722" fmla="*/ 4307033 h 6858000"/>
              <a:gd name="connsiteX1723" fmla="*/ 5411613 w 6569477"/>
              <a:gd name="connsiteY1723" fmla="*/ 4299607 h 6858000"/>
              <a:gd name="connsiteX1724" fmla="*/ 5410500 w 6569477"/>
              <a:gd name="connsiteY1724" fmla="*/ 4280519 h 6858000"/>
              <a:gd name="connsiteX1725" fmla="*/ 5417926 w 6569477"/>
              <a:gd name="connsiteY1725" fmla="*/ 4281562 h 6858000"/>
              <a:gd name="connsiteX1726" fmla="*/ 5423199 w 6569477"/>
              <a:gd name="connsiteY1726" fmla="*/ 4270944 h 6858000"/>
              <a:gd name="connsiteX1727" fmla="*/ 5425352 w 6569477"/>
              <a:gd name="connsiteY1727" fmla="*/ 4282606 h 6858000"/>
              <a:gd name="connsiteX1728" fmla="*/ 5424312 w 6569477"/>
              <a:gd name="connsiteY1728" fmla="*/ 4290032 h 6858000"/>
              <a:gd name="connsiteX1729" fmla="*/ 5435055 w 6569477"/>
              <a:gd name="connsiteY1729" fmla="*/ 4267818 h 6858000"/>
              <a:gd name="connsiteX1730" fmla="*/ 5436591 w 6569477"/>
              <a:gd name="connsiteY1730" fmla="*/ 4263308 h 6858000"/>
              <a:gd name="connsiteX1731" fmla="*/ 5439195 w 6569477"/>
              <a:gd name="connsiteY1731" fmla="*/ 4248207 h 6858000"/>
              <a:gd name="connsiteX1732" fmla="*/ 5438405 w 6569477"/>
              <a:gd name="connsiteY1732" fmla="*/ 4206160 h 6858000"/>
              <a:gd name="connsiteX1733" fmla="*/ 5446841 w 6569477"/>
              <a:gd name="connsiteY1733" fmla="*/ 4189290 h 6858000"/>
              <a:gd name="connsiteX1734" fmla="*/ 5446841 w 6569477"/>
              <a:gd name="connsiteY1734" fmla="*/ 4180852 h 6858000"/>
              <a:gd name="connsiteX1735" fmla="*/ 5438404 w 6569477"/>
              <a:gd name="connsiteY1735" fmla="*/ 4180854 h 6858000"/>
              <a:gd name="connsiteX1736" fmla="*/ 5455276 w 6569477"/>
              <a:gd name="connsiteY1736" fmla="*/ 4130240 h 6858000"/>
              <a:gd name="connsiteX1737" fmla="*/ 5455276 w 6569477"/>
              <a:gd name="connsiteY1737" fmla="*/ 4121804 h 6858000"/>
              <a:gd name="connsiteX1738" fmla="*/ 5455276 w 6569477"/>
              <a:gd name="connsiteY1738" fmla="*/ 4104933 h 6858000"/>
              <a:gd name="connsiteX1739" fmla="*/ 5455276 w 6569477"/>
              <a:gd name="connsiteY1739" fmla="*/ 4096497 h 6858000"/>
              <a:gd name="connsiteX1740" fmla="*/ 5463712 w 6569477"/>
              <a:gd name="connsiteY1740" fmla="*/ 4088062 h 6858000"/>
              <a:gd name="connsiteX1741" fmla="*/ 5463710 w 6569477"/>
              <a:gd name="connsiteY1741" fmla="*/ 4079626 h 6858000"/>
              <a:gd name="connsiteX1742" fmla="*/ 5463711 w 6569477"/>
              <a:gd name="connsiteY1742" fmla="*/ 4029012 h 6858000"/>
              <a:gd name="connsiteX1743" fmla="*/ 5463712 w 6569477"/>
              <a:gd name="connsiteY1743" fmla="*/ 4020574 h 6858000"/>
              <a:gd name="connsiteX1744" fmla="*/ 5463712 w 6569477"/>
              <a:gd name="connsiteY1744" fmla="*/ 4003705 h 6858000"/>
              <a:gd name="connsiteX1745" fmla="*/ 5463712 w 6569477"/>
              <a:gd name="connsiteY1745" fmla="*/ 3995269 h 6858000"/>
              <a:gd name="connsiteX1746" fmla="*/ 5463711 w 6569477"/>
              <a:gd name="connsiteY1746" fmla="*/ 3936219 h 6858000"/>
              <a:gd name="connsiteX1747" fmla="*/ 5480582 w 6569477"/>
              <a:gd name="connsiteY1747" fmla="*/ 3902476 h 6858000"/>
              <a:gd name="connsiteX1748" fmla="*/ 5489019 w 6569477"/>
              <a:gd name="connsiteY1748" fmla="*/ 3894042 h 6858000"/>
              <a:gd name="connsiteX1749" fmla="*/ 5489019 w 6569477"/>
              <a:gd name="connsiteY1749" fmla="*/ 3885606 h 6858000"/>
              <a:gd name="connsiteX1750" fmla="*/ 5480583 w 6569477"/>
              <a:gd name="connsiteY1750" fmla="*/ 3885606 h 6858000"/>
              <a:gd name="connsiteX1751" fmla="*/ 5480584 w 6569477"/>
              <a:gd name="connsiteY1751" fmla="*/ 3894040 h 6858000"/>
              <a:gd name="connsiteX1752" fmla="*/ 5472148 w 6569477"/>
              <a:gd name="connsiteY1752" fmla="*/ 3860298 h 6858000"/>
              <a:gd name="connsiteX1753" fmla="*/ 5489019 w 6569477"/>
              <a:gd name="connsiteY1753" fmla="*/ 3860299 h 6858000"/>
              <a:gd name="connsiteX1754" fmla="*/ 5496941 w 6569477"/>
              <a:gd name="connsiteY1754" fmla="*/ 3868220 h 6858000"/>
              <a:gd name="connsiteX1755" fmla="*/ 5493896 w 6569477"/>
              <a:gd name="connsiteY1755" fmla="*/ 3915262 h 6858000"/>
              <a:gd name="connsiteX1756" fmla="*/ 5497452 w 6569477"/>
              <a:gd name="connsiteY1756" fmla="*/ 4037447 h 6858000"/>
              <a:gd name="connsiteX1757" fmla="*/ 5489016 w 6569477"/>
              <a:gd name="connsiteY1757" fmla="*/ 4045883 h 6858000"/>
              <a:gd name="connsiteX1758" fmla="*/ 5489019 w 6569477"/>
              <a:gd name="connsiteY1758" fmla="*/ 4054319 h 6858000"/>
              <a:gd name="connsiteX1759" fmla="*/ 5489386 w 6569477"/>
              <a:gd name="connsiteY1759" fmla="*/ 4063858 h 6858000"/>
              <a:gd name="connsiteX1760" fmla="*/ 5490041 w 6569477"/>
              <a:gd name="connsiteY1760" fmla="*/ 4061970 h 6858000"/>
              <a:gd name="connsiteX1761" fmla="*/ 5508475 w 6569477"/>
              <a:gd name="connsiteY1761" fmla="*/ 4040599 h 6858000"/>
              <a:gd name="connsiteX1762" fmla="*/ 5508331 w 6569477"/>
              <a:gd name="connsiteY1762" fmla="*/ 3987570 h 6858000"/>
              <a:gd name="connsiteX1763" fmla="*/ 5535669 w 6569477"/>
              <a:gd name="connsiteY1763" fmla="*/ 3900538 h 6858000"/>
              <a:gd name="connsiteX1764" fmla="*/ 5551347 w 6569477"/>
              <a:gd name="connsiteY1764" fmla="*/ 3815654 h 6858000"/>
              <a:gd name="connsiteX1765" fmla="*/ 5567239 w 6569477"/>
              <a:gd name="connsiteY1765" fmla="*/ 3810315 h 6858000"/>
              <a:gd name="connsiteX1766" fmla="*/ 5597339 w 6569477"/>
              <a:gd name="connsiteY1766" fmla="*/ 3568431 h 6858000"/>
              <a:gd name="connsiteX1767" fmla="*/ 5580406 w 6569477"/>
              <a:gd name="connsiteY1767" fmla="*/ 3581198 h 6858000"/>
              <a:gd name="connsiteX1768" fmla="*/ 5623492 w 6569477"/>
              <a:gd name="connsiteY1768" fmla="*/ 3435797 h 6858000"/>
              <a:gd name="connsiteX1769" fmla="*/ 5627870 w 6569477"/>
              <a:gd name="connsiteY1769" fmla="*/ 3485634 h 6858000"/>
              <a:gd name="connsiteX1770" fmla="*/ 5628909 w 6569477"/>
              <a:gd name="connsiteY1770" fmla="*/ 3478208 h 6858000"/>
              <a:gd name="connsiteX1771" fmla="*/ 5633142 w 6569477"/>
              <a:gd name="connsiteY1771" fmla="*/ 3475016 h 6858000"/>
              <a:gd name="connsiteX1772" fmla="*/ 5631062 w 6569477"/>
              <a:gd name="connsiteY1772" fmla="*/ 3489870 h 6858000"/>
              <a:gd name="connsiteX1773" fmla="*/ 5634255 w 6569477"/>
              <a:gd name="connsiteY1773" fmla="*/ 3494104 h 6858000"/>
              <a:gd name="connsiteX1774" fmla="*/ 5630021 w 6569477"/>
              <a:gd name="connsiteY1774" fmla="*/ 3497296 h 6858000"/>
              <a:gd name="connsiteX1775" fmla="*/ 5608173 w 6569477"/>
              <a:gd name="connsiteY1775" fmla="*/ 3653253 h 6858000"/>
              <a:gd name="connsiteX1776" fmla="*/ 5592710 w 6569477"/>
              <a:gd name="connsiteY1776" fmla="*/ 3817680 h 6858000"/>
              <a:gd name="connsiteX1777" fmla="*/ 5581051 w 6569477"/>
              <a:gd name="connsiteY1777" fmla="*/ 3819828 h 6858000"/>
              <a:gd name="connsiteX1778" fmla="*/ 5575920 w 6569477"/>
              <a:gd name="connsiteY1778" fmla="*/ 3883475 h 6858000"/>
              <a:gd name="connsiteX1779" fmla="*/ 5563598 w 6569477"/>
              <a:gd name="connsiteY1779" fmla="*/ 3934280 h 6858000"/>
              <a:gd name="connsiteX1780" fmla="*/ 5562972 w 6569477"/>
              <a:gd name="connsiteY1780" fmla="*/ 3937349 h 6858000"/>
              <a:gd name="connsiteX1781" fmla="*/ 5571794 w 6569477"/>
              <a:gd name="connsiteY1781" fmla="*/ 3923038 h 6858000"/>
              <a:gd name="connsiteX1782" fmla="*/ 5623989 w 6569477"/>
              <a:gd name="connsiteY1782" fmla="*/ 3775941 h 6858000"/>
              <a:gd name="connsiteX1783" fmla="*/ 5632426 w 6569477"/>
              <a:gd name="connsiteY1783" fmla="*/ 3767506 h 6858000"/>
              <a:gd name="connsiteX1784" fmla="*/ 5640861 w 6569477"/>
              <a:gd name="connsiteY1784" fmla="*/ 3759071 h 6858000"/>
              <a:gd name="connsiteX1785" fmla="*/ 5649298 w 6569477"/>
              <a:gd name="connsiteY1785" fmla="*/ 3767505 h 6858000"/>
              <a:gd name="connsiteX1786" fmla="*/ 5649298 w 6569477"/>
              <a:gd name="connsiteY1786" fmla="*/ 3742197 h 6858000"/>
              <a:gd name="connsiteX1787" fmla="*/ 5683041 w 6569477"/>
              <a:gd name="connsiteY1787" fmla="*/ 3581921 h 6858000"/>
              <a:gd name="connsiteX1788" fmla="*/ 5691475 w 6569477"/>
              <a:gd name="connsiteY1788" fmla="*/ 3598792 h 6858000"/>
              <a:gd name="connsiteX1789" fmla="*/ 5732996 w 6569477"/>
              <a:gd name="connsiteY1789" fmla="*/ 3493610 h 6858000"/>
              <a:gd name="connsiteX1790" fmla="*/ 5733449 w 6569477"/>
              <a:gd name="connsiteY1790" fmla="*/ 3493806 h 6858000"/>
              <a:gd name="connsiteX1791" fmla="*/ 5734014 w 6569477"/>
              <a:gd name="connsiteY1791" fmla="*/ 3473633 h 6858000"/>
              <a:gd name="connsiteX1792" fmla="*/ 5730509 w 6569477"/>
              <a:gd name="connsiteY1792" fmla="*/ 3460815 h 6858000"/>
              <a:gd name="connsiteX1793" fmla="*/ 5743964 w 6569477"/>
              <a:gd name="connsiteY1793" fmla="*/ 3328941 h 6858000"/>
              <a:gd name="connsiteX1794" fmla="*/ 5761038 w 6569477"/>
              <a:gd name="connsiteY1794" fmla="*/ 3286983 h 6858000"/>
              <a:gd name="connsiteX1795" fmla="*/ 5751435 w 6569477"/>
              <a:gd name="connsiteY1795" fmla="*/ 3234831 h 6858000"/>
              <a:gd name="connsiteX1796" fmla="*/ 5762802 w 6569477"/>
              <a:gd name="connsiteY1796" fmla="*/ 3144319 h 6858000"/>
              <a:gd name="connsiteX1797" fmla="*/ 5763082 w 6569477"/>
              <a:gd name="connsiteY1797" fmla="*/ 3058000 h 6858000"/>
              <a:gd name="connsiteX1798" fmla="*/ 5777766 w 6569477"/>
              <a:gd name="connsiteY1798" fmla="*/ 3049910 h 6858000"/>
              <a:gd name="connsiteX1799" fmla="*/ 5764220 w 6569477"/>
              <a:gd name="connsiteY1799" fmla="*/ 2806537 h 6858000"/>
              <a:gd name="connsiteX1800" fmla="*/ 5759877 w 6569477"/>
              <a:gd name="connsiteY1800" fmla="*/ 2815776 h 6858000"/>
              <a:gd name="connsiteX1801" fmla="*/ 5758962 w 6569477"/>
              <a:gd name="connsiteY1801" fmla="*/ 2839583 h 6858000"/>
              <a:gd name="connsiteX1802" fmla="*/ 5750526 w 6569477"/>
              <a:gd name="connsiteY1802" fmla="*/ 2831148 h 6858000"/>
              <a:gd name="connsiteX1803" fmla="*/ 5750526 w 6569477"/>
              <a:gd name="connsiteY1803" fmla="*/ 2822713 h 6858000"/>
              <a:gd name="connsiteX1804" fmla="*/ 5750526 w 6569477"/>
              <a:gd name="connsiteY1804" fmla="*/ 2822277 h 6858000"/>
              <a:gd name="connsiteX1805" fmla="*/ 5749837 w 6569477"/>
              <a:gd name="connsiteY1805" fmla="*/ 2822120 h 6858000"/>
              <a:gd name="connsiteX1806" fmla="*/ 5747894 w 6569477"/>
              <a:gd name="connsiteY1806" fmla="*/ 2797782 h 6858000"/>
              <a:gd name="connsiteX1807" fmla="*/ 5743144 w 6569477"/>
              <a:gd name="connsiteY1807" fmla="*/ 2798460 h 6858000"/>
              <a:gd name="connsiteX1808" fmla="*/ 5742091 w 6569477"/>
              <a:gd name="connsiteY1808" fmla="*/ 2805842 h 6858000"/>
              <a:gd name="connsiteX1809" fmla="*/ 5742091 w 6569477"/>
              <a:gd name="connsiteY1809" fmla="*/ 2814279 h 6858000"/>
              <a:gd name="connsiteX1810" fmla="*/ 5742090 w 6569477"/>
              <a:gd name="connsiteY1810" fmla="*/ 2822713 h 6858000"/>
              <a:gd name="connsiteX1811" fmla="*/ 5733655 w 6569477"/>
              <a:gd name="connsiteY1811" fmla="*/ 2848019 h 6858000"/>
              <a:gd name="connsiteX1812" fmla="*/ 5742090 w 6569477"/>
              <a:gd name="connsiteY1812" fmla="*/ 2856452 h 6858000"/>
              <a:gd name="connsiteX1813" fmla="*/ 5742091 w 6569477"/>
              <a:gd name="connsiteY1813" fmla="*/ 2848019 h 6858000"/>
              <a:gd name="connsiteX1814" fmla="*/ 5750526 w 6569477"/>
              <a:gd name="connsiteY1814" fmla="*/ 2839583 h 6858000"/>
              <a:gd name="connsiteX1815" fmla="*/ 5750526 w 6569477"/>
              <a:gd name="connsiteY1815" fmla="*/ 2864888 h 6858000"/>
              <a:gd name="connsiteX1816" fmla="*/ 5750525 w 6569477"/>
              <a:gd name="connsiteY1816" fmla="*/ 2873326 h 6858000"/>
              <a:gd name="connsiteX1817" fmla="*/ 5708345 w 6569477"/>
              <a:gd name="connsiteY1817" fmla="*/ 2940812 h 6858000"/>
              <a:gd name="connsiteX1818" fmla="*/ 5699912 w 6569477"/>
              <a:gd name="connsiteY1818" fmla="*/ 2839583 h 6858000"/>
              <a:gd name="connsiteX1819" fmla="*/ 5689894 w 6569477"/>
              <a:gd name="connsiteY1819" fmla="*/ 2840110 h 6858000"/>
              <a:gd name="connsiteX1820" fmla="*/ 5683185 w 6569477"/>
              <a:gd name="connsiteY1820" fmla="*/ 2849917 h 6858000"/>
              <a:gd name="connsiteX1821" fmla="*/ 5682885 w 6569477"/>
              <a:gd name="connsiteY1821" fmla="*/ 2853046 h 6858000"/>
              <a:gd name="connsiteX1822" fmla="*/ 5680651 w 6569477"/>
              <a:gd name="connsiteY1822" fmla="*/ 2856536 h 6858000"/>
              <a:gd name="connsiteX1823" fmla="*/ 5680060 w 6569477"/>
              <a:gd name="connsiteY1823" fmla="*/ 2855859 h 6858000"/>
              <a:gd name="connsiteX1824" fmla="*/ 5676293 w 6569477"/>
              <a:gd name="connsiteY1824" fmla="*/ 2863103 h 6858000"/>
              <a:gd name="connsiteX1825" fmla="*/ 5680760 w 6569477"/>
              <a:gd name="connsiteY1825" fmla="*/ 2886509 h 6858000"/>
              <a:gd name="connsiteX1826" fmla="*/ 5688352 w 6569477"/>
              <a:gd name="connsiteY1826" fmla="*/ 2910389 h 6858000"/>
              <a:gd name="connsiteX1827" fmla="*/ 5696772 w 6569477"/>
              <a:gd name="connsiteY1827" fmla="*/ 3000293 h 6858000"/>
              <a:gd name="connsiteX1828" fmla="*/ 5692141 w 6569477"/>
              <a:gd name="connsiteY1828" fmla="*/ 3081094 h 6858000"/>
              <a:gd name="connsiteX1829" fmla="*/ 5679091 w 6569477"/>
              <a:gd name="connsiteY1829" fmla="*/ 3071991 h 6858000"/>
              <a:gd name="connsiteX1830" fmla="*/ 5688029 w 6569477"/>
              <a:gd name="connsiteY1830" fmla="*/ 3207504 h 6858000"/>
              <a:gd name="connsiteX1831" fmla="*/ 5692217 w 6569477"/>
              <a:gd name="connsiteY1831" fmla="*/ 3359096 h 6858000"/>
              <a:gd name="connsiteX1832" fmla="*/ 5673101 w 6569477"/>
              <a:gd name="connsiteY1832" fmla="*/ 3358689 h 6858000"/>
              <a:gd name="connsiteX1833" fmla="*/ 5668351 w 6569477"/>
              <a:gd name="connsiteY1833" fmla="*/ 3374768 h 6858000"/>
              <a:gd name="connsiteX1834" fmla="*/ 5662684 w 6569477"/>
              <a:gd name="connsiteY1834" fmla="*/ 3364351 h 6858000"/>
              <a:gd name="connsiteX1835" fmla="*/ 5661368 w 6569477"/>
              <a:gd name="connsiteY1835" fmla="*/ 3356969 h 6858000"/>
              <a:gd name="connsiteX1836" fmla="*/ 5654384 w 6569477"/>
              <a:gd name="connsiteY1836" fmla="*/ 3339170 h 6858000"/>
              <a:gd name="connsiteX1837" fmla="*/ 5661768 w 6569477"/>
              <a:gd name="connsiteY1837" fmla="*/ 3337856 h 6858000"/>
              <a:gd name="connsiteX1838" fmla="*/ 5663483 w 6569477"/>
              <a:gd name="connsiteY1838" fmla="*/ 3326125 h 6858000"/>
              <a:gd name="connsiteX1839" fmla="*/ 5669150 w 6569477"/>
              <a:gd name="connsiteY1839" fmla="*/ 3336542 h 6858000"/>
              <a:gd name="connsiteX1840" fmla="*/ 5670467 w 6569477"/>
              <a:gd name="connsiteY1840" fmla="*/ 3343924 h 6858000"/>
              <a:gd name="connsiteX1841" fmla="*/ 5666398 w 6569477"/>
              <a:gd name="connsiteY1841" fmla="*/ 3257055 h 6858000"/>
              <a:gd name="connsiteX1842" fmla="*/ 5661810 w 6569477"/>
              <a:gd name="connsiteY1842" fmla="*/ 3124576 h 6858000"/>
              <a:gd name="connsiteX1843" fmla="*/ 5673025 w 6569477"/>
              <a:gd name="connsiteY1843" fmla="*/ 3080687 h 6858000"/>
              <a:gd name="connsiteX1844" fmla="*/ 5656425 w 6569477"/>
              <a:gd name="connsiteY1844" fmla="*/ 3030323 h 6858000"/>
              <a:gd name="connsiteX1845" fmla="*/ 5655388 w 6569477"/>
              <a:gd name="connsiteY1845" fmla="*/ 2939106 h 6858000"/>
              <a:gd name="connsiteX1846" fmla="*/ 5643936 w 6569477"/>
              <a:gd name="connsiteY1846" fmla="*/ 2853549 h 6858000"/>
              <a:gd name="connsiteX1847" fmla="*/ 5657385 w 6569477"/>
              <a:gd name="connsiteY1847" fmla="*/ 2843539 h 6858000"/>
              <a:gd name="connsiteX1848" fmla="*/ 5657146 w 6569477"/>
              <a:gd name="connsiteY1848" fmla="*/ 2841276 h 6858000"/>
              <a:gd name="connsiteX1849" fmla="*/ 5648243 w 6569477"/>
              <a:gd name="connsiteY1849" fmla="*/ 2809663 h 6858000"/>
              <a:gd name="connsiteX1850" fmla="*/ 5581811 w 6569477"/>
              <a:gd name="connsiteY1850" fmla="*/ 2670869 h 6858000"/>
              <a:gd name="connsiteX1851" fmla="*/ 5581812 w 6569477"/>
              <a:gd name="connsiteY1851" fmla="*/ 2662431 h 6858000"/>
              <a:gd name="connsiteX1852" fmla="*/ 5581812 w 6569477"/>
              <a:gd name="connsiteY1852" fmla="*/ 2645563 h 6858000"/>
              <a:gd name="connsiteX1853" fmla="*/ 5573376 w 6569477"/>
              <a:gd name="connsiteY1853" fmla="*/ 2637125 h 6858000"/>
              <a:gd name="connsiteX1854" fmla="*/ 5548068 w 6569477"/>
              <a:gd name="connsiteY1854" fmla="*/ 2544335 h 6858000"/>
              <a:gd name="connsiteX1855" fmla="*/ 5539634 w 6569477"/>
              <a:gd name="connsiteY1855" fmla="*/ 2510592 h 6858000"/>
              <a:gd name="connsiteX1856" fmla="*/ 5531197 w 6569477"/>
              <a:gd name="connsiteY1856" fmla="*/ 2502157 h 6858000"/>
              <a:gd name="connsiteX1857" fmla="*/ 5531198 w 6569477"/>
              <a:gd name="connsiteY1857" fmla="*/ 2493721 h 6858000"/>
              <a:gd name="connsiteX1858" fmla="*/ 5522761 w 6569477"/>
              <a:gd name="connsiteY1858" fmla="*/ 2493721 h 6858000"/>
              <a:gd name="connsiteX1859" fmla="*/ 5522762 w 6569477"/>
              <a:gd name="connsiteY1859" fmla="*/ 2485285 h 6858000"/>
              <a:gd name="connsiteX1860" fmla="*/ 5505889 w 6569477"/>
              <a:gd name="connsiteY1860" fmla="*/ 2451543 h 6858000"/>
              <a:gd name="connsiteX1861" fmla="*/ 5497455 w 6569477"/>
              <a:gd name="connsiteY1861" fmla="*/ 2476850 h 6858000"/>
              <a:gd name="connsiteX1862" fmla="*/ 5480584 w 6569477"/>
              <a:gd name="connsiteY1862" fmla="*/ 2459978 h 6858000"/>
              <a:gd name="connsiteX1863" fmla="*/ 5472147 w 6569477"/>
              <a:gd name="connsiteY1863" fmla="*/ 2384058 h 6858000"/>
              <a:gd name="connsiteX1864" fmla="*/ 5404661 w 6569477"/>
              <a:gd name="connsiteY1864" fmla="*/ 2181601 h 6858000"/>
              <a:gd name="connsiteX1865" fmla="*/ 5387791 w 6569477"/>
              <a:gd name="connsiteY1865" fmla="*/ 2130985 h 6858000"/>
              <a:gd name="connsiteX1866" fmla="*/ 5328740 w 6569477"/>
              <a:gd name="connsiteY1866" fmla="*/ 1962273 h 6858000"/>
              <a:gd name="connsiteX1867" fmla="*/ 5328741 w 6569477"/>
              <a:gd name="connsiteY1867" fmla="*/ 1936967 h 6858000"/>
              <a:gd name="connsiteX1868" fmla="*/ 5311869 w 6569477"/>
              <a:gd name="connsiteY1868" fmla="*/ 1920096 h 6858000"/>
              <a:gd name="connsiteX1869" fmla="*/ 5320307 w 6569477"/>
              <a:gd name="connsiteY1869" fmla="*/ 1911660 h 6858000"/>
              <a:gd name="connsiteX1870" fmla="*/ 5269693 w 6569477"/>
              <a:gd name="connsiteY1870" fmla="*/ 1793560 h 6858000"/>
              <a:gd name="connsiteX1871" fmla="*/ 5286562 w 6569477"/>
              <a:gd name="connsiteY1871" fmla="*/ 1793561 h 6858000"/>
              <a:gd name="connsiteX1872" fmla="*/ 5261255 w 6569477"/>
              <a:gd name="connsiteY1872" fmla="*/ 1768254 h 6858000"/>
              <a:gd name="connsiteX1873" fmla="*/ 5235948 w 6569477"/>
              <a:gd name="connsiteY1873" fmla="*/ 1709201 h 6858000"/>
              <a:gd name="connsiteX1874" fmla="*/ 5235947 w 6569477"/>
              <a:gd name="connsiteY1874" fmla="*/ 1700769 h 6858000"/>
              <a:gd name="connsiteX1875" fmla="*/ 5244383 w 6569477"/>
              <a:gd name="connsiteY1875" fmla="*/ 1700769 h 6858000"/>
              <a:gd name="connsiteX1876" fmla="*/ 5252819 w 6569477"/>
              <a:gd name="connsiteY1876" fmla="*/ 1700767 h 6858000"/>
              <a:gd name="connsiteX1877" fmla="*/ 5252819 w 6569477"/>
              <a:gd name="connsiteY1877" fmla="*/ 1692332 h 6858000"/>
              <a:gd name="connsiteX1878" fmla="*/ 5244383 w 6569477"/>
              <a:gd name="connsiteY1878" fmla="*/ 1650153 h 6858000"/>
              <a:gd name="connsiteX1879" fmla="*/ 5252818 w 6569477"/>
              <a:gd name="connsiteY1879" fmla="*/ 1650152 h 6858000"/>
              <a:gd name="connsiteX1880" fmla="*/ 5252819 w 6569477"/>
              <a:gd name="connsiteY1880" fmla="*/ 1641718 h 6858000"/>
              <a:gd name="connsiteX1881" fmla="*/ 5244385 w 6569477"/>
              <a:gd name="connsiteY1881" fmla="*/ 1633283 h 6858000"/>
              <a:gd name="connsiteX1882" fmla="*/ 5176900 w 6569477"/>
              <a:gd name="connsiteY1882" fmla="*/ 1473003 h 6858000"/>
              <a:gd name="connsiteX1883" fmla="*/ 5084104 w 6569477"/>
              <a:gd name="connsiteY1883" fmla="*/ 1312727 h 6858000"/>
              <a:gd name="connsiteX1884" fmla="*/ 5055633 w 6569477"/>
              <a:gd name="connsiteY1884" fmla="*/ 1250514 h 6858000"/>
              <a:gd name="connsiteX1885" fmla="*/ 5041658 w 6569477"/>
              <a:gd name="connsiteY1885" fmla="*/ 1226599 h 6858000"/>
              <a:gd name="connsiteX1886" fmla="*/ 5093541 w 6569477"/>
              <a:gd name="connsiteY1886" fmla="*/ 1340967 h 6858000"/>
              <a:gd name="connsiteX1887" fmla="*/ 5398999 w 6569477"/>
              <a:gd name="connsiteY1887" fmla="*/ 2412246 h 6858000"/>
              <a:gd name="connsiteX1888" fmla="*/ 5458394 w 6569477"/>
              <a:gd name="connsiteY1888" fmla="*/ 2833367 h 6858000"/>
              <a:gd name="connsiteX1889" fmla="*/ 5448705 w 6569477"/>
              <a:gd name="connsiteY1889" fmla="*/ 2871734 h 6858000"/>
              <a:gd name="connsiteX1890" fmla="*/ 5431304 w 6569477"/>
              <a:gd name="connsiteY1890" fmla="*/ 2855892 h 6858000"/>
              <a:gd name="connsiteX1891" fmla="*/ 5100400 w 6569477"/>
              <a:gd name="connsiteY1891" fmla="*/ 1533070 h 6858000"/>
              <a:gd name="connsiteX1892" fmla="*/ 4793286 w 6569477"/>
              <a:gd name="connsiteY1892" fmla="*/ 888652 h 6858000"/>
              <a:gd name="connsiteX1893" fmla="*/ 4754611 w 6569477"/>
              <a:gd name="connsiteY1893" fmla="*/ 811200 h 6858000"/>
              <a:gd name="connsiteX1894" fmla="*/ 4736788 w 6569477"/>
              <a:gd name="connsiteY1894" fmla="*/ 782554 h 6858000"/>
              <a:gd name="connsiteX1895" fmla="*/ 4722369 w 6569477"/>
              <a:gd name="connsiteY1895" fmla="*/ 785144 h 6858000"/>
              <a:gd name="connsiteX1896" fmla="*/ 4716525 w 6569477"/>
              <a:gd name="connsiteY1896" fmla="*/ 831944 h 6858000"/>
              <a:gd name="connsiteX1897" fmla="*/ 4878628 w 6569477"/>
              <a:gd name="connsiteY1897" fmla="*/ 1128191 h 6858000"/>
              <a:gd name="connsiteX1898" fmla="*/ 5018643 w 6569477"/>
              <a:gd name="connsiteY1898" fmla="*/ 1444415 h 6858000"/>
              <a:gd name="connsiteX1899" fmla="*/ 5107372 w 6569477"/>
              <a:gd name="connsiteY1899" fmla="*/ 1685936 h 6858000"/>
              <a:gd name="connsiteX1900" fmla="*/ 5109411 w 6569477"/>
              <a:gd name="connsiteY1900" fmla="*/ 1683895 h 6858000"/>
              <a:gd name="connsiteX1901" fmla="*/ 5151590 w 6569477"/>
              <a:gd name="connsiteY1901" fmla="*/ 1785122 h 6858000"/>
              <a:gd name="connsiteX1902" fmla="*/ 5143154 w 6569477"/>
              <a:gd name="connsiteY1902" fmla="*/ 1785122 h 6858000"/>
              <a:gd name="connsiteX1903" fmla="*/ 5134721 w 6569477"/>
              <a:gd name="connsiteY1903" fmla="*/ 1751382 h 6858000"/>
              <a:gd name="connsiteX1904" fmla="*/ 5122261 w 6569477"/>
              <a:gd name="connsiteY1904" fmla="*/ 1726462 h 6858000"/>
              <a:gd name="connsiteX1905" fmla="*/ 5136116 w 6569477"/>
              <a:gd name="connsiteY1905" fmla="*/ 1764180 h 6858000"/>
              <a:gd name="connsiteX1906" fmla="*/ 5157687 w 6569477"/>
              <a:gd name="connsiteY1906" fmla="*/ 1838582 h 6858000"/>
              <a:gd name="connsiteX1907" fmla="*/ 5167407 w 6569477"/>
              <a:gd name="connsiteY1907" fmla="*/ 1843119 h 6858000"/>
              <a:gd name="connsiteX1908" fmla="*/ 5176898 w 6569477"/>
              <a:gd name="connsiteY1908" fmla="*/ 1844173 h 6858000"/>
              <a:gd name="connsiteX1909" fmla="*/ 5176898 w 6569477"/>
              <a:gd name="connsiteY1909" fmla="*/ 1861046 h 6858000"/>
              <a:gd name="connsiteX1910" fmla="*/ 5168464 w 6569477"/>
              <a:gd name="connsiteY1910" fmla="*/ 1861046 h 6858000"/>
              <a:gd name="connsiteX1911" fmla="*/ 5168463 w 6569477"/>
              <a:gd name="connsiteY1911" fmla="*/ 1869480 h 6858000"/>
              <a:gd name="connsiteX1912" fmla="*/ 5168462 w 6569477"/>
              <a:gd name="connsiteY1912" fmla="*/ 1875756 h 6858000"/>
              <a:gd name="connsiteX1913" fmla="*/ 5229895 w 6569477"/>
              <a:gd name="connsiteY1913" fmla="*/ 2087656 h 6858000"/>
              <a:gd name="connsiteX1914" fmla="*/ 5242098 w 6569477"/>
              <a:gd name="connsiteY1914" fmla="*/ 2145617 h 6858000"/>
              <a:gd name="connsiteX1915" fmla="*/ 5261255 w 6569477"/>
              <a:gd name="connsiteY1915" fmla="*/ 2173166 h 6858000"/>
              <a:gd name="connsiteX1916" fmla="*/ 5278125 w 6569477"/>
              <a:gd name="connsiteY1916" fmla="*/ 2215342 h 6858000"/>
              <a:gd name="connsiteX1917" fmla="*/ 5286562 w 6569477"/>
              <a:gd name="connsiteY1917" fmla="*/ 2265959 h 6858000"/>
              <a:gd name="connsiteX1918" fmla="*/ 5303433 w 6569477"/>
              <a:gd name="connsiteY1918" fmla="*/ 2325006 h 6858000"/>
              <a:gd name="connsiteX1919" fmla="*/ 5320305 w 6569477"/>
              <a:gd name="connsiteY1919" fmla="*/ 2409365 h 6858000"/>
              <a:gd name="connsiteX1920" fmla="*/ 5337176 w 6569477"/>
              <a:gd name="connsiteY1920" fmla="*/ 2459978 h 6858000"/>
              <a:gd name="connsiteX1921" fmla="*/ 5337176 w 6569477"/>
              <a:gd name="connsiteY1921" fmla="*/ 2468415 h 6858000"/>
              <a:gd name="connsiteX1922" fmla="*/ 5354048 w 6569477"/>
              <a:gd name="connsiteY1922" fmla="*/ 2535897 h 6858000"/>
              <a:gd name="connsiteX1923" fmla="*/ 5370919 w 6569477"/>
              <a:gd name="connsiteY1923" fmla="*/ 2594947 h 6858000"/>
              <a:gd name="connsiteX1924" fmla="*/ 5379353 w 6569477"/>
              <a:gd name="connsiteY1924" fmla="*/ 2620256 h 6858000"/>
              <a:gd name="connsiteX1925" fmla="*/ 5379355 w 6569477"/>
              <a:gd name="connsiteY1925" fmla="*/ 2628692 h 6858000"/>
              <a:gd name="connsiteX1926" fmla="*/ 5370919 w 6569477"/>
              <a:gd name="connsiteY1926" fmla="*/ 2653998 h 6858000"/>
              <a:gd name="connsiteX1927" fmla="*/ 5370919 w 6569477"/>
              <a:gd name="connsiteY1927" fmla="*/ 2662431 h 6858000"/>
              <a:gd name="connsiteX1928" fmla="*/ 5379355 w 6569477"/>
              <a:gd name="connsiteY1928" fmla="*/ 2679304 h 6858000"/>
              <a:gd name="connsiteX1929" fmla="*/ 5387791 w 6569477"/>
              <a:gd name="connsiteY1929" fmla="*/ 2679306 h 6858000"/>
              <a:gd name="connsiteX1930" fmla="*/ 5387790 w 6569477"/>
              <a:gd name="connsiteY1930" fmla="*/ 2721484 h 6858000"/>
              <a:gd name="connsiteX1931" fmla="*/ 5396226 w 6569477"/>
              <a:gd name="connsiteY1931" fmla="*/ 2729919 h 6858000"/>
              <a:gd name="connsiteX1932" fmla="*/ 5396226 w 6569477"/>
              <a:gd name="connsiteY1932" fmla="*/ 2721484 h 6858000"/>
              <a:gd name="connsiteX1933" fmla="*/ 5387791 w 6569477"/>
              <a:gd name="connsiteY1933" fmla="*/ 2679306 h 6858000"/>
              <a:gd name="connsiteX1934" fmla="*/ 5396226 w 6569477"/>
              <a:gd name="connsiteY1934" fmla="*/ 2679306 h 6858000"/>
              <a:gd name="connsiteX1935" fmla="*/ 5396225 w 6569477"/>
              <a:gd name="connsiteY1935" fmla="*/ 2696176 h 6858000"/>
              <a:gd name="connsiteX1936" fmla="*/ 5396226 w 6569477"/>
              <a:gd name="connsiteY1936" fmla="*/ 2704613 h 6858000"/>
              <a:gd name="connsiteX1937" fmla="*/ 5404662 w 6569477"/>
              <a:gd name="connsiteY1937" fmla="*/ 2729919 h 6858000"/>
              <a:gd name="connsiteX1938" fmla="*/ 5404661 w 6569477"/>
              <a:gd name="connsiteY1938" fmla="*/ 2763661 h 6858000"/>
              <a:gd name="connsiteX1939" fmla="*/ 5396224 w 6569477"/>
              <a:gd name="connsiteY1939" fmla="*/ 2755225 h 6858000"/>
              <a:gd name="connsiteX1940" fmla="*/ 5396225 w 6569477"/>
              <a:gd name="connsiteY1940" fmla="*/ 2772097 h 6858000"/>
              <a:gd name="connsiteX1941" fmla="*/ 5396225 w 6569477"/>
              <a:gd name="connsiteY1941" fmla="*/ 2788969 h 6858000"/>
              <a:gd name="connsiteX1942" fmla="*/ 5404662 w 6569477"/>
              <a:gd name="connsiteY1942" fmla="*/ 2814279 h 6858000"/>
              <a:gd name="connsiteX1943" fmla="*/ 5404661 w 6569477"/>
              <a:gd name="connsiteY1943" fmla="*/ 2831146 h 6858000"/>
              <a:gd name="connsiteX1944" fmla="*/ 5413098 w 6569477"/>
              <a:gd name="connsiteY1944" fmla="*/ 2839583 h 6858000"/>
              <a:gd name="connsiteX1945" fmla="*/ 5421533 w 6569477"/>
              <a:gd name="connsiteY1945" fmla="*/ 2864890 h 6858000"/>
              <a:gd name="connsiteX1946" fmla="*/ 5421534 w 6569477"/>
              <a:gd name="connsiteY1946" fmla="*/ 2881764 h 6858000"/>
              <a:gd name="connsiteX1947" fmla="*/ 5413098 w 6569477"/>
              <a:gd name="connsiteY1947" fmla="*/ 2890197 h 6858000"/>
              <a:gd name="connsiteX1948" fmla="*/ 5421534 w 6569477"/>
              <a:gd name="connsiteY1948" fmla="*/ 2898631 h 6858000"/>
              <a:gd name="connsiteX1949" fmla="*/ 5413098 w 6569477"/>
              <a:gd name="connsiteY1949" fmla="*/ 2915506 h 6858000"/>
              <a:gd name="connsiteX1950" fmla="*/ 5421534 w 6569477"/>
              <a:gd name="connsiteY1950" fmla="*/ 2932377 h 6858000"/>
              <a:gd name="connsiteX1951" fmla="*/ 5429969 w 6569477"/>
              <a:gd name="connsiteY1951" fmla="*/ 2923940 h 6858000"/>
              <a:gd name="connsiteX1952" fmla="*/ 5429969 w 6569477"/>
              <a:gd name="connsiteY1952" fmla="*/ 2949247 h 6858000"/>
              <a:gd name="connsiteX1953" fmla="*/ 5429967 w 6569477"/>
              <a:gd name="connsiteY1953" fmla="*/ 2957684 h 6858000"/>
              <a:gd name="connsiteX1954" fmla="*/ 5438405 w 6569477"/>
              <a:gd name="connsiteY1954" fmla="*/ 2991425 h 6858000"/>
              <a:gd name="connsiteX1955" fmla="*/ 5438405 w 6569477"/>
              <a:gd name="connsiteY1955" fmla="*/ 3025167 h 6858000"/>
              <a:gd name="connsiteX1956" fmla="*/ 5438405 w 6569477"/>
              <a:gd name="connsiteY1956" fmla="*/ 3050476 h 6858000"/>
              <a:gd name="connsiteX1957" fmla="*/ 5438405 w 6569477"/>
              <a:gd name="connsiteY1957" fmla="*/ 3101088 h 6858000"/>
              <a:gd name="connsiteX1958" fmla="*/ 5429969 w 6569477"/>
              <a:gd name="connsiteY1958" fmla="*/ 3126398 h 6858000"/>
              <a:gd name="connsiteX1959" fmla="*/ 5421534 w 6569477"/>
              <a:gd name="connsiteY1959" fmla="*/ 3117961 h 6858000"/>
              <a:gd name="connsiteX1960" fmla="*/ 5413096 w 6569477"/>
              <a:gd name="connsiteY1960" fmla="*/ 3109525 h 6858000"/>
              <a:gd name="connsiteX1961" fmla="*/ 5413098 w 6569477"/>
              <a:gd name="connsiteY1961" fmla="*/ 3117961 h 6858000"/>
              <a:gd name="connsiteX1962" fmla="*/ 5413098 w 6569477"/>
              <a:gd name="connsiteY1962" fmla="*/ 3126395 h 6858000"/>
              <a:gd name="connsiteX1963" fmla="*/ 5421533 w 6569477"/>
              <a:gd name="connsiteY1963" fmla="*/ 3134833 h 6858000"/>
              <a:gd name="connsiteX1964" fmla="*/ 5429969 w 6569477"/>
              <a:gd name="connsiteY1964" fmla="*/ 3143265 h 6858000"/>
              <a:gd name="connsiteX1965" fmla="*/ 5438404 w 6569477"/>
              <a:gd name="connsiteY1965" fmla="*/ 3143266 h 6858000"/>
              <a:gd name="connsiteX1966" fmla="*/ 5446840 w 6569477"/>
              <a:gd name="connsiteY1966" fmla="*/ 3101088 h 6858000"/>
              <a:gd name="connsiteX1967" fmla="*/ 5446838 w 6569477"/>
              <a:gd name="connsiteY1967" fmla="*/ 3092654 h 6858000"/>
              <a:gd name="connsiteX1968" fmla="*/ 5446840 w 6569477"/>
              <a:gd name="connsiteY1968" fmla="*/ 3058912 h 6858000"/>
              <a:gd name="connsiteX1969" fmla="*/ 5446841 w 6569477"/>
              <a:gd name="connsiteY1969" fmla="*/ 3042041 h 6858000"/>
              <a:gd name="connsiteX1970" fmla="*/ 5455276 w 6569477"/>
              <a:gd name="connsiteY1970" fmla="*/ 3084216 h 6858000"/>
              <a:gd name="connsiteX1971" fmla="*/ 5463712 w 6569477"/>
              <a:gd name="connsiteY1971" fmla="*/ 3134833 h 6858000"/>
              <a:gd name="connsiteX1972" fmla="*/ 5455276 w 6569477"/>
              <a:gd name="connsiteY1972" fmla="*/ 3151703 h 6858000"/>
              <a:gd name="connsiteX1973" fmla="*/ 5455276 w 6569477"/>
              <a:gd name="connsiteY1973" fmla="*/ 3168573 h 6858000"/>
              <a:gd name="connsiteX1974" fmla="*/ 5455273 w 6569477"/>
              <a:gd name="connsiteY1974" fmla="*/ 3210751 h 6858000"/>
              <a:gd name="connsiteX1975" fmla="*/ 5446841 w 6569477"/>
              <a:gd name="connsiteY1975" fmla="*/ 3202314 h 6858000"/>
              <a:gd name="connsiteX1976" fmla="*/ 5438405 w 6569477"/>
              <a:gd name="connsiteY1976" fmla="*/ 3202316 h 6858000"/>
              <a:gd name="connsiteX1977" fmla="*/ 5438405 w 6569477"/>
              <a:gd name="connsiteY1977" fmla="*/ 3210751 h 6858000"/>
              <a:gd name="connsiteX1978" fmla="*/ 5438405 w 6569477"/>
              <a:gd name="connsiteY1978" fmla="*/ 3219184 h 6858000"/>
              <a:gd name="connsiteX1979" fmla="*/ 5446841 w 6569477"/>
              <a:gd name="connsiteY1979" fmla="*/ 3227621 h 6858000"/>
              <a:gd name="connsiteX1980" fmla="*/ 5446840 w 6569477"/>
              <a:gd name="connsiteY1980" fmla="*/ 3236060 h 6858000"/>
              <a:gd name="connsiteX1981" fmla="*/ 5446841 w 6569477"/>
              <a:gd name="connsiteY1981" fmla="*/ 3244494 h 6858000"/>
              <a:gd name="connsiteX1982" fmla="*/ 5455276 w 6569477"/>
              <a:gd name="connsiteY1982" fmla="*/ 3278235 h 6858000"/>
              <a:gd name="connsiteX1983" fmla="*/ 5455276 w 6569477"/>
              <a:gd name="connsiteY1983" fmla="*/ 3320416 h 6858000"/>
              <a:gd name="connsiteX1984" fmla="*/ 5446841 w 6569477"/>
              <a:gd name="connsiteY1984" fmla="*/ 3328851 h 6858000"/>
              <a:gd name="connsiteX1985" fmla="*/ 5438403 w 6569477"/>
              <a:gd name="connsiteY1985" fmla="*/ 3320416 h 6858000"/>
              <a:gd name="connsiteX1986" fmla="*/ 5429968 w 6569477"/>
              <a:gd name="connsiteY1986" fmla="*/ 3219187 h 6858000"/>
              <a:gd name="connsiteX1987" fmla="*/ 5429969 w 6569477"/>
              <a:gd name="connsiteY1987" fmla="*/ 3210749 h 6858000"/>
              <a:gd name="connsiteX1988" fmla="*/ 5421534 w 6569477"/>
              <a:gd name="connsiteY1988" fmla="*/ 3219187 h 6858000"/>
              <a:gd name="connsiteX1989" fmla="*/ 5429969 w 6569477"/>
              <a:gd name="connsiteY1989" fmla="*/ 3320416 h 6858000"/>
              <a:gd name="connsiteX1990" fmla="*/ 5404661 w 6569477"/>
              <a:gd name="connsiteY1990" fmla="*/ 3337285 h 6858000"/>
              <a:gd name="connsiteX1991" fmla="*/ 5387791 w 6569477"/>
              <a:gd name="connsiteY1991" fmla="*/ 3430080 h 6858000"/>
              <a:gd name="connsiteX1992" fmla="*/ 5320304 w 6569477"/>
              <a:gd name="connsiteY1992" fmla="*/ 3767504 h 6858000"/>
              <a:gd name="connsiteX1993" fmla="*/ 5320305 w 6569477"/>
              <a:gd name="connsiteY1993" fmla="*/ 3775942 h 6858000"/>
              <a:gd name="connsiteX1994" fmla="*/ 5320305 w 6569477"/>
              <a:gd name="connsiteY1994" fmla="*/ 3784378 h 6858000"/>
              <a:gd name="connsiteX1995" fmla="*/ 5328741 w 6569477"/>
              <a:gd name="connsiteY1995" fmla="*/ 3775940 h 6858000"/>
              <a:gd name="connsiteX1996" fmla="*/ 5396226 w 6569477"/>
              <a:gd name="connsiteY1996" fmla="*/ 3446949 h 6858000"/>
              <a:gd name="connsiteX1997" fmla="*/ 5396226 w 6569477"/>
              <a:gd name="connsiteY1997" fmla="*/ 3455387 h 6858000"/>
              <a:gd name="connsiteX1998" fmla="*/ 5413098 w 6569477"/>
              <a:gd name="connsiteY1998" fmla="*/ 3438513 h 6858000"/>
              <a:gd name="connsiteX1999" fmla="*/ 5413098 w 6569477"/>
              <a:gd name="connsiteY1999" fmla="*/ 3463820 h 6858000"/>
              <a:gd name="connsiteX2000" fmla="*/ 5404662 w 6569477"/>
              <a:gd name="connsiteY2000" fmla="*/ 3463821 h 6858000"/>
              <a:gd name="connsiteX2001" fmla="*/ 5404662 w 6569477"/>
              <a:gd name="connsiteY2001" fmla="*/ 3472258 h 6858000"/>
              <a:gd name="connsiteX2002" fmla="*/ 5404661 w 6569477"/>
              <a:gd name="connsiteY2002" fmla="*/ 3480692 h 6858000"/>
              <a:gd name="connsiteX2003" fmla="*/ 5413098 w 6569477"/>
              <a:gd name="connsiteY2003" fmla="*/ 3480691 h 6858000"/>
              <a:gd name="connsiteX2004" fmla="*/ 5404662 w 6569477"/>
              <a:gd name="connsiteY2004" fmla="*/ 3522869 h 6858000"/>
              <a:gd name="connsiteX2005" fmla="*/ 5404662 w 6569477"/>
              <a:gd name="connsiteY2005" fmla="*/ 3539744 h 6858000"/>
              <a:gd name="connsiteX2006" fmla="*/ 5404662 w 6569477"/>
              <a:gd name="connsiteY2006" fmla="*/ 3565051 h 6858000"/>
              <a:gd name="connsiteX2007" fmla="*/ 5404662 w 6569477"/>
              <a:gd name="connsiteY2007" fmla="*/ 3573483 h 6858000"/>
              <a:gd name="connsiteX2008" fmla="*/ 5396226 w 6569477"/>
              <a:gd name="connsiteY2008" fmla="*/ 3581921 h 6858000"/>
              <a:gd name="connsiteX2009" fmla="*/ 5396226 w 6569477"/>
              <a:gd name="connsiteY2009" fmla="*/ 3598792 h 6858000"/>
              <a:gd name="connsiteX2010" fmla="*/ 5404662 w 6569477"/>
              <a:gd name="connsiteY2010" fmla="*/ 3607228 h 6858000"/>
              <a:gd name="connsiteX2011" fmla="*/ 5404662 w 6569477"/>
              <a:gd name="connsiteY2011" fmla="*/ 3809683 h 6858000"/>
              <a:gd name="connsiteX2012" fmla="*/ 5387791 w 6569477"/>
              <a:gd name="connsiteY2012" fmla="*/ 3902475 h 6858000"/>
              <a:gd name="connsiteX2013" fmla="*/ 5396226 w 6569477"/>
              <a:gd name="connsiteY2013" fmla="*/ 3894042 h 6858000"/>
              <a:gd name="connsiteX2014" fmla="*/ 5379355 w 6569477"/>
              <a:gd name="connsiteY2014" fmla="*/ 4062754 h 6858000"/>
              <a:gd name="connsiteX2015" fmla="*/ 5387791 w 6569477"/>
              <a:gd name="connsiteY2015" fmla="*/ 4071190 h 6858000"/>
              <a:gd name="connsiteX2016" fmla="*/ 5379355 w 6569477"/>
              <a:gd name="connsiteY2016" fmla="*/ 4113369 h 6858000"/>
              <a:gd name="connsiteX2017" fmla="*/ 5370919 w 6569477"/>
              <a:gd name="connsiteY2017" fmla="*/ 4121804 h 6858000"/>
              <a:gd name="connsiteX2018" fmla="*/ 5379355 w 6569477"/>
              <a:gd name="connsiteY2018" fmla="*/ 4138676 h 6858000"/>
              <a:gd name="connsiteX2019" fmla="*/ 5370918 w 6569477"/>
              <a:gd name="connsiteY2019" fmla="*/ 4189288 h 6858000"/>
              <a:gd name="connsiteX2020" fmla="*/ 5370916 w 6569477"/>
              <a:gd name="connsiteY2020" fmla="*/ 4197726 h 6858000"/>
              <a:gd name="connsiteX2021" fmla="*/ 5362483 w 6569477"/>
              <a:gd name="connsiteY2021" fmla="*/ 4223033 h 6858000"/>
              <a:gd name="connsiteX2022" fmla="*/ 5362484 w 6569477"/>
              <a:gd name="connsiteY2022" fmla="*/ 4231465 h 6858000"/>
              <a:gd name="connsiteX2023" fmla="*/ 5362484 w 6569477"/>
              <a:gd name="connsiteY2023" fmla="*/ 4239904 h 6858000"/>
              <a:gd name="connsiteX2024" fmla="*/ 5328741 w 6569477"/>
              <a:gd name="connsiteY2024" fmla="*/ 4383310 h 6858000"/>
              <a:gd name="connsiteX2025" fmla="*/ 5328741 w 6569477"/>
              <a:gd name="connsiteY2025" fmla="*/ 4408617 h 6858000"/>
              <a:gd name="connsiteX2026" fmla="*/ 5328743 w 6569477"/>
              <a:gd name="connsiteY2026" fmla="*/ 4417053 h 6858000"/>
              <a:gd name="connsiteX2027" fmla="*/ 5328743 w 6569477"/>
              <a:gd name="connsiteY2027" fmla="*/ 4450795 h 6858000"/>
              <a:gd name="connsiteX2028" fmla="*/ 5294997 w 6569477"/>
              <a:gd name="connsiteY2028" fmla="*/ 4543588 h 6858000"/>
              <a:gd name="connsiteX2029" fmla="*/ 5185332 w 6569477"/>
              <a:gd name="connsiteY2029" fmla="*/ 4897886 h 6858000"/>
              <a:gd name="connsiteX2030" fmla="*/ 5185333 w 6569477"/>
              <a:gd name="connsiteY2030" fmla="*/ 4906322 h 6858000"/>
              <a:gd name="connsiteX2031" fmla="*/ 5176898 w 6569477"/>
              <a:gd name="connsiteY2031" fmla="*/ 4914756 h 6858000"/>
              <a:gd name="connsiteX2032" fmla="*/ 5113630 w 6569477"/>
              <a:gd name="connsiteY2032" fmla="*/ 5026528 h 6858000"/>
              <a:gd name="connsiteX2033" fmla="*/ 5057164 w 6569477"/>
              <a:gd name="connsiteY2033" fmla="*/ 5137575 h 6858000"/>
              <a:gd name="connsiteX2034" fmla="*/ 5058139 w 6569477"/>
              <a:gd name="connsiteY2034" fmla="*/ 5135139 h 6858000"/>
              <a:gd name="connsiteX2035" fmla="*/ 5067233 w 6569477"/>
              <a:gd name="connsiteY2035" fmla="*/ 5108777 h 6858000"/>
              <a:gd name="connsiteX2036" fmla="*/ 5075669 w 6569477"/>
              <a:gd name="connsiteY2036" fmla="*/ 5091906 h 6858000"/>
              <a:gd name="connsiteX2037" fmla="*/ 5100977 w 6569477"/>
              <a:gd name="connsiteY2037" fmla="*/ 5032856 h 6858000"/>
              <a:gd name="connsiteX2038" fmla="*/ 5143155 w 6569477"/>
              <a:gd name="connsiteY2038" fmla="*/ 4931629 h 6858000"/>
              <a:gd name="connsiteX2039" fmla="*/ 5151590 w 6569477"/>
              <a:gd name="connsiteY2039" fmla="*/ 4914756 h 6858000"/>
              <a:gd name="connsiteX2040" fmla="*/ 5160025 w 6569477"/>
              <a:gd name="connsiteY2040" fmla="*/ 4897886 h 6858000"/>
              <a:gd name="connsiteX2041" fmla="*/ 5151590 w 6569477"/>
              <a:gd name="connsiteY2041" fmla="*/ 4889450 h 6858000"/>
              <a:gd name="connsiteX2042" fmla="*/ 5126283 w 6569477"/>
              <a:gd name="connsiteY2042" fmla="*/ 4923193 h 6858000"/>
              <a:gd name="connsiteX2043" fmla="*/ 5126282 w 6569477"/>
              <a:gd name="connsiteY2043" fmla="*/ 4931629 h 6858000"/>
              <a:gd name="connsiteX2044" fmla="*/ 5058797 w 6569477"/>
              <a:gd name="connsiteY2044" fmla="*/ 5083468 h 6858000"/>
              <a:gd name="connsiteX2045" fmla="*/ 5058797 w 6569477"/>
              <a:gd name="connsiteY2045" fmla="*/ 5091906 h 6858000"/>
              <a:gd name="connsiteX2046" fmla="*/ 5025055 w 6569477"/>
              <a:gd name="connsiteY2046" fmla="*/ 5134082 h 6858000"/>
              <a:gd name="connsiteX2047" fmla="*/ 4999746 w 6569477"/>
              <a:gd name="connsiteY2047" fmla="*/ 5184698 h 6858000"/>
              <a:gd name="connsiteX2048" fmla="*/ 4954406 w 6569477"/>
              <a:gd name="connsiteY2048" fmla="*/ 5285927 h 6858000"/>
              <a:gd name="connsiteX2049" fmla="*/ 4900498 w 6569477"/>
              <a:gd name="connsiteY2049" fmla="*/ 5370762 h 6858000"/>
              <a:gd name="connsiteX2050" fmla="*/ 4898519 w 6569477"/>
              <a:gd name="connsiteY2050" fmla="*/ 5361848 h 6858000"/>
              <a:gd name="connsiteX2051" fmla="*/ 4662316 w 6569477"/>
              <a:gd name="connsiteY2051" fmla="*/ 5749889 h 6858000"/>
              <a:gd name="connsiteX2052" fmla="*/ 4653884 w 6569477"/>
              <a:gd name="connsiteY2052" fmla="*/ 5749889 h 6858000"/>
              <a:gd name="connsiteX2053" fmla="*/ 4653883 w 6569477"/>
              <a:gd name="connsiteY2053" fmla="*/ 5758325 h 6858000"/>
              <a:gd name="connsiteX2054" fmla="*/ 4653883 w 6569477"/>
              <a:gd name="connsiteY2054" fmla="*/ 5766759 h 6858000"/>
              <a:gd name="connsiteX2055" fmla="*/ 4620140 w 6569477"/>
              <a:gd name="connsiteY2055" fmla="*/ 5792066 h 6858000"/>
              <a:gd name="connsiteX2056" fmla="*/ 4552653 w 6569477"/>
              <a:gd name="connsiteY2056" fmla="*/ 5910164 h 6858000"/>
              <a:gd name="connsiteX2057" fmla="*/ 4552654 w 6569477"/>
              <a:gd name="connsiteY2057" fmla="*/ 5884859 h 6858000"/>
              <a:gd name="connsiteX2058" fmla="*/ 4527347 w 6569477"/>
              <a:gd name="connsiteY2058" fmla="*/ 5943909 h 6858000"/>
              <a:gd name="connsiteX2059" fmla="*/ 4518911 w 6569477"/>
              <a:gd name="connsiteY2059" fmla="*/ 5935473 h 6858000"/>
              <a:gd name="connsiteX2060" fmla="*/ 4417681 w 6569477"/>
              <a:gd name="connsiteY2060" fmla="*/ 6078880 h 6858000"/>
              <a:gd name="connsiteX2061" fmla="*/ 4409247 w 6569477"/>
              <a:gd name="connsiteY2061" fmla="*/ 6078880 h 6858000"/>
              <a:gd name="connsiteX2062" fmla="*/ 4316454 w 6569477"/>
              <a:gd name="connsiteY2062" fmla="*/ 6180105 h 6858000"/>
              <a:gd name="connsiteX2063" fmla="*/ 4206789 w 6569477"/>
              <a:gd name="connsiteY2063" fmla="*/ 6306641 h 6858000"/>
              <a:gd name="connsiteX2064" fmla="*/ 4142466 w 6569477"/>
              <a:gd name="connsiteY2064" fmla="*/ 6360420 h 6858000"/>
              <a:gd name="connsiteX2065" fmla="*/ 4080254 w 6569477"/>
              <a:gd name="connsiteY2065" fmla="*/ 6424489 h 6858000"/>
              <a:gd name="connsiteX2066" fmla="*/ 4080254 w 6569477"/>
              <a:gd name="connsiteY2066" fmla="*/ 6416307 h 6858000"/>
              <a:gd name="connsiteX2067" fmla="*/ 4071818 w 6569477"/>
              <a:gd name="connsiteY2067" fmla="*/ 6424743 h 6858000"/>
              <a:gd name="connsiteX2068" fmla="*/ 4063381 w 6569477"/>
              <a:gd name="connsiteY2068" fmla="*/ 6441614 h 6858000"/>
              <a:gd name="connsiteX2069" fmla="*/ 4063381 w 6569477"/>
              <a:gd name="connsiteY2069" fmla="*/ 6433176 h 6858000"/>
              <a:gd name="connsiteX2070" fmla="*/ 4012767 w 6569477"/>
              <a:gd name="connsiteY2070" fmla="*/ 6483791 h 6858000"/>
              <a:gd name="connsiteX2071" fmla="*/ 4012768 w 6569477"/>
              <a:gd name="connsiteY2071" fmla="*/ 6492227 h 6858000"/>
              <a:gd name="connsiteX2072" fmla="*/ 4004330 w 6569477"/>
              <a:gd name="connsiteY2072" fmla="*/ 6509098 h 6858000"/>
              <a:gd name="connsiteX2073" fmla="*/ 4004330 w 6569477"/>
              <a:gd name="connsiteY2073" fmla="*/ 6492227 h 6858000"/>
              <a:gd name="connsiteX2074" fmla="*/ 3979024 w 6569477"/>
              <a:gd name="connsiteY2074" fmla="*/ 6517534 h 6858000"/>
              <a:gd name="connsiteX2075" fmla="*/ 3979025 w 6569477"/>
              <a:gd name="connsiteY2075" fmla="*/ 6509096 h 6858000"/>
              <a:gd name="connsiteX2076" fmla="*/ 3979024 w 6569477"/>
              <a:gd name="connsiteY2076" fmla="*/ 6500664 h 6858000"/>
              <a:gd name="connsiteX2077" fmla="*/ 3970588 w 6569477"/>
              <a:gd name="connsiteY2077" fmla="*/ 6500664 h 6858000"/>
              <a:gd name="connsiteX2078" fmla="*/ 3970588 w 6569477"/>
              <a:gd name="connsiteY2078" fmla="*/ 6517534 h 6858000"/>
              <a:gd name="connsiteX2079" fmla="*/ 3970590 w 6569477"/>
              <a:gd name="connsiteY2079" fmla="*/ 6525971 h 6858000"/>
              <a:gd name="connsiteX2080" fmla="*/ 3962153 w 6569477"/>
              <a:gd name="connsiteY2080" fmla="*/ 6534407 h 6858000"/>
              <a:gd name="connsiteX2081" fmla="*/ 3953718 w 6569477"/>
              <a:gd name="connsiteY2081" fmla="*/ 6534407 h 6858000"/>
              <a:gd name="connsiteX2082" fmla="*/ 3945280 w 6569477"/>
              <a:gd name="connsiteY2082" fmla="*/ 6534407 h 6858000"/>
              <a:gd name="connsiteX2083" fmla="*/ 3945281 w 6569477"/>
              <a:gd name="connsiteY2083" fmla="*/ 6542841 h 6858000"/>
              <a:gd name="connsiteX2084" fmla="*/ 3945280 w 6569477"/>
              <a:gd name="connsiteY2084" fmla="*/ 6551277 h 6858000"/>
              <a:gd name="connsiteX2085" fmla="*/ 3919974 w 6569477"/>
              <a:gd name="connsiteY2085" fmla="*/ 6568148 h 6858000"/>
              <a:gd name="connsiteX2086" fmla="*/ 3919976 w 6569477"/>
              <a:gd name="connsiteY2086" fmla="*/ 6559714 h 6858000"/>
              <a:gd name="connsiteX2087" fmla="*/ 3911538 w 6569477"/>
              <a:gd name="connsiteY2087" fmla="*/ 6568148 h 6858000"/>
              <a:gd name="connsiteX2088" fmla="*/ 3903102 w 6569477"/>
              <a:gd name="connsiteY2088" fmla="*/ 6576584 h 6858000"/>
              <a:gd name="connsiteX2089" fmla="*/ 3894667 w 6569477"/>
              <a:gd name="connsiteY2089" fmla="*/ 6593455 h 6858000"/>
              <a:gd name="connsiteX2090" fmla="*/ 3894667 w 6569477"/>
              <a:gd name="connsiteY2090" fmla="*/ 6585021 h 6858000"/>
              <a:gd name="connsiteX2091" fmla="*/ 3860924 w 6569477"/>
              <a:gd name="connsiteY2091" fmla="*/ 6601891 h 6858000"/>
              <a:gd name="connsiteX2092" fmla="*/ 3860924 w 6569477"/>
              <a:gd name="connsiteY2092" fmla="*/ 6585021 h 6858000"/>
              <a:gd name="connsiteX2093" fmla="*/ 3827181 w 6569477"/>
              <a:gd name="connsiteY2093" fmla="*/ 6610327 h 6858000"/>
              <a:gd name="connsiteX2094" fmla="*/ 3827182 w 6569477"/>
              <a:gd name="connsiteY2094" fmla="*/ 6601891 h 6858000"/>
              <a:gd name="connsiteX2095" fmla="*/ 3835618 w 6569477"/>
              <a:gd name="connsiteY2095" fmla="*/ 6593455 h 6858000"/>
              <a:gd name="connsiteX2096" fmla="*/ 3835617 w 6569477"/>
              <a:gd name="connsiteY2096" fmla="*/ 6585021 h 6858000"/>
              <a:gd name="connsiteX2097" fmla="*/ 3827181 w 6569477"/>
              <a:gd name="connsiteY2097" fmla="*/ 6593455 h 6858000"/>
              <a:gd name="connsiteX2098" fmla="*/ 3818745 w 6569477"/>
              <a:gd name="connsiteY2098" fmla="*/ 6601891 h 6858000"/>
              <a:gd name="connsiteX2099" fmla="*/ 3810309 w 6569477"/>
              <a:gd name="connsiteY2099" fmla="*/ 6618762 h 6858000"/>
              <a:gd name="connsiteX2100" fmla="*/ 3827181 w 6569477"/>
              <a:gd name="connsiteY2100" fmla="*/ 6618762 h 6858000"/>
              <a:gd name="connsiteX2101" fmla="*/ 3818745 w 6569477"/>
              <a:gd name="connsiteY2101" fmla="*/ 6627198 h 6858000"/>
              <a:gd name="connsiteX2102" fmla="*/ 3776566 w 6569477"/>
              <a:gd name="connsiteY2102" fmla="*/ 6677812 h 6858000"/>
              <a:gd name="connsiteX2103" fmla="*/ 3810308 w 6569477"/>
              <a:gd name="connsiteY2103" fmla="*/ 6669377 h 6858000"/>
              <a:gd name="connsiteX2104" fmla="*/ 3776566 w 6569477"/>
              <a:gd name="connsiteY2104" fmla="*/ 6694684 h 6858000"/>
              <a:gd name="connsiteX2105" fmla="*/ 3751259 w 6569477"/>
              <a:gd name="connsiteY2105" fmla="*/ 6719991 h 6858000"/>
              <a:gd name="connsiteX2106" fmla="*/ 3734388 w 6569477"/>
              <a:gd name="connsiteY2106" fmla="*/ 6728426 h 6858000"/>
              <a:gd name="connsiteX2107" fmla="*/ 3734390 w 6569477"/>
              <a:gd name="connsiteY2107" fmla="*/ 6711555 h 6858000"/>
              <a:gd name="connsiteX2108" fmla="*/ 3700645 w 6569477"/>
              <a:gd name="connsiteY2108" fmla="*/ 6745297 h 6858000"/>
              <a:gd name="connsiteX2109" fmla="*/ 3692211 w 6569477"/>
              <a:gd name="connsiteY2109" fmla="*/ 6736862 h 6858000"/>
              <a:gd name="connsiteX2110" fmla="*/ 3700645 w 6569477"/>
              <a:gd name="connsiteY2110" fmla="*/ 6728426 h 6858000"/>
              <a:gd name="connsiteX2111" fmla="*/ 3700645 w 6569477"/>
              <a:gd name="connsiteY2111" fmla="*/ 6719990 h 6858000"/>
              <a:gd name="connsiteX2112" fmla="*/ 3692209 w 6569477"/>
              <a:gd name="connsiteY2112" fmla="*/ 6719991 h 6858000"/>
              <a:gd name="connsiteX2113" fmla="*/ 3683775 w 6569477"/>
              <a:gd name="connsiteY2113" fmla="*/ 6728426 h 6858000"/>
              <a:gd name="connsiteX2114" fmla="*/ 3683775 w 6569477"/>
              <a:gd name="connsiteY2114" fmla="*/ 6736862 h 6858000"/>
              <a:gd name="connsiteX2115" fmla="*/ 3675338 w 6569477"/>
              <a:gd name="connsiteY2115" fmla="*/ 6745298 h 6858000"/>
              <a:gd name="connsiteX2116" fmla="*/ 3666902 w 6569477"/>
              <a:gd name="connsiteY2116" fmla="*/ 6753735 h 6858000"/>
              <a:gd name="connsiteX2117" fmla="*/ 3658466 w 6569477"/>
              <a:gd name="connsiteY2117" fmla="*/ 6753734 h 6858000"/>
              <a:gd name="connsiteX2118" fmla="*/ 3658466 w 6569477"/>
              <a:gd name="connsiteY2118" fmla="*/ 6762169 h 6858000"/>
              <a:gd name="connsiteX2119" fmla="*/ 3650032 w 6569477"/>
              <a:gd name="connsiteY2119" fmla="*/ 6762169 h 6858000"/>
              <a:gd name="connsiteX2120" fmla="*/ 3650030 w 6569477"/>
              <a:gd name="connsiteY2120" fmla="*/ 6753734 h 6858000"/>
              <a:gd name="connsiteX2121" fmla="*/ 3658466 w 6569477"/>
              <a:gd name="connsiteY2121" fmla="*/ 6736862 h 6858000"/>
              <a:gd name="connsiteX2122" fmla="*/ 3675338 w 6569477"/>
              <a:gd name="connsiteY2122" fmla="*/ 6719991 h 6858000"/>
              <a:gd name="connsiteX2123" fmla="*/ 3666902 w 6569477"/>
              <a:gd name="connsiteY2123" fmla="*/ 6719989 h 6858000"/>
              <a:gd name="connsiteX2124" fmla="*/ 3658466 w 6569477"/>
              <a:gd name="connsiteY2124" fmla="*/ 6728426 h 6858000"/>
              <a:gd name="connsiteX2125" fmla="*/ 3633159 w 6569477"/>
              <a:gd name="connsiteY2125" fmla="*/ 6753734 h 6858000"/>
              <a:gd name="connsiteX2126" fmla="*/ 3633159 w 6569477"/>
              <a:gd name="connsiteY2126" fmla="*/ 6762169 h 6858000"/>
              <a:gd name="connsiteX2127" fmla="*/ 3616289 w 6569477"/>
              <a:gd name="connsiteY2127" fmla="*/ 6787476 h 6858000"/>
              <a:gd name="connsiteX2128" fmla="*/ 3561456 w 6569477"/>
              <a:gd name="connsiteY2128" fmla="*/ 6826490 h 6858000"/>
              <a:gd name="connsiteX2129" fmla="*/ 3523349 w 6569477"/>
              <a:gd name="connsiteY2129" fmla="*/ 6858000 h 6858000"/>
              <a:gd name="connsiteX2130" fmla="*/ 0 w 6569477"/>
              <a:gd name="connsiteY2130"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Lst>
            <a:rect l="l" t="t" r="r" b="b"/>
            <a:pathLst>
              <a:path w="6569477" h="6858000">
                <a:moveTo>
                  <a:pt x="4117221" y="6784486"/>
                </a:moveTo>
                <a:cubicBezTo>
                  <a:pt x="4097055" y="6807977"/>
                  <a:pt x="4081509" y="6827275"/>
                  <a:pt x="4065123" y="6846362"/>
                </a:cubicBezTo>
                <a:lnTo>
                  <a:pt x="4054153" y="6858000"/>
                </a:lnTo>
                <a:lnTo>
                  <a:pt x="4025354" y="6858000"/>
                </a:lnTo>
                <a:lnTo>
                  <a:pt x="4042817" y="6837081"/>
                </a:lnTo>
                <a:cubicBezTo>
                  <a:pt x="4069049" y="6805855"/>
                  <a:pt x="4098350" y="6774394"/>
                  <a:pt x="4117221" y="6784486"/>
                </a:cubicBezTo>
                <a:close/>
                <a:moveTo>
                  <a:pt x="4098863" y="6687079"/>
                </a:moveTo>
                <a:cubicBezTo>
                  <a:pt x="4088750" y="6727370"/>
                  <a:pt x="4048418" y="6774353"/>
                  <a:pt x="4016483" y="6816306"/>
                </a:cubicBezTo>
                <a:cubicBezTo>
                  <a:pt x="4000945" y="6828467"/>
                  <a:pt x="3984565" y="6842201"/>
                  <a:pt x="3967818" y="6856958"/>
                </a:cubicBezTo>
                <a:lnTo>
                  <a:pt x="3966685" y="6858000"/>
                </a:lnTo>
                <a:lnTo>
                  <a:pt x="3929841" y="6858000"/>
                </a:lnTo>
                <a:lnTo>
                  <a:pt x="4004165" y="6784103"/>
                </a:lnTo>
                <a:cubicBezTo>
                  <a:pt x="4033963" y="6753771"/>
                  <a:pt x="4065258" y="6721474"/>
                  <a:pt x="4098863" y="6687079"/>
                </a:cubicBezTo>
                <a:close/>
                <a:moveTo>
                  <a:pt x="5739924" y="6488019"/>
                </a:moveTo>
                <a:cubicBezTo>
                  <a:pt x="5746811" y="6488017"/>
                  <a:pt x="5746811" y="6488017"/>
                  <a:pt x="5746811" y="6494900"/>
                </a:cubicBezTo>
                <a:cubicBezTo>
                  <a:pt x="5746701" y="6495341"/>
                  <a:pt x="5746590" y="6495782"/>
                  <a:pt x="5746479" y="6496223"/>
                </a:cubicBezTo>
                <a:lnTo>
                  <a:pt x="5739923" y="6501783"/>
                </a:lnTo>
                <a:lnTo>
                  <a:pt x="5739923" y="6494900"/>
                </a:lnTo>
                <a:close/>
                <a:moveTo>
                  <a:pt x="4189806" y="6433624"/>
                </a:moveTo>
                <a:lnTo>
                  <a:pt x="4188863" y="6437396"/>
                </a:lnTo>
                <a:cubicBezTo>
                  <a:pt x="4187809" y="6439505"/>
                  <a:pt x="4185699" y="6441614"/>
                  <a:pt x="4181480" y="6441614"/>
                </a:cubicBezTo>
                <a:close/>
                <a:moveTo>
                  <a:pt x="4190270" y="6433178"/>
                </a:moveTo>
                <a:lnTo>
                  <a:pt x="4189806" y="6433624"/>
                </a:lnTo>
                <a:lnTo>
                  <a:pt x="4189918" y="6433179"/>
                </a:lnTo>
                <a:close/>
                <a:moveTo>
                  <a:pt x="4080254" y="6424489"/>
                </a:moveTo>
                <a:lnTo>
                  <a:pt x="4080253" y="6424742"/>
                </a:lnTo>
                <a:lnTo>
                  <a:pt x="4071818" y="6433178"/>
                </a:lnTo>
                <a:close/>
                <a:moveTo>
                  <a:pt x="4239510" y="6367480"/>
                </a:moveTo>
                <a:lnTo>
                  <a:pt x="4236315" y="6373075"/>
                </a:lnTo>
                <a:lnTo>
                  <a:pt x="4232912" y="6373925"/>
                </a:lnTo>
                <a:lnTo>
                  <a:pt x="4238687" y="6368327"/>
                </a:lnTo>
                <a:close/>
                <a:moveTo>
                  <a:pt x="4265838" y="6340386"/>
                </a:moveTo>
                <a:lnTo>
                  <a:pt x="4239510" y="6367480"/>
                </a:lnTo>
                <a:lnTo>
                  <a:pt x="4240531" y="6365693"/>
                </a:lnTo>
                <a:lnTo>
                  <a:pt x="4248968" y="6357257"/>
                </a:lnTo>
                <a:cubicBezTo>
                  <a:pt x="4248968" y="6348821"/>
                  <a:pt x="4257404" y="6348819"/>
                  <a:pt x="4265838" y="6340386"/>
                </a:cubicBezTo>
                <a:close/>
                <a:moveTo>
                  <a:pt x="4291147" y="6272900"/>
                </a:moveTo>
                <a:lnTo>
                  <a:pt x="4299581" y="6272900"/>
                </a:lnTo>
                <a:lnTo>
                  <a:pt x="4308018" y="6272900"/>
                </a:lnTo>
                <a:lnTo>
                  <a:pt x="4291147" y="6289772"/>
                </a:lnTo>
                <a:lnTo>
                  <a:pt x="4274273" y="6306643"/>
                </a:lnTo>
                <a:lnTo>
                  <a:pt x="4257404" y="6323512"/>
                </a:lnTo>
                <a:lnTo>
                  <a:pt x="4257404" y="6331950"/>
                </a:lnTo>
                <a:cubicBezTo>
                  <a:pt x="4240531" y="6340386"/>
                  <a:pt x="4232097" y="6357257"/>
                  <a:pt x="4215224" y="6374128"/>
                </a:cubicBezTo>
                <a:lnTo>
                  <a:pt x="4215223" y="6382562"/>
                </a:lnTo>
                <a:cubicBezTo>
                  <a:pt x="4215224" y="6391000"/>
                  <a:pt x="4223663" y="6382564"/>
                  <a:pt x="4223663" y="6382564"/>
                </a:cubicBezTo>
                <a:lnTo>
                  <a:pt x="4232099" y="6374128"/>
                </a:lnTo>
                <a:lnTo>
                  <a:pt x="4232912" y="6373925"/>
                </a:lnTo>
                <a:lnTo>
                  <a:pt x="4215378" y="6390919"/>
                </a:lnTo>
                <a:lnTo>
                  <a:pt x="4215224" y="6391000"/>
                </a:lnTo>
                <a:cubicBezTo>
                  <a:pt x="4215216" y="6391030"/>
                  <a:pt x="4215206" y="6391059"/>
                  <a:pt x="4215199" y="6391088"/>
                </a:cubicBezTo>
                <a:lnTo>
                  <a:pt x="4213115" y="6393108"/>
                </a:lnTo>
                <a:cubicBezTo>
                  <a:pt x="4198353" y="6405763"/>
                  <a:pt x="4189918" y="6407872"/>
                  <a:pt x="4198356" y="6382564"/>
                </a:cubicBezTo>
                <a:cubicBezTo>
                  <a:pt x="4164611" y="6433179"/>
                  <a:pt x="4147738" y="6441614"/>
                  <a:pt x="4113994" y="6475357"/>
                </a:cubicBezTo>
                <a:lnTo>
                  <a:pt x="4122431" y="6475355"/>
                </a:lnTo>
                <a:lnTo>
                  <a:pt x="4097125" y="6500664"/>
                </a:lnTo>
                <a:lnTo>
                  <a:pt x="4088687" y="6500664"/>
                </a:lnTo>
                <a:lnTo>
                  <a:pt x="4088688" y="6509098"/>
                </a:lnTo>
                <a:lnTo>
                  <a:pt x="4080256" y="6509098"/>
                </a:lnTo>
                <a:cubicBezTo>
                  <a:pt x="4071819" y="6517534"/>
                  <a:pt x="4071818" y="6525971"/>
                  <a:pt x="4063383" y="6525971"/>
                </a:cubicBezTo>
                <a:cubicBezTo>
                  <a:pt x="4063381" y="6534407"/>
                  <a:pt x="4054944" y="6534407"/>
                  <a:pt x="4054946" y="6542841"/>
                </a:cubicBezTo>
                <a:cubicBezTo>
                  <a:pt x="4046511" y="6542841"/>
                  <a:pt x="4046513" y="6551277"/>
                  <a:pt x="4046513" y="6551277"/>
                </a:cubicBezTo>
                <a:lnTo>
                  <a:pt x="4021201" y="6576584"/>
                </a:lnTo>
                <a:cubicBezTo>
                  <a:pt x="4021202" y="6579396"/>
                  <a:pt x="4021202" y="6582209"/>
                  <a:pt x="4021203" y="6585021"/>
                </a:cubicBezTo>
                <a:cubicBezTo>
                  <a:pt x="4021203" y="6585021"/>
                  <a:pt x="4012767" y="6585019"/>
                  <a:pt x="4012768" y="6593455"/>
                </a:cubicBezTo>
                <a:cubicBezTo>
                  <a:pt x="3987460" y="6610327"/>
                  <a:pt x="3962152" y="6635634"/>
                  <a:pt x="3936845" y="6660941"/>
                </a:cubicBezTo>
                <a:lnTo>
                  <a:pt x="3928411" y="6652505"/>
                </a:lnTo>
                <a:lnTo>
                  <a:pt x="3936844" y="6644069"/>
                </a:lnTo>
                <a:cubicBezTo>
                  <a:pt x="3945281" y="6644071"/>
                  <a:pt x="3945281" y="6635634"/>
                  <a:pt x="3945281" y="6635634"/>
                </a:cubicBezTo>
                <a:lnTo>
                  <a:pt x="3936845" y="6635634"/>
                </a:lnTo>
                <a:lnTo>
                  <a:pt x="3928411" y="6644072"/>
                </a:lnTo>
                <a:lnTo>
                  <a:pt x="3919975" y="6652505"/>
                </a:lnTo>
                <a:lnTo>
                  <a:pt x="3919975" y="6660941"/>
                </a:lnTo>
                <a:lnTo>
                  <a:pt x="3919974" y="6669377"/>
                </a:lnTo>
                <a:cubicBezTo>
                  <a:pt x="3894667" y="6686249"/>
                  <a:pt x="3869359" y="6711555"/>
                  <a:pt x="3844054" y="6728426"/>
                </a:cubicBezTo>
                <a:cubicBezTo>
                  <a:pt x="3844052" y="6731237"/>
                  <a:pt x="3844053" y="6734049"/>
                  <a:pt x="3844051" y="6736860"/>
                </a:cubicBezTo>
                <a:cubicBezTo>
                  <a:pt x="3785002" y="6779041"/>
                  <a:pt x="3734388" y="6821217"/>
                  <a:pt x="3675339" y="6854962"/>
                </a:cubicBezTo>
                <a:lnTo>
                  <a:pt x="3671147" y="6858000"/>
                </a:lnTo>
                <a:lnTo>
                  <a:pt x="3532438" y="6858000"/>
                </a:lnTo>
                <a:lnTo>
                  <a:pt x="3566728" y="6830708"/>
                </a:lnTo>
                <a:cubicBezTo>
                  <a:pt x="3584654" y="6817000"/>
                  <a:pt x="3603634" y="6804347"/>
                  <a:pt x="3624722" y="6795912"/>
                </a:cubicBezTo>
                <a:lnTo>
                  <a:pt x="3633161" y="6787476"/>
                </a:lnTo>
                <a:lnTo>
                  <a:pt x="3633160" y="6779041"/>
                </a:lnTo>
                <a:lnTo>
                  <a:pt x="3641596" y="6779041"/>
                </a:lnTo>
                <a:lnTo>
                  <a:pt x="3641596" y="6787476"/>
                </a:lnTo>
                <a:cubicBezTo>
                  <a:pt x="3658466" y="6787476"/>
                  <a:pt x="3666902" y="6779042"/>
                  <a:pt x="3683775" y="6770605"/>
                </a:cubicBezTo>
                <a:lnTo>
                  <a:pt x="3683775" y="6762169"/>
                </a:lnTo>
                <a:cubicBezTo>
                  <a:pt x="3709082" y="6770605"/>
                  <a:pt x="3666902" y="6779042"/>
                  <a:pt x="3675339" y="6787476"/>
                </a:cubicBezTo>
                <a:cubicBezTo>
                  <a:pt x="3683776" y="6779041"/>
                  <a:pt x="3717515" y="6762169"/>
                  <a:pt x="3742824" y="6736862"/>
                </a:cubicBezTo>
                <a:cubicBezTo>
                  <a:pt x="3751259" y="6728426"/>
                  <a:pt x="3768131" y="6711555"/>
                  <a:pt x="3785001" y="6703120"/>
                </a:cubicBezTo>
                <a:cubicBezTo>
                  <a:pt x="3793440" y="6694684"/>
                  <a:pt x="3810310" y="6677812"/>
                  <a:pt x="3827182" y="6669377"/>
                </a:cubicBezTo>
                <a:cubicBezTo>
                  <a:pt x="3852487" y="6644072"/>
                  <a:pt x="3877794" y="6635634"/>
                  <a:pt x="3903102" y="6601891"/>
                </a:cubicBezTo>
                <a:cubicBezTo>
                  <a:pt x="3911538" y="6593455"/>
                  <a:pt x="3928411" y="6585021"/>
                  <a:pt x="3928411" y="6585021"/>
                </a:cubicBezTo>
                <a:cubicBezTo>
                  <a:pt x="3936845" y="6576584"/>
                  <a:pt x="3945280" y="6576584"/>
                  <a:pt x="3945281" y="6568148"/>
                </a:cubicBezTo>
                <a:cubicBezTo>
                  <a:pt x="3953718" y="6568149"/>
                  <a:pt x="3953718" y="6568149"/>
                  <a:pt x="3962152" y="6559714"/>
                </a:cubicBezTo>
                <a:lnTo>
                  <a:pt x="3987461" y="6534407"/>
                </a:lnTo>
                <a:cubicBezTo>
                  <a:pt x="3987461" y="6542841"/>
                  <a:pt x="4012768" y="6517534"/>
                  <a:pt x="4012768" y="6517534"/>
                </a:cubicBezTo>
                <a:cubicBezTo>
                  <a:pt x="4021201" y="6509098"/>
                  <a:pt x="4029637" y="6500662"/>
                  <a:pt x="4029637" y="6492227"/>
                </a:cubicBezTo>
                <a:lnTo>
                  <a:pt x="4038075" y="6492227"/>
                </a:lnTo>
                <a:cubicBezTo>
                  <a:pt x="4122431" y="6433176"/>
                  <a:pt x="4223660" y="6340387"/>
                  <a:pt x="4291147" y="6272900"/>
                </a:cubicBezTo>
                <a:close/>
                <a:moveTo>
                  <a:pt x="4561089" y="6171673"/>
                </a:moveTo>
                <a:lnTo>
                  <a:pt x="4556321" y="6179312"/>
                </a:lnTo>
                <a:lnTo>
                  <a:pt x="4554763" y="6179053"/>
                </a:lnTo>
                <a:cubicBezTo>
                  <a:pt x="4554763" y="6178000"/>
                  <a:pt x="4556872" y="6175890"/>
                  <a:pt x="4561089" y="6171673"/>
                </a:cubicBezTo>
                <a:close/>
                <a:moveTo>
                  <a:pt x="4671175" y="5979022"/>
                </a:moveTo>
                <a:lnTo>
                  <a:pt x="4669173" y="5981473"/>
                </a:lnTo>
                <a:cubicBezTo>
                  <a:pt x="4661263" y="5988195"/>
                  <a:pt x="4658099" y="5981871"/>
                  <a:pt x="4645447" y="5994524"/>
                </a:cubicBezTo>
                <a:cubicBezTo>
                  <a:pt x="4643338" y="5998741"/>
                  <a:pt x="4643337" y="6000322"/>
                  <a:pt x="4644391" y="6000718"/>
                </a:cubicBezTo>
                <a:lnTo>
                  <a:pt x="4645606" y="6000505"/>
                </a:lnTo>
                <a:lnTo>
                  <a:pt x="4646686" y="5998475"/>
                </a:lnTo>
                <a:lnTo>
                  <a:pt x="4647927" y="6000099"/>
                </a:lnTo>
                <a:lnTo>
                  <a:pt x="4649663" y="5999795"/>
                </a:lnTo>
                <a:cubicBezTo>
                  <a:pt x="4651773" y="5999268"/>
                  <a:pt x="4653882" y="5999004"/>
                  <a:pt x="4654936" y="6000454"/>
                </a:cubicBezTo>
                <a:lnTo>
                  <a:pt x="4654647" y="6003455"/>
                </a:lnTo>
                <a:lnTo>
                  <a:pt x="4658944" y="5998240"/>
                </a:lnTo>
                <a:close/>
                <a:moveTo>
                  <a:pt x="5823292" y="5722907"/>
                </a:moveTo>
                <a:lnTo>
                  <a:pt x="5800797" y="5768179"/>
                </a:lnTo>
                <a:lnTo>
                  <a:pt x="5806978" y="5758327"/>
                </a:lnTo>
                <a:cubicBezTo>
                  <a:pt x="5810514" y="5753116"/>
                  <a:pt x="5814328" y="5748237"/>
                  <a:pt x="5818310" y="5744909"/>
                </a:cubicBezTo>
                <a:cubicBezTo>
                  <a:pt x="5819855" y="5741362"/>
                  <a:pt x="5821177" y="5736874"/>
                  <a:pt x="5822096" y="5732580"/>
                </a:cubicBezTo>
                <a:close/>
                <a:moveTo>
                  <a:pt x="5907073" y="5708785"/>
                </a:moveTo>
                <a:lnTo>
                  <a:pt x="5869741" y="5783136"/>
                </a:lnTo>
                <a:cubicBezTo>
                  <a:pt x="5858084" y="5809655"/>
                  <a:pt x="5848657" y="5836145"/>
                  <a:pt x="5842500" y="5863847"/>
                </a:cubicBezTo>
                <a:cubicBezTo>
                  <a:pt x="5785921" y="5947223"/>
                  <a:pt x="5733692" y="5981849"/>
                  <a:pt x="5690433" y="6081162"/>
                </a:cubicBezTo>
                <a:cubicBezTo>
                  <a:pt x="5680683" y="6080287"/>
                  <a:pt x="5669193" y="6098913"/>
                  <a:pt x="5663883" y="6103351"/>
                </a:cubicBezTo>
                <a:lnTo>
                  <a:pt x="5636415" y="6152111"/>
                </a:lnTo>
                <a:lnTo>
                  <a:pt x="5637318" y="6151784"/>
                </a:lnTo>
                <a:cubicBezTo>
                  <a:pt x="5630397" y="6165631"/>
                  <a:pt x="5624342" y="6178180"/>
                  <a:pt x="5618612" y="6190081"/>
                </a:cubicBezTo>
                <a:lnTo>
                  <a:pt x="5611094" y="6205514"/>
                </a:lnTo>
                <a:lnTo>
                  <a:pt x="5619596" y="6194628"/>
                </a:lnTo>
                <a:cubicBezTo>
                  <a:pt x="5624904" y="6187044"/>
                  <a:pt x="5630569" y="6177954"/>
                  <a:pt x="5636991" y="6166061"/>
                </a:cubicBezTo>
                <a:cubicBezTo>
                  <a:pt x="5643774" y="6164691"/>
                  <a:pt x="5645145" y="6171478"/>
                  <a:pt x="5657339" y="6161951"/>
                </a:cubicBezTo>
                <a:cubicBezTo>
                  <a:pt x="5651927" y="6170107"/>
                  <a:pt x="5660082" y="6175522"/>
                  <a:pt x="5638432" y="6208150"/>
                </a:cubicBezTo>
                <a:cubicBezTo>
                  <a:pt x="5666863" y="6174154"/>
                  <a:pt x="5692554" y="6126583"/>
                  <a:pt x="5718245" y="6079013"/>
                </a:cubicBezTo>
                <a:cubicBezTo>
                  <a:pt x="5745305" y="6038231"/>
                  <a:pt x="5770995" y="5990662"/>
                  <a:pt x="5802168" y="5970237"/>
                </a:cubicBezTo>
                <a:cubicBezTo>
                  <a:pt x="5833200" y="5879207"/>
                  <a:pt x="5877868" y="5820741"/>
                  <a:pt x="5917053" y="5735129"/>
                </a:cubicBezTo>
                <a:cubicBezTo>
                  <a:pt x="5923764" y="5698455"/>
                  <a:pt x="5887250" y="5762338"/>
                  <a:pt x="5902116" y="5731083"/>
                </a:cubicBezTo>
                <a:close/>
                <a:moveTo>
                  <a:pt x="5917201" y="5634092"/>
                </a:moveTo>
                <a:lnTo>
                  <a:pt x="5891750" y="5667883"/>
                </a:lnTo>
                <a:cubicBezTo>
                  <a:pt x="5851164" y="5717451"/>
                  <a:pt x="5813675" y="5755549"/>
                  <a:pt x="5781231" y="5830035"/>
                </a:cubicBezTo>
                <a:cubicBezTo>
                  <a:pt x="5776356" y="5829597"/>
                  <a:pt x="5771046" y="5834035"/>
                  <a:pt x="5766290" y="5839137"/>
                </a:cubicBezTo>
                <a:lnTo>
                  <a:pt x="5764238" y="5841451"/>
                </a:lnTo>
                <a:lnTo>
                  <a:pt x="5588834" y="6142779"/>
                </a:lnTo>
                <a:lnTo>
                  <a:pt x="5549933" y="6201116"/>
                </a:lnTo>
                <a:lnTo>
                  <a:pt x="5547357" y="6207173"/>
                </a:lnTo>
                <a:lnTo>
                  <a:pt x="5529789" y="6231324"/>
                </a:lnTo>
                <a:lnTo>
                  <a:pt x="5464244" y="6329615"/>
                </a:lnTo>
                <a:lnTo>
                  <a:pt x="5402037" y="6435651"/>
                </a:lnTo>
                <a:cubicBezTo>
                  <a:pt x="5402037" y="6435651"/>
                  <a:pt x="5402037" y="6435651"/>
                  <a:pt x="5408957" y="6435651"/>
                </a:cubicBezTo>
                <a:cubicBezTo>
                  <a:pt x="5408957" y="6428728"/>
                  <a:pt x="5415877" y="6421804"/>
                  <a:pt x="5422798" y="6428728"/>
                </a:cubicBezTo>
                <a:lnTo>
                  <a:pt x="5421385" y="6432963"/>
                </a:lnTo>
                <a:lnTo>
                  <a:pt x="5408956" y="6449499"/>
                </a:lnTo>
                <a:cubicBezTo>
                  <a:pt x="5415877" y="6449499"/>
                  <a:pt x="5415877" y="6449499"/>
                  <a:pt x="5415877" y="6449499"/>
                </a:cubicBezTo>
                <a:lnTo>
                  <a:pt x="5421385" y="6432963"/>
                </a:lnTo>
                <a:lnTo>
                  <a:pt x="5487674" y="6344780"/>
                </a:lnTo>
                <a:lnTo>
                  <a:pt x="5495039" y="6334691"/>
                </a:lnTo>
                <a:lnTo>
                  <a:pt x="5485269" y="6342855"/>
                </a:lnTo>
                <a:cubicBezTo>
                  <a:pt x="5480829" y="6337541"/>
                  <a:pt x="5480829" y="6337541"/>
                  <a:pt x="5480829" y="6337541"/>
                </a:cubicBezTo>
                <a:cubicBezTo>
                  <a:pt x="5482568" y="6318042"/>
                  <a:pt x="5499368" y="6294978"/>
                  <a:pt x="5525918" y="6272793"/>
                </a:cubicBezTo>
                <a:cubicBezTo>
                  <a:pt x="5548027" y="6245292"/>
                  <a:pt x="5570136" y="6217791"/>
                  <a:pt x="5577186" y="6193853"/>
                </a:cubicBezTo>
                <a:cubicBezTo>
                  <a:pt x="5585150" y="6187197"/>
                  <a:pt x="5591787" y="6181650"/>
                  <a:pt x="5598425" y="6176103"/>
                </a:cubicBezTo>
                <a:lnTo>
                  <a:pt x="5613302" y="6163670"/>
                </a:lnTo>
                <a:lnTo>
                  <a:pt x="5616665" y="6159249"/>
                </a:lnTo>
                <a:lnTo>
                  <a:pt x="5619814" y="6158111"/>
                </a:lnTo>
                <a:lnTo>
                  <a:pt x="5641844" y="6122335"/>
                </a:lnTo>
                <a:cubicBezTo>
                  <a:pt x="5660984" y="6091112"/>
                  <a:pt x="5672914" y="6070992"/>
                  <a:pt x="5694784" y="6032412"/>
                </a:cubicBezTo>
                <a:cubicBezTo>
                  <a:pt x="5698354" y="6047475"/>
                  <a:pt x="5711583" y="6009349"/>
                  <a:pt x="5727512" y="5996037"/>
                </a:cubicBezTo>
                <a:cubicBezTo>
                  <a:pt x="5733692" y="5981849"/>
                  <a:pt x="5736302" y="5952599"/>
                  <a:pt x="5723942" y="5980974"/>
                </a:cubicBezTo>
                <a:cubicBezTo>
                  <a:pt x="5743352" y="5928661"/>
                  <a:pt x="5783130" y="5868347"/>
                  <a:pt x="5822911" y="5808034"/>
                </a:cubicBezTo>
                <a:cubicBezTo>
                  <a:pt x="5840579" y="5775220"/>
                  <a:pt x="5859358" y="5743736"/>
                  <a:pt x="5877583" y="5711587"/>
                </a:cubicBezTo>
                <a:close/>
                <a:moveTo>
                  <a:pt x="6242698" y="5517691"/>
                </a:moveTo>
                <a:cubicBezTo>
                  <a:pt x="6235812" y="5552099"/>
                  <a:pt x="6228924" y="5607154"/>
                  <a:pt x="6208261" y="5662208"/>
                </a:cubicBezTo>
                <a:cubicBezTo>
                  <a:pt x="6187600" y="5717261"/>
                  <a:pt x="6166938" y="5758552"/>
                  <a:pt x="6146276" y="5765433"/>
                </a:cubicBezTo>
                <a:cubicBezTo>
                  <a:pt x="6153164" y="5765433"/>
                  <a:pt x="6153164" y="5765433"/>
                  <a:pt x="6153163" y="5772316"/>
                </a:cubicBezTo>
                <a:cubicBezTo>
                  <a:pt x="6146276" y="5779197"/>
                  <a:pt x="6146274" y="5792962"/>
                  <a:pt x="6139388" y="5792960"/>
                </a:cubicBezTo>
                <a:cubicBezTo>
                  <a:pt x="6139388" y="5792960"/>
                  <a:pt x="6139387" y="5799843"/>
                  <a:pt x="6132502" y="5799841"/>
                </a:cubicBezTo>
                <a:lnTo>
                  <a:pt x="6139387" y="5799843"/>
                </a:lnTo>
                <a:cubicBezTo>
                  <a:pt x="6153163" y="5813605"/>
                  <a:pt x="6125611" y="5854896"/>
                  <a:pt x="6098063" y="5903069"/>
                </a:cubicBezTo>
                <a:cubicBezTo>
                  <a:pt x="6098064" y="5905363"/>
                  <a:pt x="6098064" y="5907656"/>
                  <a:pt x="6098064" y="5909950"/>
                </a:cubicBezTo>
                <a:cubicBezTo>
                  <a:pt x="6104951" y="5909952"/>
                  <a:pt x="6104951" y="5909952"/>
                  <a:pt x="6098065" y="5916833"/>
                </a:cubicBezTo>
                <a:lnTo>
                  <a:pt x="6098065" y="5923714"/>
                </a:lnTo>
                <a:lnTo>
                  <a:pt x="6091178" y="5923714"/>
                </a:lnTo>
                <a:lnTo>
                  <a:pt x="6098065" y="5930597"/>
                </a:lnTo>
                <a:cubicBezTo>
                  <a:pt x="6091178" y="5944360"/>
                  <a:pt x="6098064" y="5951241"/>
                  <a:pt x="6084290" y="5985651"/>
                </a:cubicBezTo>
                <a:cubicBezTo>
                  <a:pt x="6098065" y="5985649"/>
                  <a:pt x="6111840" y="5944360"/>
                  <a:pt x="6118727" y="5965005"/>
                </a:cubicBezTo>
                <a:cubicBezTo>
                  <a:pt x="6115284" y="5971886"/>
                  <a:pt x="6115284" y="5975328"/>
                  <a:pt x="6115283" y="5978768"/>
                </a:cubicBezTo>
                <a:lnTo>
                  <a:pt x="6113562" y="5985649"/>
                </a:lnTo>
                <a:lnTo>
                  <a:pt x="6111840" y="5985651"/>
                </a:lnTo>
                <a:lnTo>
                  <a:pt x="6111840" y="5992530"/>
                </a:lnTo>
                <a:lnTo>
                  <a:pt x="6113562" y="5985649"/>
                </a:lnTo>
                <a:lnTo>
                  <a:pt x="6118727" y="5985649"/>
                </a:lnTo>
                <a:lnTo>
                  <a:pt x="6118727" y="5992532"/>
                </a:lnTo>
                <a:lnTo>
                  <a:pt x="6118727" y="5999413"/>
                </a:lnTo>
                <a:cubicBezTo>
                  <a:pt x="6111840" y="6006295"/>
                  <a:pt x="6104952" y="6020059"/>
                  <a:pt x="6098065" y="6033823"/>
                </a:cubicBezTo>
                <a:lnTo>
                  <a:pt x="6091178" y="6040704"/>
                </a:lnTo>
                <a:cubicBezTo>
                  <a:pt x="6091178" y="6040704"/>
                  <a:pt x="6091178" y="6047587"/>
                  <a:pt x="6084290" y="6054467"/>
                </a:cubicBezTo>
                <a:lnTo>
                  <a:pt x="6077403" y="6061350"/>
                </a:lnTo>
                <a:cubicBezTo>
                  <a:pt x="6077403" y="6054467"/>
                  <a:pt x="6077403" y="6054467"/>
                  <a:pt x="6084290" y="6047585"/>
                </a:cubicBezTo>
                <a:cubicBezTo>
                  <a:pt x="6084290" y="6047585"/>
                  <a:pt x="6084290" y="6040704"/>
                  <a:pt x="6091178" y="6033821"/>
                </a:cubicBezTo>
                <a:cubicBezTo>
                  <a:pt x="6077403" y="6047585"/>
                  <a:pt x="6070516" y="6061350"/>
                  <a:pt x="6056740" y="6068231"/>
                </a:cubicBezTo>
                <a:lnTo>
                  <a:pt x="6036078" y="6047587"/>
                </a:lnTo>
                <a:cubicBezTo>
                  <a:pt x="5987867" y="6150811"/>
                  <a:pt x="5953431" y="6233393"/>
                  <a:pt x="5884558" y="6329737"/>
                </a:cubicBezTo>
                <a:cubicBezTo>
                  <a:pt x="5884558" y="6336619"/>
                  <a:pt x="5884558" y="6336619"/>
                  <a:pt x="5877670" y="6343502"/>
                </a:cubicBezTo>
                <a:lnTo>
                  <a:pt x="5870783" y="6350383"/>
                </a:lnTo>
                <a:cubicBezTo>
                  <a:pt x="5857007" y="6384793"/>
                  <a:pt x="5829458" y="6426082"/>
                  <a:pt x="5801910" y="6460490"/>
                </a:cubicBezTo>
                <a:cubicBezTo>
                  <a:pt x="5788135" y="6494900"/>
                  <a:pt x="5760585" y="6549953"/>
                  <a:pt x="5719261" y="6598128"/>
                </a:cubicBezTo>
                <a:cubicBezTo>
                  <a:pt x="5684825" y="6653181"/>
                  <a:pt x="5643500" y="6701354"/>
                  <a:pt x="5615952" y="6728880"/>
                </a:cubicBezTo>
                <a:cubicBezTo>
                  <a:pt x="5591846" y="6759847"/>
                  <a:pt x="5566018" y="6792535"/>
                  <a:pt x="5540191" y="6825223"/>
                </a:cubicBezTo>
                <a:lnTo>
                  <a:pt x="5514417" y="6858000"/>
                </a:lnTo>
                <a:lnTo>
                  <a:pt x="5432172" y="6858000"/>
                </a:lnTo>
                <a:lnTo>
                  <a:pt x="5485092" y="6818343"/>
                </a:lnTo>
                <a:lnTo>
                  <a:pt x="5498867" y="6832106"/>
                </a:lnTo>
                <a:cubicBezTo>
                  <a:pt x="5512642" y="6818343"/>
                  <a:pt x="5533303" y="6797699"/>
                  <a:pt x="5547078" y="6777051"/>
                </a:cubicBezTo>
                <a:lnTo>
                  <a:pt x="5540191" y="6777052"/>
                </a:lnTo>
                <a:cubicBezTo>
                  <a:pt x="5540191" y="6783935"/>
                  <a:pt x="5533304" y="6790816"/>
                  <a:pt x="5533303" y="6783935"/>
                </a:cubicBezTo>
                <a:lnTo>
                  <a:pt x="5533304" y="6777052"/>
                </a:lnTo>
                <a:cubicBezTo>
                  <a:pt x="5526416" y="6777052"/>
                  <a:pt x="5512641" y="6797699"/>
                  <a:pt x="5512641" y="6783935"/>
                </a:cubicBezTo>
                <a:cubicBezTo>
                  <a:pt x="5526416" y="6756405"/>
                  <a:pt x="5533304" y="6763288"/>
                  <a:pt x="5547078" y="6742645"/>
                </a:cubicBezTo>
                <a:lnTo>
                  <a:pt x="5547077" y="6735761"/>
                </a:lnTo>
                <a:lnTo>
                  <a:pt x="5553964" y="6735759"/>
                </a:lnTo>
                <a:cubicBezTo>
                  <a:pt x="5553965" y="6728877"/>
                  <a:pt x="5560853" y="6721997"/>
                  <a:pt x="5560853" y="6721997"/>
                </a:cubicBezTo>
                <a:lnTo>
                  <a:pt x="5567740" y="6721999"/>
                </a:lnTo>
                <a:cubicBezTo>
                  <a:pt x="5574627" y="6701353"/>
                  <a:pt x="5595289" y="6666943"/>
                  <a:pt x="5615951" y="6639417"/>
                </a:cubicBezTo>
                <a:cubicBezTo>
                  <a:pt x="5643501" y="6611890"/>
                  <a:pt x="5664163" y="6591243"/>
                  <a:pt x="5677937" y="6591244"/>
                </a:cubicBezTo>
                <a:lnTo>
                  <a:pt x="5684824" y="6584361"/>
                </a:lnTo>
                <a:cubicBezTo>
                  <a:pt x="5684825" y="6577480"/>
                  <a:pt x="5691712" y="6570599"/>
                  <a:pt x="5698599" y="6570599"/>
                </a:cubicBezTo>
                <a:lnTo>
                  <a:pt x="5698600" y="6577480"/>
                </a:lnTo>
                <a:lnTo>
                  <a:pt x="5691712" y="6584363"/>
                </a:lnTo>
                <a:lnTo>
                  <a:pt x="5691711" y="6591244"/>
                </a:lnTo>
                <a:cubicBezTo>
                  <a:pt x="5712373" y="6563718"/>
                  <a:pt x="5705487" y="6563719"/>
                  <a:pt x="5719261" y="6543072"/>
                </a:cubicBezTo>
                <a:lnTo>
                  <a:pt x="5712373" y="6549953"/>
                </a:lnTo>
                <a:lnTo>
                  <a:pt x="5712373" y="6543070"/>
                </a:lnTo>
                <a:lnTo>
                  <a:pt x="5712374" y="6536189"/>
                </a:lnTo>
                <a:cubicBezTo>
                  <a:pt x="5712374" y="6536189"/>
                  <a:pt x="5705486" y="6549955"/>
                  <a:pt x="5698599" y="6543072"/>
                </a:cubicBezTo>
                <a:cubicBezTo>
                  <a:pt x="5712374" y="6522426"/>
                  <a:pt x="5726148" y="6501781"/>
                  <a:pt x="5733036" y="6508664"/>
                </a:cubicBezTo>
                <a:lnTo>
                  <a:pt x="5739923" y="6501783"/>
                </a:lnTo>
                <a:cubicBezTo>
                  <a:pt x="5743368" y="6501782"/>
                  <a:pt x="5745089" y="6500061"/>
                  <a:pt x="5745949" y="6498341"/>
                </a:cubicBezTo>
                <a:lnTo>
                  <a:pt x="5746479" y="6496223"/>
                </a:lnTo>
                <a:lnTo>
                  <a:pt x="5774791" y="6472212"/>
                </a:lnTo>
                <a:cubicBezTo>
                  <a:pt x="5808367" y="6438984"/>
                  <a:pt x="5838069" y="6395114"/>
                  <a:pt x="5863896" y="6343502"/>
                </a:cubicBezTo>
                <a:lnTo>
                  <a:pt x="5870782" y="6336621"/>
                </a:lnTo>
                <a:cubicBezTo>
                  <a:pt x="5870783" y="6329737"/>
                  <a:pt x="5877670" y="6322854"/>
                  <a:pt x="5877670" y="6322854"/>
                </a:cubicBezTo>
                <a:lnTo>
                  <a:pt x="5877670" y="6329736"/>
                </a:lnTo>
                <a:cubicBezTo>
                  <a:pt x="5882836" y="6314253"/>
                  <a:pt x="5891875" y="6291028"/>
                  <a:pt x="5896073" y="6274575"/>
                </a:cubicBezTo>
                <a:lnTo>
                  <a:pt x="5897128" y="6268192"/>
                </a:lnTo>
                <a:lnTo>
                  <a:pt x="5897471" y="6267801"/>
                </a:lnTo>
                <a:cubicBezTo>
                  <a:pt x="5898332" y="6266081"/>
                  <a:pt x="5898331" y="6264361"/>
                  <a:pt x="5898331" y="6260920"/>
                </a:cubicBezTo>
                <a:lnTo>
                  <a:pt x="5897128" y="6268192"/>
                </a:lnTo>
                <a:lnTo>
                  <a:pt x="5891445" y="6274682"/>
                </a:lnTo>
                <a:lnTo>
                  <a:pt x="5884558" y="6274684"/>
                </a:lnTo>
                <a:cubicBezTo>
                  <a:pt x="5884558" y="6267801"/>
                  <a:pt x="5884558" y="6267801"/>
                  <a:pt x="5891444" y="6260922"/>
                </a:cubicBezTo>
                <a:lnTo>
                  <a:pt x="5891445" y="6258416"/>
                </a:lnTo>
                <a:lnTo>
                  <a:pt x="5894028" y="6254899"/>
                </a:lnTo>
                <a:cubicBezTo>
                  <a:pt x="5896610" y="6252317"/>
                  <a:pt x="5898332" y="6250597"/>
                  <a:pt x="5898332" y="6247155"/>
                </a:cubicBezTo>
                <a:lnTo>
                  <a:pt x="5891444" y="6254039"/>
                </a:lnTo>
                <a:lnTo>
                  <a:pt x="5891445" y="6258416"/>
                </a:lnTo>
                <a:lnTo>
                  <a:pt x="5884558" y="6267801"/>
                </a:lnTo>
                <a:cubicBezTo>
                  <a:pt x="5912107" y="6178338"/>
                  <a:pt x="5987867" y="6081995"/>
                  <a:pt x="6022303" y="5992532"/>
                </a:cubicBezTo>
                <a:cubicBezTo>
                  <a:pt x="6029192" y="5992532"/>
                  <a:pt x="6042966" y="5965005"/>
                  <a:pt x="6049854" y="5958122"/>
                </a:cubicBezTo>
                <a:cubicBezTo>
                  <a:pt x="6042966" y="5958122"/>
                  <a:pt x="6042966" y="5958122"/>
                  <a:pt x="6042968" y="5944358"/>
                </a:cubicBezTo>
                <a:cubicBezTo>
                  <a:pt x="6042968" y="5944358"/>
                  <a:pt x="6049853" y="5944360"/>
                  <a:pt x="6049853" y="5937477"/>
                </a:cubicBezTo>
                <a:cubicBezTo>
                  <a:pt x="6049853" y="5930595"/>
                  <a:pt x="6056743" y="5930595"/>
                  <a:pt x="6056739" y="5923714"/>
                </a:cubicBezTo>
                <a:cubicBezTo>
                  <a:pt x="6077401" y="5872101"/>
                  <a:pt x="6094190" y="5851455"/>
                  <a:pt x="6110010" y="5829842"/>
                </a:cubicBezTo>
                <a:lnTo>
                  <a:pt x="6122376" y="5811522"/>
                </a:lnTo>
                <a:lnTo>
                  <a:pt x="6124752" y="5810165"/>
                </a:lnTo>
                <a:cubicBezTo>
                  <a:pt x="6125613" y="5808444"/>
                  <a:pt x="6125614" y="5806724"/>
                  <a:pt x="6125614" y="5806724"/>
                </a:cubicBezTo>
                <a:lnTo>
                  <a:pt x="6122376" y="5811522"/>
                </a:lnTo>
                <a:lnTo>
                  <a:pt x="6118726" y="5813605"/>
                </a:lnTo>
                <a:cubicBezTo>
                  <a:pt x="6118726" y="5813605"/>
                  <a:pt x="6111839" y="5813605"/>
                  <a:pt x="6111839" y="5806722"/>
                </a:cubicBezTo>
                <a:lnTo>
                  <a:pt x="6118725" y="5799843"/>
                </a:lnTo>
                <a:cubicBezTo>
                  <a:pt x="6118726" y="5797549"/>
                  <a:pt x="6118725" y="5795254"/>
                  <a:pt x="6118726" y="5792960"/>
                </a:cubicBezTo>
                <a:cubicBezTo>
                  <a:pt x="6118727" y="5758552"/>
                  <a:pt x="6160050" y="5675970"/>
                  <a:pt x="6180713" y="5682851"/>
                </a:cubicBezTo>
                <a:cubicBezTo>
                  <a:pt x="6194488" y="5634682"/>
                  <a:pt x="6215149" y="5558980"/>
                  <a:pt x="6242698" y="5517691"/>
                </a:cubicBezTo>
                <a:close/>
                <a:moveTo>
                  <a:pt x="6031724" y="5503741"/>
                </a:moveTo>
                <a:lnTo>
                  <a:pt x="6030787" y="5503894"/>
                </a:lnTo>
                <a:cubicBezTo>
                  <a:pt x="6022529" y="5508681"/>
                  <a:pt x="6009423" y="5521326"/>
                  <a:pt x="6006746" y="5510028"/>
                </a:cubicBezTo>
                <a:cubicBezTo>
                  <a:pt x="5991077" y="5547935"/>
                  <a:pt x="5974518" y="5582076"/>
                  <a:pt x="5958107" y="5613697"/>
                </a:cubicBezTo>
                <a:lnTo>
                  <a:pt x="5918354" y="5687414"/>
                </a:lnTo>
                <a:lnTo>
                  <a:pt x="5923128" y="5688762"/>
                </a:lnTo>
                <a:cubicBezTo>
                  <a:pt x="5933239" y="5686389"/>
                  <a:pt x="5945430" y="5674655"/>
                  <a:pt x="5945484" y="5701131"/>
                </a:cubicBezTo>
                <a:cubicBezTo>
                  <a:pt x="5967133" y="5668507"/>
                  <a:pt x="5990082" y="5607363"/>
                  <a:pt x="6002207" y="5562534"/>
                </a:cubicBezTo>
                <a:close/>
                <a:moveTo>
                  <a:pt x="4900498" y="5370762"/>
                </a:moveTo>
                <a:cubicBezTo>
                  <a:pt x="4900541" y="5370954"/>
                  <a:pt x="4900584" y="5371147"/>
                  <a:pt x="4900627" y="5371339"/>
                </a:cubicBezTo>
                <a:cubicBezTo>
                  <a:pt x="4898519" y="5376610"/>
                  <a:pt x="4894301" y="5382936"/>
                  <a:pt x="4890083" y="5387153"/>
                </a:cubicBezTo>
                <a:close/>
                <a:moveTo>
                  <a:pt x="6059700" y="5339561"/>
                </a:moveTo>
                <a:lnTo>
                  <a:pt x="6048904" y="5362569"/>
                </a:lnTo>
                <a:cubicBezTo>
                  <a:pt x="6016082" y="5425810"/>
                  <a:pt x="5983851" y="5478970"/>
                  <a:pt x="5960539" y="5532008"/>
                </a:cubicBezTo>
                <a:lnTo>
                  <a:pt x="5934065" y="5610445"/>
                </a:lnTo>
                <a:lnTo>
                  <a:pt x="5937012" y="5610037"/>
                </a:lnTo>
                <a:cubicBezTo>
                  <a:pt x="5940222" y="5608483"/>
                  <a:pt x="5943987" y="5607592"/>
                  <a:pt x="5948427" y="5612905"/>
                </a:cubicBezTo>
                <a:cubicBezTo>
                  <a:pt x="5985506" y="5527779"/>
                  <a:pt x="6012925" y="5495840"/>
                  <a:pt x="6012835" y="5441778"/>
                </a:cubicBezTo>
                <a:cubicBezTo>
                  <a:pt x="6035815" y="5404527"/>
                  <a:pt x="6038424" y="5375275"/>
                  <a:pt x="6060534" y="5347774"/>
                </a:cubicBezTo>
                <a:close/>
                <a:moveTo>
                  <a:pt x="5092541" y="5302798"/>
                </a:moveTo>
                <a:cubicBezTo>
                  <a:pt x="5100976" y="5311232"/>
                  <a:pt x="5092540" y="5319670"/>
                  <a:pt x="5084105" y="5311234"/>
                </a:cubicBezTo>
                <a:cubicBezTo>
                  <a:pt x="5092539" y="5311234"/>
                  <a:pt x="5092539" y="5311234"/>
                  <a:pt x="5092541" y="5302798"/>
                </a:cubicBezTo>
                <a:close/>
                <a:moveTo>
                  <a:pt x="4274497" y="5281926"/>
                </a:moveTo>
                <a:lnTo>
                  <a:pt x="4273967" y="5284044"/>
                </a:lnTo>
                <a:cubicBezTo>
                  <a:pt x="4273105" y="5285765"/>
                  <a:pt x="4271385" y="5287485"/>
                  <a:pt x="4267941" y="5287486"/>
                </a:cubicBezTo>
                <a:close/>
                <a:moveTo>
                  <a:pt x="6147025" y="5207320"/>
                </a:moveTo>
                <a:lnTo>
                  <a:pt x="6127664" y="5251775"/>
                </a:lnTo>
                <a:lnTo>
                  <a:pt x="6127242" y="5251844"/>
                </a:lnTo>
                <a:lnTo>
                  <a:pt x="6127919" y="5262990"/>
                </a:lnTo>
                <a:lnTo>
                  <a:pt x="6131360" y="5253356"/>
                </a:lnTo>
                <a:close/>
                <a:moveTo>
                  <a:pt x="5028123" y="5195433"/>
                </a:moveTo>
                <a:lnTo>
                  <a:pt x="5025054" y="5201570"/>
                </a:lnTo>
                <a:lnTo>
                  <a:pt x="5025055" y="5210004"/>
                </a:lnTo>
                <a:lnTo>
                  <a:pt x="5016618" y="5218441"/>
                </a:lnTo>
                <a:cubicBezTo>
                  <a:pt x="5016618" y="5210006"/>
                  <a:pt x="5025054" y="5201570"/>
                  <a:pt x="5016619" y="5201568"/>
                </a:cubicBezTo>
                <a:close/>
                <a:moveTo>
                  <a:pt x="5038512" y="5179677"/>
                </a:moveTo>
                <a:lnTo>
                  <a:pt x="5030458" y="5194189"/>
                </a:lnTo>
                <a:lnTo>
                  <a:pt x="5028123" y="5195433"/>
                </a:lnTo>
                <a:lnTo>
                  <a:pt x="5033492" y="5184698"/>
                </a:lnTo>
                <a:close/>
                <a:moveTo>
                  <a:pt x="5051826" y="5150955"/>
                </a:moveTo>
                <a:lnTo>
                  <a:pt x="5058797" y="5150956"/>
                </a:lnTo>
                <a:cubicBezTo>
                  <a:pt x="5050363" y="5159393"/>
                  <a:pt x="5041926" y="5167825"/>
                  <a:pt x="5041926" y="5176263"/>
                </a:cubicBezTo>
                <a:lnTo>
                  <a:pt x="5038512" y="5179677"/>
                </a:lnTo>
                <a:lnTo>
                  <a:pt x="5045089" y="5167825"/>
                </a:lnTo>
                <a:close/>
                <a:moveTo>
                  <a:pt x="5057164" y="5137575"/>
                </a:moveTo>
                <a:lnTo>
                  <a:pt x="5051826" y="5150955"/>
                </a:lnTo>
                <a:lnTo>
                  <a:pt x="5050362" y="5150956"/>
                </a:lnTo>
                <a:close/>
                <a:moveTo>
                  <a:pt x="4431848" y="5083476"/>
                </a:moveTo>
                <a:lnTo>
                  <a:pt x="4414009" y="5091602"/>
                </a:lnTo>
                <a:lnTo>
                  <a:pt x="4405686" y="5115441"/>
                </a:lnTo>
                <a:lnTo>
                  <a:pt x="4405685" y="5108559"/>
                </a:lnTo>
                <a:cubicBezTo>
                  <a:pt x="4405685" y="5108559"/>
                  <a:pt x="4398800" y="5115440"/>
                  <a:pt x="4398800" y="5122323"/>
                </a:cubicBezTo>
                <a:cubicBezTo>
                  <a:pt x="4391913" y="5122321"/>
                  <a:pt x="4391913" y="5129203"/>
                  <a:pt x="4391913" y="5129203"/>
                </a:cubicBezTo>
                <a:cubicBezTo>
                  <a:pt x="4366085" y="5180817"/>
                  <a:pt x="4336384" y="5224688"/>
                  <a:pt x="4302808" y="5257916"/>
                </a:cubicBezTo>
                <a:lnTo>
                  <a:pt x="4274497" y="5281926"/>
                </a:lnTo>
                <a:cubicBezTo>
                  <a:pt x="4274606" y="5281485"/>
                  <a:pt x="4274718" y="5281045"/>
                  <a:pt x="4274828" y="5280603"/>
                </a:cubicBezTo>
                <a:lnTo>
                  <a:pt x="4267941" y="5273721"/>
                </a:lnTo>
                <a:lnTo>
                  <a:pt x="4267941" y="5280603"/>
                </a:lnTo>
                <a:lnTo>
                  <a:pt x="4267941" y="5287486"/>
                </a:lnTo>
                <a:cubicBezTo>
                  <a:pt x="4261052" y="5287486"/>
                  <a:pt x="4261052" y="5294367"/>
                  <a:pt x="4261052" y="5294367"/>
                </a:cubicBezTo>
                <a:cubicBezTo>
                  <a:pt x="4254166" y="5287484"/>
                  <a:pt x="4240390" y="5308129"/>
                  <a:pt x="4226617" y="5328775"/>
                </a:cubicBezTo>
                <a:cubicBezTo>
                  <a:pt x="4233504" y="5335658"/>
                  <a:pt x="4240390" y="5321894"/>
                  <a:pt x="4240390" y="5321894"/>
                </a:cubicBezTo>
                <a:lnTo>
                  <a:pt x="4240389" y="5328775"/>
                </a:lnTo>
                <a:lnTo>
                  <a:pt x="4240390" y="5335658"/>
                </a:lnTo>
                <a:lnTo>
                  <a:pt x="4247279" y="5328773"/>
                </a:lnTo>
                <a:cubicBezTo>
                  <a:pt x="4233504" y="5349420"/>
                  <a:pt x="4240389" y="5349418"/>
                  <a:pt x="4219728" y="5376947"/>
                </a:cubicBezTo>
                <a:lnTo>
                  <a:pt x="4219727" y="5370066"/>
                </a:lnTo>
                <a:lnTo>
                  <a:pt x="4226616" y="5363185"/>
                </a:lnTo>
                <a:lnTo>
                  <a:pt x="4226617" y="5356304"/>
                </a:lnTo>
                <a:cubicBezTo>
                  <a:pt x="4219728" y="5356302"/>
                  <a:pt x="4212841" y="5363185"/>
                  <a:pt x="4212842" y="5370066"/>
                </a:cubicBezTo>
                <a:cubicBezTo>
                  <a:pt x="4212842" y="5370066"/>
                  <a:pt x="4205955" y="5370066"/>
                  <a:pt x="4205955" y="5376946"/>
                </a:cubicBezTo>
                <a:cubicBezTo>
                  <a:pt x="4192180" y="5376946"/>
                  <a:pt x="4171517" y="5397591"/>
                  <a:pt x="4143968" y="5425119"/>
                </a:cubicBezTo>
                <a:cubicBezTo>
                  <a:pt x="4133638" y="5438882"/>
                  <a:pt x="4123306" y="5454368"/>
                  <a:pt x="4114698" y="5468991"/>
                </a:cubicBezTo>
                <a:lnTo>
                  <a:pt x="4106774" y="5485182"/>
                </a:lnTo>
                <a:cubicBezTo>
                  <a:pt x="4106494" y="5496768"/>
                  <a:pt x="4106214" y="5508354"/>
                  <a:pt x="4105934" y="5519940"/>
                </a:cubicBezTo>
                <a:cubicBezTo>
                  <a:pt x="4100502" y="5538609"/>
                  <a:pt x="4090414" y="5554501"/>
                  <a:pt x="4076469" y="5566880"/>
                </a:cubicBezTo>
                <a:lnTo>
                  <a:pt x="4038190" y="5604898"/>
                </a:lnTo>
                <a:lnTo>
                  <a:pt x="4036241" y="5607124"/>
                </a:lnTo>
                <a:lnTo>
                  <a:pt x="4050421" y="5633545"/>
                </a:lnTo>
                <a:lnTo>
                  <a:pt x="4143968" y="5514583"/>
                </a:lnTo>
                <a:cubicBezTo>
                  <a:pt x="4171518" y="5487054"/>
                  <a:pt x="4212841" y="5438884"/>
                  <a:pt x="4247279" y="5383830"/>
                </a:cubicBezTo>
                <a:cubicBezTo>
                  <a:pt x="4288602" y="5335658"/>
                  <a:pt x="4316152" y="5280601"/>
                  <a:pt x="4329927" y="5246195"/>
                </a:cubicBezTo>
                <a:cubicBezTo>
                  <a:pt x="4357475" y="5211785"/>
                  <a:pt x="4385024" y="5170496"/>
                  <a:pt x="4398800" y="5136086"/>
                </a:cubicBezTo>
                <a:cubicBezTo>
                  <a:pt x="4398800" y="5136086"/>
                  <a:pt x="4405686" y="5136084"/>
                  <a:pt x="4405686" y="5129203"/>
                </a:cubicBezTo>
                <a:cubicBezTo>
                  <a:pt x="4412575" y="5122321"/>
                  <a:pt x="4412575" y="5122321"/>
                  <a:pt x="4412575" y="5115438"/>
                </a:cubicBezTo>
                <a:close/>
                <a:moveTo>
                  <a:pt x="4424641" y="5024444"/>
                </a:moveTo>
                <a:lnTo>
                  <a:pt x="4412574" y="5053506"/>
                </a:lnTo>
                <a:lnTo>
                  <a:pt x="4419461" y="5044121"/>
                </a:lnTo>
                <a:lnTo>
                  <a:pt x="4419461" y="5046624"/>
                </a:lnTo>
                <a:cubicBezTo>
                  <a:pt x="4412574" y="5053506"/>
                  <a:pt x="4412574" y="5053506"/>
                  <a:pt x="4412574" y="5060387"/>
                </a:cubicBezTo>
                <a:lnTo>
                  <a:pt x="4416932" y="5060387"/>
                </a:lnTo>
                <a:lnTo>
                  <a:pt x="4420817" y="5042274"/>
                </a:lnTo>
                <a:lnTo>
                  <a:pt x="4419461" y="5044121"/>
                </a:lnTo>
                <a:lnTo>
                  <a:pt x="4419462" y="5039742"/>
                </a:lnTo>
                <a:lnTo>
                  <a:pt x="4421877" y="5037328"/>
                </a:lnTo>
                <a:close/>
                <a:moveTo>
                  <a:pt x="6184910" y="5000207"/>
                </a:moveTo>
                <a:lnTo>
                  <a:pt x="6182308" y="5002382"/>
                </a:lnTo>
                <a:lnTo>
                  <a:pt x="6184369" y="5004325"/>
                </a:lnTo>
                <a:lnTo>
                  <a:pt x="6185038" y="5003800"/>
                </a:lnTo>
                <a:close/>
                <a:moveTo>
                  <a:pt x="4530169" y="4904952"/>
                </a:moveTo>
                <a:lnTo>
                  <a:pt x="4471060" y="5018446"/>
                </a:lnTo>
                <a:lnTo>
                  <a:pt x="4496083" y="4976946"/>
                </a:lnTo>
                <a:close/>
                <a:moveTo>
                  <a:pt x="5279291" y="4811201"/>
                </a:moveTo>
                <a:cubicBezTo>
                  <a:pt x="5278903" y="4817600"/>
                  <a:pt x="5278514" y="4823999"/>
                  <a:pt x="5278126" y="4830398"/>
                </a:cubicBezTo>
                <a:lnTo>
                  <a:pt x="5278126" y="4821965"/>
                </a:lnTo>
                <a:lnTo>
                  <a:pt x="5278125" y="4813529"/>
                </a:lnTo>
                <a:close/>
                <a:moveTo>
                  <a:pt x="4639857" y="4771353"/>
                </a:moveTo>
                <a:lnTo>
                  <a:pt x="4641578" y="4771353"/>
                </a:lnTo>
                <a:lnTo>
                  <a:pt x="4639859" y="4778235"/>
                </a:lnTo>
                <a:cubicBezTo>
                  <a:pt x="4639858" y="4775941"/>
                  <a:pt x="4639858" y="4773647"/>
                  <a:pt x="4639857" y="4771353"/>
                </a:cubicBezTo>
                <a:close/>
                <a:moveTo>
                  <a:pt x="6300040" y="4758666"/>
                </a:moveTo>
                <a:lnTo>
                  <a:pt x="6294570" y="4787455"/>
                </a:lnTo>
                <a:lnTo>
                  <a:pt x="6297038" y="4785392"/>
                </a:lnTo>
                <a:cubicBezTo>
                  <a:pt x="6300781" y="4770985"/>
                  <a:pt x="6302097" y="4763118"/>
                  <a:pt x="6301896" y="4759338"/>
                </a:cubicBezTo>
                <a:close/>
                <a:moveTo>
                  <a:pt x="4624114" y="4714333"/>
                </a:moveTo>
                <a:lnTo>
                  <a:pt x="4608083" y="4755346"/>
                </a:lnTo>
                <a:lnTo>
                  <a:pt x="4566989" y="4834251"/>
                </a:lnTo>
                <a:lnTo>
                  <a:pt x="4579591" y="4838449"/>
                </a:lnTo>
                <a:cubicBezTo>
                  <a:pt x="4581313" y="4843611"/>
                  <a:pt x="4581316" y="4850494"/>
                  <a:pt x="4584759" y="4853934"/>
                </a:cubicBezTo>
                <a:cubicBezTo>
                  <a:pt x="4598533" y="4847051"/>
                  <a:pt x="4605421" y="4833288"/>
                  <a:pt x="4619195" y="4819526"/>
                </a:cubicBezTo>
                <a:cubicBezTo>
                  <a:pt x="4612308" y="4826405"/>
                  <a:pt x="4612310" y="4833285"/>
                  <a:pt x="4612310" y="4833285"/>
                </a:cubicBezTo>
                <a:cubicBezTo>
                  <a:pt x="4605419" y="4840171"/>
                  <a:pt x="4605419" y="4840171"/>
                  <a:pt x="4605419" y="4847052"/>
                </a:cubicBezTo>
                <a:cubicBezTo>
                  <a:pt x="4612307" y="4847051"/>
                  <a:pt x="4612308" y="4840169"/>
                  <a:pt x="4612308" y="4840169"/>
                </a:cubicBezTo>
                <a:cubicBezTo>
                  <a:pt x="4619195" y="4833288"/>
                  <a:pt x="4619195" y="4826408"/>
                  <a:pt x="4619195" y="4826408"/>
                </a:cubicBezTo>
                <a:lnTo>
                  <a:pt x="4626081" y="4819526"/>
                </a:lnTo>
                <a:cubicBezTo>
                  <a:pt x="4632969" y="4805761"/>
                  <a:pt x="4639857" y="4791997"/>
                  <a:pt x="4646742" y="4785116"/>
                </a:cubicBezTo>
                <a:lnTo>
                  <a:pt x="4646742" y="4778236"/>
                </a:lnTo>
                <a:lnTo>
                  <a:pt x="4646742" y="4771353"/>
                </a:lnTo>
                <a:lnTo>
                  <a:pt x="4641578" y="4771353"/>
                </a:lnTo>
                <a:lnTo>
                  <a:pt x="4643300" y="4764470"/>
                </a:lnTo>
                <a:cubicBezTo>
                  <a:pt x="4643300" y="4761032"/>
                  <a:pt x="4643300" y="4757588"/>
                  <a:pt x="4646744" y="4750706"/>
                </a:cubicBezTo>
                <a:cubicBezTo>
                  <a:pt x="4639857" y="4730062"/>
                  <a:pt x="4626083" y="4771351"/>
                  <a:pt x="4612308" y="4771353"/>
                </a:cubicBezTo>
                <a:cubicBezTo>
                  <a:pt x="4626083" y="4736944"/>
                  <a:pt x="4619194" y="4730062"/>
                  <a:pt x="4626081" y="4716301"/>
                </a:cubicBezTo>
                <a:close/>
                <a:moveTo>
                  <a:pt x="4626083" y="4709296"/>
                </a:moveTo>
                <a:cubicBezTo>
                  <a:pt x="4626067" y="4709336"/>
                  <a:pt x="4626052" y="4709378"/>
                  <a:pt x="4626036" y="4709417"/>
                </a:cubicBezTo>
                <a:lnTo>
                  <a:pt x="4626083" y="4709417"/>
                </a:lnTo>
                <a:close/>
                <a:moveTo>
                  <a:pt x="4669890" y="4597214"/>
                </a:moveTo>
                <a:lnTo>
                  <a:pt x="4652597" y="4641464"/>
                </a:lnTo>
                <a:lnTo>
                  <a:pt x="4662239" y="4624254"/>
                </a:lnTo>
                <a:cubicBezTo>
                  <a:pt x="4666546" y="4615223"/>
                  <a:pt x="4669558" y="4607264"/>
                  <a:pt x="4670635" y="4600705"/>
                </a:cubicBezTo>
                <a:close/>
                <a:moveTo>
                  <a:pt x="6312651" y="4449732"/>
                </a:moveTo>
                <a:lnTo>
                  <a:pt x="6267859" y="4610691"/>
                </a:lnTo>
                <a:cubicBezTo>
                  <a:pt x="6241042" y="4697704"/>
                  <a:pt x="6212145" y="4784388"/>
                  <a:pt x="6182372" y="4871073"/>
                </a:cubicBezTo>
                <a:cubicBezTo>
                  <a:pt x="6104876" y="5094353"/>
                  <a:pt x="6019006" y="5313199"/>
                  <a:pt x="5921253" y="5525765"/>
                </a:cubicBezTo>
                <a:lnTo>
                  <a:pt x="5877945" y="5612921"/>
                </a:lnTo>
                <a:lnTo>
                  <a:pt x="5913709" y="5556906"/>
                </a:lnTo>
                <a:cubicBezTo>
                  <a:pt x="5949047" y="5491279"/>
                  <a:pt x="5988825" y="5430967"/>
                  <a:pt x="6019724" y="5360027"/>
                </a:cubicBezTo>
                <a:cubicBezTo>
                  <a:pt x="6024165" y="5365339"/>
                  <a:pt x="6030345" y="5351151"/>
                  <a:pt x="6039225" y="5361777"/>
                </a:cubicBezTo>
                <a:lnTo>
                  <a:pt x="6048547" y="5341824"/>
                </a:lnTo>
                <a:lnTo>
                  <a:pt x="6046345" y="5341588"/>
                </a:lnTo>
                <a:cubicBezTo>
                  <a:pt x="6058704" y="5313213"/>
                  <a:pt x="6071063" y="5284837"/>
                  <a:pt x="6084294" y="5246712"/>
                </a:cubicBezTo>
                <a:lnTo>
                  <a:pt x="6089991" y="5252078"/>
                </a:lnTo>
                <a:lnTo>
                  <a:pt x="6098822" y="5228225"/>
                </a:lnTo>
                <a:cubicBezTo>
                  <a:pt x="6101958" y="5216299"/>
                  <a:pt x="6103654" y="5204166"/>
                  <a:pt x="6103633" y="5190650"/>
                </a:cubicBezTo>
                <a:cubicBezTo>
                  <a:pt x="6126613" y="5153399"/>
                  <a:pt x="6129222" y="5124147"/>
                  <a:pt x="6151332" y="5096646"/>
                </a:cubicBezTo>
                <a:cubicBezTo>
                  <a:pt x="6153073" y="5077147"/>
                  <a:pt x="6141582" y="5095771"/>
                  <a:pt x="6137143" y="5090460"/>
                </a:cubicBezTo>
                <a:cubicBezTo>
                  <a:pt x="6143321" y="5076272"/>
                  <a:pt x="6149502" y="5062085"/>
                  <a:pt x="6155791" y="5046678"/>
                </a:cubicBezTo>
                <a:lnTo>
                  <a:pt x="6163274" y="5026869"/>
                </a:lnTo>
                <a:lnTo>
                  <a:pt x="6160038" y="5031146"/>
                </a:lnTo>
                <a:cubicBezTo>
                  <a:pt x="6158433" y="5031923"/>
                  <a:pt x="6157709" y="5029708"/>
                  <a:pt x="6158362" y="5022395"/>
                </a:cubicBezTo>
                <a:cubicBezTo>
                  <a:pt x="6161842" y="4983395"/>
                  <a:pt x="6165322" y="4944393"/>
                  <a:pt x="6191781" y="4868143"/>
                </a:cubicBezTo>
                <a:cubicBezTo>
                  <a:pt x="6211280" y="4869891"/>
                  <a:pt x="6198049" y="4908018"/>
                  <a:pt x="6200750" y="4932832"/>
                </a:cubicBezTo>
                <a:cubicBezTo>
                  <a:pt x="6205191" y="4938144"/>
                  <a:pt x="6208670" y="4899143"/>
                  <a:pt x="6218420" y="4900018"/>
                </a:cubicBezTo>
                <a:cubicBezTo>
                  <a:pt x="6220160" y="4880517"/>
                  <a:pt x="6227210" y="4856578"/>
                  <a:pt x="6222771" y="4851267"/>
                </a:cubicBezTo>
                <a:cubicBezTo>
                  <a:pt x="6264200" y="4717389"/>
                  <a:pt x="6264889" y="4599513"/>
                  <a:pt x="6309018" y="4490449"/>
                </a:cubicBezTo>
                <a:cubicBezTo>
                  <a:pt x="6310322" y="4475824"/>
                  <a:pt x="6311410" y="4463635"/>
                  <a:pt x="6312390" y="4452667"/>
                </a:cubicBezTo>
                <a:close/>
                <a:moveTo>
                  <a:pt x="4770714" y="4303393"/>
                </a:moveTo>
                <a:lnTo>
                  <a:pt x="4768098" y="4309185"/>
                </a:lnTo>
                <a:lnTo>
                  <a:pt x="4730786" y="4441413"/>
                </a:lnTo>
                <a:lnTo>
                  <a:pt x="4697881" y="4525604"/>
                </a:lnTo>
                <a:lnTo>
                  <a:pt x="4705286" y="4517587"/>
                </a:lnTo>
                <a:cubicBezTo>
                  <a:pt x="4715618" y="4499524"/>
                  <a:pt x="4725948" y="4475437"/>
                  <a:pt x="4736280" y="4447908"/>
                </a:cubicBezTo>
                <a:cubicBezTo>
                  <a:pt x="4756941" y="4392857"/>
                  <a:pt x="4763829" y="4337801"/>
                  <a:pt x="4770714" y="4303393"/>
                </a:cubicBezTo>
                <a:close/>
                <a:moveTo>
                  <a:pt x="5516941" y="4034216"/>
                </a:moveTo>
                <a:lnTo>
                  <a:pt x="5516585" y="4035638"/>
                </a:lnTo>
                <a:lnTo>
                  <a:pt x="5517415" y="4034843"/>
                </a:lnTo>
                <a:close/>
                <a:moveTo>
                  <a:pt x="4464361" y="3887629"/>
                </a:moveTo>
                <a:lnTo>
                  <a:pt x="4447219" y="3951032"/>
                </a:lnTo>
                <a:lnTo>
                  <a:pt x="4449788" y="3945610"/>
                </a:lnTo>
                <a:lnTo>
                  <a:pt x="4458042" y="3931642"/>
                </a:lnTo>
                <a:close/>
                <a:moveTo>
                  <a:pt x="5497455" y="3860297"/>
                </a:moveTo>
                <a:lnTo>
                  <a:pt x="5497454" y="3868735"/>
                </a:lnTo>
                <a:lnTo>
                  <a:pt x="5496941" y="3868220"/>
                </a:lnTo>
                <a:close/>
                <a:moveTo>
                  <a:pt x="5489018" y="3851862"/>
                </a:moveTo>
                <a:lnTo>
                  <a:pt x="5489416" y="3851862"/>
                </a:lnTo>
                <a:cubicBezTo>
                  <a:pt x="5489283" y="3854674"/>
                  <a:pt x="5489151" y="3857487"/>
                  <a:pt x="5489019" y="3860299"/>
                </a:cubicBezTo>
                <a:close/>
                <a:moveTo>
                  <a:pt x="5911079" y="3772494"/>
                </a:moveTo>
                <a:lnTo>
                  <a:pt x="5910807" y="3775940"/>
                </a:lnTo>
                <a:lnTo>
                  <a:pt x="5911685" y="3774713"/>
                </a:lnTo>
                <a:close/>
                <a:moveTo>
                  <a:pt x="6449798" y="3769517"/>
                </a:moveTo>
                <a:cubicBezTo>
                  <a:pt x="6445753" y="3768386"/>
                  <a:pt x="6441387" y="3774290"/>
                  <a:pt x="6435579" y="3779144"/>
                </a:cubicBezTo>
                <a:lnTo>
                  <a:pt x="6426392" y="3784213"/>
                </a:lnTo>
                <a:lnTo>
                  <a:pt x="6421513" y="3924977"/>
                </a:lnTo>
                <a:cubicBezTo>
                  <a:pt x="6417826" y="3973174"/>
                  <a:pt x="6412367" y="4020596"/>
                  <a:pt x="6405797" y="4066691"/>
                </a:cubicBezTo>
                <a:cubicBezTo>
                  <a:pt x="6404055" y="4086191"/>
                  <a:pt x="6407626" y="4101254"/>
                  <a:pt x="6410326" y="4126067"/>
                </a:cubicBezTo>
                <a:cubicBezTo>
                  <a:pt x="6404191" y="4167287"/>
                  <a:pt x="6400036" y="4200085"/>
                  <a:pt x="6395881" y="4232882"/>
                </a:cubicBezTo>
                <a:lnTo>
                  <a:pt x="6391736" y="4265027"/>
                </a:lnTo>
                <a:lnTo>
                  <a:pt x="6399816" y="4239321"/>
                </a:lnTo>
                <a:cubicBezTo>
                  <a:pt x="6402426" y="4210069"/>
                  <a:pt x="6404166" y="4190570"/>
                  <a:pt x="6405907" y="4171069"/>
                </a:cubicBezTo>
                <a:cubicBezTo>
                  <a:pt x="6420004" y="4123193"/>
                  <a:pt x="6413827" y="4137380"/>
                  <a:pt x="6428796" y="4079755"/>
                </a:cubicBezTo>
                <a:cubicBezTo>
                  <a:pt x="6429666" y="4070005"/>
                  <a:pt x="6419916" y="4069130"/>
                  <a:pt x="6419916" y="4069130"/>
                </a:cubicBezTo>
                <a:cubicBezTo>
                  <a:pt x="6421567" y="3995566"/>
                  <a:pt x="6430355" y="3952129"/>
                  <a:pt x="6433836" y="3913127"/>
                </a:cubicBezTo>
                <a:cubicBezTo>
                  <a:pt x="6438187" y="3864376"/>
                  <a:pt x="6446106" y="3830688"/>
                  <a:pt x="6455766" y="3777500"/>
                </a:cubicBezTo>
                <a:cubicBezTo>
                  <a:pt x="6453763" y="3772406"/>
                  <a:pt x="6451821" y="3770082"/>
                  <a:pt x="6449798" y="3769517"/>
                </a:cubicBezTo>
                <a:close/>
                <a:moveTo>
                  <a:pt x="6431269" y="3677444"/>
                </a:moveTo>
                <a:lnTo>
                  <a:pt x="6429099" y="3684082"/>
                </a:lnTo>
                <a:lnTo>
                  <a:pt x="6428712" y="3698653"/>
                </a:lnTo>
                <a:lnTo>
                  <a:pt x="6430840" y="3685964"/>
                </a:lnTo>
                <a:close/>
                <a:moveTo>
                  <a:pt x="6441196" y="3504743"/>
                </a:moveTo>
                <a:cubicBezTo>
                  <a:pt x="6440326" y="3514494"/>
                  <a:pt x="6440326" y="3514494"/>
                  <a:pt x="6440326" y="3514494"/>
                </a:cubicBezTo>
                <a:lnTo>
                  <a:pt x="6440393" y="3514771"/>
                </a:lnTo>
                <a:lnTo>
                  <a:pt x="6438704" y="3535807"/>
                </a:lnTo>
                <a:lnTo>
                  <a:pt x="6440401" y="3531965"/>
                </a:lnTo>
                <a:lnTo>
                  <a:pt x="6441548" y="3519646"/>
                </a:lnTo>
                <a:lnTo>
                  <a:pt x="6440393" y="3514771"/>
                </a:lnTo>
                <a:close/>
                <a:moveTo>
                  <a:pt x="6458019" y="3495196"/>
                </a:moveTo>
                <a:lnTo>
                  <a:pt x="6453910" y="3495641"/>
                </a:lnTo>
                <a:lnTo>
                  <a:pt x="6451579" y="3538789"/>
                </a:lnTo>
                <a:cubicBezTo>
                  <a:pt x="6448227" y="3565675"/>
                  <a:pt x="6443387" y="3593794"/>
                  <a:pt x="6438544" y="3621912"/>
                </a:cubicBezTo>
                <a:lnTo>
                  <a:pt x="6434839" y="3651648"/>
                </a:lnTo>
                <a:lnTo>
                  <a:pt x="6440156" y="3649560"/>
                </a:lnTo>
                <a:cubicBezTo>
                  <a:pt x="6442701" y="3648560"/>
                  <a:pt x="6445356" y="3646342"/>
                  <a:pt x="6448445" y="3639248"/>
                </a:cubicBezTo>
                <a:cubicBezTo>
                  <a:pt x="6448011" y="3644122"/>
                  <a:pt x="6450232" y="3646779"/>
                  <a:pt x="6452125" y="3653091"/>
                </a:cubicBezTo>
                <a:lnTo>
                  <a:pt x="6452316" y="3654200"/>
                </a:lnTo>
                <a:lnTo>
                  <a:pt x="6453358" y="3623160"/>
                </a:lnTo>
                <a:cubicBezTo>
                  <a:pt x="6455499" y="3578510"/>
                  <a:pt x="6458086" y="3535744"/>
                  <a:pt x="6456256" y="3501181"/>
                </a:cubicBezTo>
                <a:cubicBezTo>
                  <a:pt x="6458910" y="3498962"/>
                  <a:pt x="6459129" y="3496524"/>
                  <a:pt x="6458019" y="3495196"/>
                </a:cubicBezTo>
                <a:close/>
                <a:moveTo>
                  <a:pt x="5472148" y="3455387"/>
                </a:moveTo>
                <a:lnTo>
                  <a:pt x="5480584" y="3463821"/>
                </a:lnTo>
                <a:lnTo>
                  <a:pt x="5472148" y="3463821"/>
                </a:lnTo>
                <a:close/>
                <a:moveTo>
                  <a:pt x="5489019" y="3362594"/>
                </a:moveTo>
                <a:cubicBezTo>
                  <a:pt x="5489018" y="3430080"/>
                  <a:pt x="5489018" y="3455387"/>
                  <a:pt x="5497455" y="3514435"/>
                </a:cubicBezTo>
                <a:cubicBezTo>
                  <a:pt x="5514328" y="3506001"/>
                  <a:pt x="5522761" y="3539745"/>
                  <a:pt x="5522761" y="3581921"/>
                </a:cubicBezTo>
                <a:cubicBezTo>
                  <a:pt x="5522760" y="3624099"/>
                  <a:pt x="5522762" y="3666276"/>
                  <a:pt x="5531197" y="3666278"/>
                </a:cubicBezTo>
                <a:cubicBezTo>
                  <a:pt x="5539634" y="3708456"/>
                  <a:pt x="5522762" y="3767506"/>
                  <a:pt x="5514328" y="3809685"/>
                </a:cubicBezTo>
                <a:lnTo>
                  <a:pt x="5505888" y="3801249"/>
                </a:lnTo>
                <a:cubicBezTo>
                  <a:pt x="5505890" y="3804061"/>
                  <a:pt x="5505890" y="3806873"/>
                  <a:pt x="5505890" y="3809685"/>
                </a:cubicBezTo>
                <a:lnTo>
                  <a:pt x="5497454" y="3843426"/>
                </a:lnTo>
                <a:lnTo>
                  <a:pt x="5497455" y="3851862"/>
                </a:lnTo>
                <a:lnTo>
                  <a:pt x="5489416" y="3851862"/>
                </a:lnTo>
                <a:cubicBezTo>
                  <a:pt x="5489634" y="3847250"/>
                  <a:pt x="5489855" y="3842636"/>
                  <a:pt x="5490073" y="3838023"/>
                </a:cubicBezTo>
                <a:cubicBezTo>
                  <a:pt x="5486911" y="3823392"/>
                  <a:pt x="5474255" y="3826554"/>
                  <a:pt x="5480584" y="3801246"/>
                </a:cubicBezTo>
                <a:cubicBezTo>
                  <a:pt x="5489018" y="3801247"/>
                  <a:pt x="5489018" y="3801247"/>
                  <a:pt x="5489019" y="3792812"/>
                </a:cubicBezTo>
                <a:lnTo>
                  <a:pt x="5489019" y="3784378"/>
                </a:lnTo>
                <a:cubicBezTo>
                  <a:pt x="5497455" y="3784378"/>
                  <a:pt x="5497455" y="3784378"/>
                  <a:pt x="5497455" y="3775942"/>
                </a:cubicBezTo>
                <a:lnTo>
                  <a:pt x="5497455" y="3767506"/>
                </a:lnTo>
                <a:cubicBezTo>
                  <a:pt x="5489019" y="3767506"/>
                  <a:pt x="5489019" y="3775942"/>
                  <a:pt x="5489019" y="3767506"/>
                </a:cubicBezTo>
                <a:cubicBezTo>
                  <a:pt x="5489018" y="3742199"/>
                  <a:pt x="5497455" y="3716890"/>
                  <a:pt x="5480584" y="3700021"/>
                </a:cubicBezTo>
                <a:cubicBezTo>
                  <a:pt x="5489018" y="3708454"/>
                  <a:pt x="5489018" y="3708454"/>
                  <a:pt x="5489019" y="3700021"/>
                </a:cubicBezTo>
                <a:lnTo>
                  <a:pt x="5489018" y="3683147"/>
                </a:lnTo>
                <a:lnTo>
                  <a:pt x="5489019" y="3674714"/>
                </a:lnTo>
                <a:cubicBezTo>
                  <a:pt x="5505891" y="3649407"/>
                  <a:pt x="5480583" y="3624099"/>
                  <a:pt x="5497455" y="3590358"/>
                </a:cubicBezTo>
                <a:lnTo>
                  <a:pt x="5489019" y="3590355"/>
                </a:lnTo>
                <a:cubicBezTo>
                  <a:pt x="5497455" y="3590358"/>
                  <a:pt x="5497454" y="3581921"/>
                  <a:pt x="5497454" y="3581921"/>
                </a:cubicBezTo>
                <a:lnTo>
                  <a:pt x="5489016" y="3573485"/>
                </a:lnTo>
                <a:cubicBezTo>
                  <a:pt x="5489019" y="3548178"/>
                  <a:pt x="5489019" y="3522871"/>
                  <a:pt x="5489019" y="3522871"/>
                </a:cubicBezTo>
                <a:cubicBezTo>
                  <a:pt x="5489019" y="3497563"/>
                  <a:pt x="5480584" y="3539742"/>
                  <a:pt x="5480583" y="3497564"/>
                </a:cubicBezTo>
                <a:cubicBezTo>
                  <a:pt x="5489018" y="3506001"/>
                  <a:pt x="5497454" y="3497563"/>
                  <a:pt x="5489019" y="3489128"/>
                </a:cubicBezTo>
                <a:cubicBezTo>
                  <a:pt x="5480583" y="3480694"/>
                  <a:pt x="5472148" y="3522871"/>
                  <a:pt x="5472148" y="3480692"/>
                </a:cubicBezTo>
                <a:lnTo>
                  <a:pt x="5480583" y="3480694"/>
                </a:lnTo>
                <a:lnTo>
                  <a:pt x="5480584" y="3472258"/>
                </a:lnTo>
                <a:lnTo>
                  <a:pt x="5480584" y="3463821"/>
                </a:lnTo>
                <a:cubicBezTo>
                  <a:pt x="5480584" y="3461009"/>
                  <a:pt x="5480583" y="3458197"/>
                  <a:pt x="5480583" y="3455387"/>
                </a:cubicBezTo>
                <a:cubicBezTo>
                  <a:pt x="5480582" y="3452574"/>
                  <a:pt x="5480583" y="3449762"/>
                  <a:pt x="5480584" y="3446949"/>
                </a:cubicBezTo>
                <a:cubicBezTo>
                  <a:pt x="5489019" y="3446949"/>
                  <a:pt x="5489019" y="3438514"/>
                  <a:pt x="5489018" y="3430080"/>
                </a:cubicBezTo>
                <a:cubicBezTo>
                  <a:pt x="5480583" y="3430080"/>
                  <a:pt x="5480584" y="3421642"/>
                  <a:pt x="5480583" y="3413208"/>
                </a:cubicBezTo>
                <a:cubicBezTo>
                  <a:pt x="5489018" y="3404771"/>
                  <a:pt x="5489018" y="3379464"/>
                  <a:pt x="5489019" y="3362594"/>
                </a:cubicBezTo>
                <a:close/>
                <a:moveTo>
                  <a:pt x="6476672" y="3330681"/>
                </a:moveTo>
                <a:lnTo>
                  <a:pt x="6474216" y="3344735"/>
                </a:lnTo>
                <a:lnTo>
                  <a:pt x="6474237" y="3389156"/>
                </a:lnTo>
                <a:lnTo>
                  <a:pt x="6473057" y="3436128"/>
                </a:lnTo>
                <a:lnTo>
                  <a:pt x="6474117" y="3429860"/>
                </a:lnTo>
                <a:cubicBezTo>
                  <a:pt x="6476661" y="3419416"/>
                  <a:pt x="6479967" y="3409885"/>
                  <a:pt x="6484385" y="3401681"/>
                </a:cubicBezTo>
                <a:cubicBezTo>
                  <a:pt x="6480358" y="3377977"/>
                  <a:pt x="6478049" y="3355656"/>
                  <a:pt x="6476754" y="3334041"/>
                </a:cubicBezTo>
                <a:close/>
                <a:moveTo>
                  <a:pt x="4591997" y="3197452"/>
                </a:moveTo>
                <a:cubicBezTo>
                  <a:pt x="4566940" y="3202074"/>
                  <a:pt x="4574374" y="3225850"/>
                  <a:pt x="4573874" y="3239660"/>
                </a:cubicBezTo>
                <a:cubicBezTo>
                  <a:pt x="4571538" y="3532716"/>
                  <a:pt x="4528026" y="3817368"/>
                  <a:pt x="4466612" y="4099989"/>
                </a:cubicBezTo>
                <a:lnTo>
                  <a:pt x="4461265" y="4132980"/>
                </a:lnTo>
                <a:cubicBezTo>
                  <a:pt x="4459609" y="4140525"/>
                  <a:pt x="4456610" y="4146984"/>
                  <a:pt x="4451817" y="4150441"/>
                </a:cubicBezTo>
                <a:lnTo>
                  <a:pt x="4445021" y="4150252"/>
                </a:lnTo>
                <a:lnTo>
                  <a:pt x="4440617" y="4171396"/>
                </a:lnTo>
                <a:cubicBezTo>
                  <a:pt x="4432827" y="4201347"/>
                  <a:pt x="4422793" y="4232709"/>
                  <a:pt x="4419203" y="4256889"/>
                </a:cubicBezTo>
                <a:cubicBezTo>
                  <a:pt x="4411381" y="4274332"/>
                  <a:pt x="4408559" y="4269841"/>
                  <a:pt x="4407405" y="4258040"/>
                </a:cubicBezTo>
                <a:cubicBezTo>
                  <a:pt x="4405225" y="4284465"/>
                  <a:pt x="4391248" y="4312041"/>
                  <a:pt x="4396892" y="4321021"/>
                </a:cubicBezTo>
                <a:cubicBezTo>
                  <a:pt x="4384069" y="4360400"/>
                  <a:pt x="4374579" y="4385155"/>
                  <a:pt x="4369578" y="4407090"/>
                </a:cubicBezTo>
                <a:cubicBezTo>
                  <a:pt x="4360089" y="4431845"/>
                  <a:pt x="4352267" y="4449289"/>
                  <a:pt x="4333800" y="4479686"/>
                </a:cubicBezTo>
                <a:cubicBezTo>
                  <a:pt x="4326489" y="4478016"/>
                  <a:pt x="4332646" y="4467883"/>
                  <a:pt x="4325334" y="4466213"/>
                </a:cubicBezTo>
                <a:cubicBezTo>
                  <a:pt x="4306356" y="4515724"/>
                  <a:pt x="4298021" y="4552281"/>
                  <a:pt x="4280710" y="4594480"/>
                </a:cubicBezTo>
                <a:cubicBezTo>
                  <a:pt x="4270709" y="4638349"/>
                  <a:pt x="4253397" y="4680548"/>
                  <a:pt x="4225440" y="4735700"/>
                </a:cubicBezTo>
                <a:cubicBezTo>
                  <a:pt x="4236597" y="4703634"/>
                  <a:pt x="4221464" y="4719407"/>
                  <a:pt x="4207997" y="4727870"/>
                </a:cubicBezTo>
                <a:cubicBezTo>
                  <a:pt x="4203508" y="4730690"/>
                  <a:pt x="4201841" y="4738002"/>
                  <a:pt x="4197352" y="4740823"/>
                </a:cubicBezTo>
                <a:cubicBezTo>
                  <a:pt x="4197352" y="4740823"/>
                  <a:pt x="4194531" y="4736333"/>
                  <a:pt x="4196197" y="4729021"/>
                </a:cubicBezTo>
                <a:cubicBezTo>
                  <a:pt x="4196197" y="4729021"/>
                  <a:pt x="4196197" y="4729021"/>
                  <a:pt x="4197864" y="4721710"/>
                </a:cubicBezTo>
                <a:cubicBezTo>
                  <a:pt x="4194531" y="4736333"/>
                  <a:pt x="4186065" y="4722860"/>
                  <a:pt x="4198377" y="4702596"/>
                </a:cubicBezTo>
                <a:cubicBezTo>
                  <a:pt x="4198377" y="4702596"/>
                  <a:pt x="4198377" y="4702596"/>
                  <a:pt x="4205687" y="4704265"/>
                </a:cubicBezTo>
                <a:cubicBezTo>
                  <a:pt x="4210175" y="4701445"/>
                  <a:pt x="4211842" y="4694134"/>
                  <a:pt x="4211842" y="4694134"/>
                </a:cubicBezTo>
                <a:cubicBezTo>
                  <a:pt x="4219153" y="4695804"/>
                  <a:pt x="4214665" y="4698624"/>
                  <a:pt x="4212998" y="4705936"/>
                </a:cubicBezTo>
                <a:cubicBezTo>
                  <a:pt x="4212998" y="4705936"/>
                  <a:pt x="4212998" y="4705936"/>
                  <a:pt x="4211331" y="4713247"/>
                </a:cubicBezTo>
                <a:cubicBezTo>
                  <a:pt x="4228131" y="4690161"/>
                  <a:pt x="4247110" y="4640651"/>
                  <a:pt x="4241466" y="4631670"/>
                </a:cubicBezTo>
                <a:cubicBezTo>
                  <a:pt x="4260444" y="4582159"/>
                  <a:pt x="4289555" y="4538810"/>
                  <a:pt x="4288913" y="4507894"/>
                </a:cubicBezTo>
                <a:cubicBezTo>
                  <a:pt x="4300068" y="4475827"/>
                  <a:pt x="4304045" y="4492119"/>
                  <a:pt x="4316357" y="4471856"/>
                </a:cubicBezTo>
                <a:cubicBezTo>
                  <a:pt x="4327513" y="4439788"/>
                  <a:pt x="4315713" y="4440940"/>
                  <a:pt x="4320714" y="4419005"/>
                </a:cubicBezTo>
                <a:cubicBezTo>
                  <a:pt x="4343669" y="4385788"/>
                  <a:pt x="4350337" y="4356541"/>
                  <a:pt x="4355338" y="4334607"/>
                </a:cubicBezTo>
                <a:cubicBezTo>
                  <a:pt x="4360337" y="4312673"/>
                  <a:pt x="4362517" y="4286248"/>
                  <a:pt x="4378161" y="4251360"/>
                </a:cubicBezTo>
                <a:cubicBezTo>
                  <a:pt x="4387139" y="4245719"/>
                  <a:pt x="4393294" y="4235587"/>
                  <a:pt x="4394450" y="4247389"/>
                </a:cubicBezTo>
                <a:cubicBezTo>
                  <a:pt x="4402400" y="4225167"/>
                  <a:pt x="4408563" y="4204459"/>
                  <a:pt x="4413578" y="4184571"/>
                </a:cubicBezTo>
                <a:lnTo>
                  <a:pt x="4421652" y="4146369"/>
                </a:lnTo>
                <a:lnTo>
                  <a:pt x="4419667" y="4145669"/>
                </a:lnTo>
                <a:cubicBezTo>
                  <a:pt x="4411835" y="4140006"/>
                  <a:pt x="4415040" y="4130269"/>
                  <a:pt x="4417525" y="4118952"/>
                </a:cubicBezTo>
                <a:lnTo>
                  <a:pt x="4441264" y="4013294"/>
                </a:lnTo>
                <a:lnTo>
                  <a:pt x="4436422" y="4018999"/>
                </a:lnTo>
                <a:cubicBezTo>
                  <a:pt x="4434811" y="4020794"/>
                  <a:pt x="4433163" y="4022220"/>
                  <a:pt x="4431567" y="4022637"/>
                </a:cubicBezTo>
                <a:lnTo>
                  <a:pt x="4428326" y="4020913"/>
                </a:lnTo>
                <a:lnTo>
                  <a:pt x="4391474" y="4157215"/>
                </a:lnTo>
                <a:cubicBezTo>
                  <a:pt x="4245872" y="4587483"/>
                  <a:pt x="4023359" y="4982296"/>
                  <a:pt x="3740297" y="5325287"/>
                </a:cubicBezTo>
                <a:lnTo>
                  <a:pt x="3673269" y="5399037"/>
                </a:lnTo>
                <a:lnTo>
                  <a:pt x="3669727" y="5403831"/>
                </a:lnTo>
                <a:lnTo>
                  <a:pt x="3640004" y="5455366"/>
                </a:lnTo>
                <a:lnTo>
                  <a:pt x="3518669" y="5580675"/>
                </a:lnTo>
                <a:lnTo>
                  <a:pt x="3333378" y="5787546"/>
                </a:lnTo>
                <a:cubicBezTo>
                  <a:pt x="3122018" y="6000957"/>
                  <a:pt x="2889704" y="6191657"/>
                  <a:pt x="2632692" y="6357958"/>
                </a:cubicBezTo>
                <a:cubicBezTo>
                  <a:pt x="2733788" y="6296630"/>
                  <a:pt x="2834388" y="6234681"/>
                  <a:pt x="2932959" y="6170259"/>
                </a:cubicBezTo>
                <a:lnTo>
                  <a:pt x="3209727" y="5975694"/>
                </a:lnTo>
                <a:lnTo>
                  <a:pt x="3479318" y="5724393"/>
                </a:lnTo>
                <a:cubicBezTo>
                  <a:pt x="3527839" y="5672164"/>
                  <a:pt x="3581129" y="5623787"/>
                  <a:pt x="3630789" y="5574052"/>
                </a:cubicBezTo>
                <a:cubicBezTo>
                  <a:pt x="3634645" y="5569283"/>
                  <a:pt x="3637645" y="5562643"/>
                  <a:pt x="3641784" y="5558498"/>
                </a:cubicBezTo>
                <a:lnTo>
                  <a:pt x="3648847" y="5558267"/>
                </a:lnTo>
                <a:lnTo>
                  <a:pt x="3723992" y="5473810"/>
                </a:lnTo>
                <a:lnTo>
                  <a:pt x="3661585" y="5560315"/>
                </a:lnTo>
                <a:lnTo>
                  <a:pt x="3668289" y="5568400"/>
                </a:lnTo>
                <a:lnTo>
                  <a:pt x="3671349" y="5565159"/>
                </a:lnTo>
                <a:cubicBezTo>
                  <a:pt x="3687213" y="5548535"/>
                  <a:pt x="3700002" y="5533309"/>
                  <a:pt x="3704743" y="5518593"/>
                </a:cubicBezTo>
                <a:cubicBezTo>
                  <a:pt x="3725755" y="5491925"/>
                  <a:pt x="3724196" y="5508623"/>
                  <a:pt x="3742448" y="5493487"/>
                </a:cubicBezTo>
                <a:cubicBezTo>
                  <a:pt x="3763460" y="5466819"/>
                  <a:pt x="3751931" y="5464055"/>
                  <a:pt x="3763817" y="5444954"/>
                </a:cubicBezTo>
                <a:cubicBezTo>
                  <a:pt x="3796358" y="5421049"/>
                  <a:pt x="3812206" y="5395582"/>
                  <a:pt x="3824093" y="5376481"/>
                </a:cubicBezTo>
                <a:cubicBezTo>
                  <a:pt x="3835979" y="5357380"/>
                  <a:pt x="3846665" y="5333114"/>
                  <a:pt x="3872840" y="5305243"/>
                </a:cubicBezTo>
                <a:cubicBezTo>
                  <a:pt x="3883167" y="5302842"/>
                  <a:pt x="3892293" y="5295273"/>
                  <a:pt x="3889533" y="5306806"/>
                </a:cubicBezTo>
                <a:cubicBezTo>
                  <a:pt x="3948607" y="5233167"/>
                  <a:pt x="3972737" y="5173101"/>
                  <a:pt x="4015119" y="5097899"/>
                </a:cubicBezTo>
                <a:cubicBezTo>
                  <a:pt x="4009956" y="5099101"/>
                  <a:pt x="3996867" y="5113036"/>
                  <a:pt x="3994464" y="5102704"/>
                </a:cubicBezTo>
                <a:cubicBezTo>
                  <a:pt x="4022556" y="5036271"/>
                  <a:pt x="4055942" y="5039396"/>
                  <a:pt x="4092802" y="4987260"/>
                </a:cubicBezTo>
                <a:cubicBezTo>
                  <a:pt x="4098478" y="4994108"/>
                  <a:pt x="4087401" y="5007915"/>
                  <a:pt x="4080850" y="5021436"/>
                </a:cubicBezTo>
                <a:lnTo>
                  <a:pt x="4078382" y="5029071"/>
                </a:lnTo>
                <a:lnTo>
                  <a:pt x="4076190" y="5029922"/>
                </a:lnTo>
                <a:cubicBezTo>
                  <a:pt x="4075695" y="5030717"/>
                  <a:pt x="4075996" y="5032009"/>
                  <a:pt x="4076596" y="5034592"/>
                </a:cubicBezTo>
                <a:lnTo>
                  <a:pt x="4078382" y="5029071"/>
                </a:lnTo>
                <a:lnTo>
                  <a:pt x="4080559" y="5028225"/>
                </a:lnTo>
                <a:cubicBezTo>
                  <a:pt x="4084521" y="5021858"/>
                  <a:pt x="4089684" y="5020657"/>
                  <a:pt x="4085722" y="5027024"/>
                </a:cubicBezTo>
                <a:cubicBezTo>
                  <a:pt x="4085722" y="5027024"/>
                  <a:pt x="4082961" y="5038557"/>
                  <a:pt x="4077797" y="5039757"/>
                </a:cubicBezTo>
                <a:cubicBezTo>
                  <a:pt x="4077797" y="5039757"/>
                  <a:pt x="4079000" y="5044924"/>
                  <a:pt x="4079000" y="5044924"/>
                </a:cubicBezTo>
                <a:cubicBezTo>
                  <a:pt x="4079000" y="5044924"/>
                  <a:pt x="4079000" y="5044924"/>
                  <a:pt x="4073836" y="5046125"/>
                </a:cubicBezTo>
                <a:cubicBezTo>
                  <a:pt x="4053668" y="5099823"/>
                  <a:pt x="4027135" y="5149558"/>
                  <a:pt x="3990632" y="5179830"/>
                </a:cubicBezTo>
                <a:cubicBezTo>
                  <a:pt x="3988715" y="5218392"/>
                  <a:pt x="3932401" y="5280498"/>
                  <a:pt x="3909830" y="5323866"/>
                </a:cubicBezTo>
                <a:cubicBezTo>
                  <a:pt x="3896742" y="5337801"/>
                  <a:pt x="3895541" y="5332635"/>
                  <a:pt x="3898301" y="5321102"/>
                </a:cubicBezTo>
                <a:cubicBezTo>
                  <a:pt x="3887617" y="5345369"/>
                  <a:pt x="3865403" y="5366871"/>
                  <a:pt x="3867806" y="5377204"/>
                </a:cubicBezTo>
                <a:cubicBezTo>
                  <a:pt x="3842832" y="5410239"/>
                  <a:pt x="3825782" y="5430541"/>
                  <a:pt x="3813895" y="5449641"/>
                </a:cubicBezTo>
                <a:cubicBezTo>
                  <a:pt x="3796845" y="5469943"/>
                  <a:pt x="3783758" y="5483878"/>
                  <a:pt x="3756379" y="5506583"/>
                </a:cubicBezTo>
                <a:cubicBezTo>
                  <a:pt x="3750015" y="5502617"/>
                  <a:pt x="3759140" y="5495049"/>
                  <a:pt x="3752775" y="5491084"/>
                </a:cubicBezTo>
                <a:cubicBezTo>
                  <a:pt x="3735725" y="5511386"/>
                  <a:pt x="3722248" y="5529496"/>
                  <a:pt x="3709265" y="5546809"/>
                </a:cubicBezTo>
                <a:lnTo>
                  <a:pt x="3669885" y="5596303"/>
                </a:lnTo>
                <a:lnTo>
                  <a:pt x="3646499" y="5639958"/>
                </a:lnTo>
                <a:cubicBezTo>
                  <a:pt x="3636807" y="5653411"/>
                  <a:pt x="3625640" y="5665276"/>
                  <a:pt x="3613620" y="5675270"/>
                </a:cubicBezTo>
                <a:cubicBezTo>
                  <a:pt x="3546271" y="5739090"/>
                  <a:pt x="3481820" y="5807614"/>
                  <a:pt x="3413507" y="5872624"/>
                </a:cubicBezTo>
                <a:lnTo>
                  <a:pt x="3322805" y="5952776"/>
                </a:lnTo>
                <a:lnTo>
                  <a:pt x="3320558" y="5955085"/>
                </a:lnTo>
                <a:lnTo>
                  <a:pt x="3314757" y="5959888"/>
                </a:lnTo>
                <a:lnTo>
                  <a:pt x="3307300" y="5966478"/>
                </a:lnTo>
                <a:lnTo>
                  <a:pt x="3303928" y="5968852"/>
                </a:lnTo>
                <a:lnTo>
                  <a:pt x="3201349" y="6053762"/>
                </a:lnTo>
                <a:lnTo>
                  <a:pt x="3207992" y="6056670"/>
                </a:lnTo>
                <a:cubicBezTo>
                  <a:pt x="3213890" y="6057419"/>
                  <a:pt x="3219782" y="6056712"/>
                  <a:pt x="3225724" y="6055701"/>
                </a:cubicBezTo>
                <a:lnTo>
                  <a:pt x="3234055" y="6055584"/>
                </a:lnTo>
                <a:lnTo>
                  <a:pt x="3383085" y="5947757"/>
                </a:lnTo>
                <a:lnTo>
                  <a:pt x="3692178" y="5663100"/>
                </a:lnTo>
                <a:lnTo>
                  <a:pt x="3726668" y="5628774"/>
                </a:lnTo>
                <a:cubicBezTo>
                  <a:pt x="3734588" y="5620072"/>
                  <a:pt x="3741869" y="5609965"/>
                  <a:pt x="3751517" y="5601329"/>
                </a:cubicBezTo>
                <a:lnTo>
                  <a:pt x="3758066" y="5598201"/>
                </a:lnTo>
                <a:lnTo>
                  <a:pt x="4021526" y="5278330"/>
                </a:lnTo>
                <a:lnTo>
                  <a:pt x="4018741" y="5279415"/>
                </a:lnTo>
                <a:cubicBezTo>
                  <a:pt x="4013800" y="5281340"/>
                  <a:pt x="4010786" y="5288207"/>
                  <a:pt x="4005846" y="5290131"/>
                </a:cubicBezTo>
                <a:cubicBezTo>
                  <a:pt x="4005846" y="5290131"/>
                  <a:pt x="4003921" y="5285190"/>
                  <a:pt x="4006936" y="5278323"/>
                </a:cubicBezTo>
                <a:cubicBezTo>
                  <a:pt x="4006936" y="5278323"/>
                  <a:pt x="4006936" y="5278323"/>
                  <a:pt x="4009950" y="5271457"/>
                </a:cubicBezTo>
                <a:cubicBezTo>
                  <a:pt x="4003921" y="5285190"/>
                  <a:pt x="3998145" y="5270364"/>
                  <a:pt x="4014054" y="5252781"/>
                </a:cubicBezTo>
                <a:cubicBezTo>
                  <a:pt x="4014054" y="5252781"/>
                  <a:pt x="4014054" y="5252781"/>
                  <a:pt x="4020918" y="5255799"/>
                </a:cubicBezTo>
                <a:cubicBezTo>
                  <a:pt x="4025859" y="5253874"/>
                  <a:pt x="4028873" y="5247008"/>
                  <a:pt x="4028873" y="5247008"/>
                </a:cubicBezTo>
                <a:cubicBezTo>
                  <a:pt x="4035738" y="5250025"/>
                  <a:pt x="4030799" y="5251950"/>
                  <a:pt x="4027784" y="5258816"/>
                </a:cubicBezTo>
                <a:cubicBezTo>
                  <a:pt x="4027784" y="5258816"/>
                  <a:pt x="4027784" y="5258816"/>
                  <a:pt x="4024769" y="5265682"/>
                </a:cubicBezTo>
                <a:cubicBezTo>
                  <a:pt x="4045619" y="5246176"/>
                  <a:pt x="4073585" y="5201129"/>
                  <a:pt x="4069734" y="5191244"/>
                </a:cubicBezTo>
                <a:cubicBezTo>
                  <a:pt x="4097702" y="5146196"/>
                  <a:pt x="4134459" y="5109107"/>
                  <a:pt x="4139652" y="5078624"/>
                </a:cubicBezTo>
                <a:cubicBezTo>
                  <a:pt x="4156650" y="5049234"/>
                  <a:pt x="4157486" y="5065984"/>
                  <a:pt x="4173395" y="5048402"/>
                </a:cubicBezTo>
                <a:cubicBezTo>
                  <a:pt x="4190393" y="5019012"/>
                  <a:pt x="4178588" y="5017919"/>
                  <a:pt x="4187632" y="4997320"/>
                </a:cubicBezTo>
                <a:cubicBezTo>
                  <a:pt x="4216435" y="4969022"/>
                  <a:pt x="4228493" y="4941556"/>
                  <a:pt x="4237537" y="4920957"/>
                </a:cubicBezTo>
                <a:cubicBezTo>
                  <a:pt x="4246580" y="4900358"/>
                  <a:pt x="4253699" y="4874816"/>
                  <a:pt x="4275637" y="4843501"/>
                </a:cubicBezTo>
                <a:cubicBezTo>
                  <a:pt x="4285516" y="4839652"/>
                  <a:pt x="4293471" y="4830861"/>
                  <a:pt x="4292382" y="4842669"/>
                </a:cubicBezTo>
                <a:cubicBezTo>
                  <a:pt x="4340361" y="4761364"/>
                  <a:pt x="4355687" y="4698473"/>
                  <a:pt x="4386922" y="4618000"/>
                </a:cubicBezTo>
                <a:cubicBezTo>
                  <a:pt x="4381981" y="4619925"/>
                  <a:pt x="4371013" y="4635583"/>
                  <a:pt x="4367162" y="4625699"/>
                </a:cubicBezTo>
                <a:cubicBezTo>
                  <a:pt x="4380917" y="4573381"/>
                  <a:pt x="4403194" y="4559366"/>
                  <a:pt x="4425731" y="4531642"/>
                </a:cubicBezTo>
                <a:lnTo>
                  <a:pt x="4440463" y="4509053"/>
                </a:lnTo>
                <a:lnTo>
                  <a:pt x="4496479" y="4324901"/>
                </a:lnTo>
                <a:cubicBezTo>
                  <a:pt x="4521568" y="4233685"/>
                  <a:pt x="4543234" y="4141480"/>
                  <a:pt x="4558379" y="4048002"/>
                </a:cubicBezTo>
                <a:cubicBezTo>
                  <a:pt x="4569850" y="3998639"/>
                  <a:pt x="4590786" y="3955149"/>
                  <a:pt x="4558015" y="3905566"/>
                </a:cubicBezTo>
                <a:cubicBezTo>
                  <a:pt x="4538300" y="3877199"/>
                  <a:pt x="4553615" y="3836270"/>
                  <a:pt x="4557679" y="3800467"/>
                </a:cubicBezTo>
                <a:cubicBezTo>
                  <a:pt x="4590780" y="3612230"/>
                  <a:pt x="4599074" y="3421712"/>
                  <a:pt x="4604555" y="3232475"/>
                </a:cubicBezTo>
                <a:cubicBezTo>
                  <a:pt x="4605057" y="3218665"/>
                  <a:pt x="4606838" y="3207668"/>
                  <a:pt x="4591997" y="3197452"/>
                </a:cubicBezTo>
                <a:close/>
                <a:moveTo>
                  <a:pt x="6452746" y="3122946"/>
                </a:moveTo>
                <a:lnTo>
                  <a:pt x="6453162" y="3130579"/>
                </a:lnTo>
                <a:cubicBezTo>
                  <a:pt x="6454002" y="3144398"/>
                  <a:pt x="6455020" y="3157082"/>
                  <a:pt x="6456587" y="3167050"/>
                </a:cubicBezTo>
                <a:lnTo>
                  <a:pt x="6461451" y="3181937"/>
                </a:lnTo>
                <a:lnTo>
                  <a:pt x="6467043" y="3130919"/>
                </a:lnTo>
                <a:lnTo>
                  <a:pt x="6466334" y="3130706"/>
                </a:lnTo>
                <a:cubicBezTo>
                  <a:pt x="6460900" y="3134825"/>
                  <a:pt x="6459629" y="3169723"/>
                  <a:pt x="6458257" y="3143801"/>
                </a:cubicBezTo>
                <a:cubicBezTo>
                  <a:pt x="6457582" y="3137599"/>
                  <a:pt x="6456467" y="3132892"/>
                  <a:pt x="6455200" y="3129015"/>
                </a:cubicBezTo>
                <a:close/>
                <a:moveTo>
                  <a:pt x="5899755" y="3090904"/>
                </a:moveTo>
                <a:lnTo>
                  <a:pt x="5899749" y="3090971"/>
                </a:lnTo>
                <a:cubicBezTo>
                  <a:pt x="5919838" y="3123943"/>
                  <a:pt x="5908169" y="3206962"/>
                  <a:pt x="5913876" y="3255517"/>
                </a:cubicBezTo>
                <a:cubicBezTo>
                  <a:pt x="5910883" y="3274399"/>
                  <a:pt x="5906986" y="3270802"/>
                  <a:pt x="5902787" y="3259712"/>
                </a:cubicBezTo>
                <a:cubicBezTo>
                  <a:pt x="5907589" y="3285788"/>
                  <a:pt x="5901302" y="3316058"/>
                  <a:pt x="5909097" y="3323253"/>
                </a:cubicBezTo>
                <a:cubicBezTo>
                  <a:pt x="5907008" y="3364613"/>
                  <a:pt x="5904317" y="3390988"/>
                  <a:pt x="5905223" y="3413467"/>
                </a:cubicBezTo>
                <a:cubicBezTo>
                  <a:pt x="5902530" y="3439842"/>
                  <a:pt x="5899538" y="3458724"/>
                  <a:pt x="5889655" y="3492889"/>
                </a:cubicBezTo>
                <a:cubicBezTo>
                  <a:pt x="5882162" y="3493189"/>
                  <a:pt x="5885456" y="3481799"/>
                  <a:pt x="5877964" y="3482098"/>
                </a:cubicBezTo>
                <a:cubicBezTo>
                  <a:pt x="5875272" y="3508474"/>
                  <a:pt x="5874304" y="3531026"/>
                  <a:pt x="5873297" y="3552644"/>
                </a:cubicBezTo>
                <a:lnTo>
                  <a:pt x="5868721" y="3613366"/>
                </a:lnTo>
                <a:lnTo>
                  <a:pt x="5868626" y="3615664"/>
                </a:lnTo>
                <a:cubicBezTo>
                  <a:pt x="5868626" y="3657842"/>
                  <a:pt x="5885498" y="3615664"/>
                  <a:pt x="5902370" y="3649406"/>
                </a:cubicBezTo>
                <a:cubicBezTo>
                  <a:pt x="5893933" y="3691583"/>
                  <a:pt x="5902370" y="3708456"/>
                  <a:pt x="5893933" y="3759069"/>
                </a:cubicBezTo>
                <a:cubicBezTo>
                  <a:pt x="5902370" y="3759071"/>
                  <a:pt x="5910805" y="3742199"/>
                  <a:pt x="5910807" y="3708454"/>
                </a:cubicBezTo>
                <a:cubicBezTo>
                  <a:pt x="5910806" y="3716891"/>
                  <a:pt x="5912915" y="3725327"/>
                  <a:pt x="5913969" y="3735871"/>
                </a:cubicBezTo>
                <a:lnTo>
                  <a:pt x="5913771" y="3738386"/>
                </a:lnTo>
                <a:lnTo>
                  <a:pt x="5919568" y="3702380"/>
                </a:lnTo>
                <a:cubicBezTo>
                  <a:pt x="5922793" y="3683032"/>
                  <a:pt x="5924516" y="3666146"/>
                  <a:pt x="5920803" y="3653480"/>
                </a:cubicBezTo>
                <a:cubicBezTo>
                  <a:pt x="5922843" y="3624570"/>
                  <a:pt x="5929754" y="3637108"/>
                  <a:pt x="5935379" y="3617663"/>
                </a:cubicBezTo>
                <a:cubicBezTo>
                  <a:pt x="5937419" y="3588753"/>
                  <a:pt x="5927953" y="3592333"/>
                  <a:pt x="5927180" y="3573144"/>
                </a:cubicBezTo>
                <a:cubicBezTo>
                  <a:pt x="5938686" y="3540652"/>
                  <a:pt x="5937656" y="3515068"/>
                  <a:pt x="5936885" y="3495878"/>
                </a:cubicBezTo>
                <a:cubicBezTo>
                  <a:pt x="5936112" y="3476689"/>
                  <a:pt x="5932013" y="3454430"/>
                  <a:pt x="5937123" y="3422193"/>
                </a:cubicBezTo>
                <a:cubicBezTo>
                  <a:pt x="5943262" y="3415542"/>
                  <a:pt x="5946073" y="3405820"/>
                  <a:pt x="5949659" y="3415287"/>
                </a:cubicBezTo>
                <a:cubicBezTo>
                  <a:pt x="5952847" y="3375119"/>
                  <a:pt x="5951495" y="3341537"/>
                  <a:pt x="5948577" y="3308820"/>
                </a:cubicBezTo>
                <a:lnTo>
                  <a:pt x="5940173" y="3227623"/>
                </a:lnTo>
                <a:lnTo>
                  <a:pt x="5936112" y="3227623"/>
                </a:lnTo>
                <a:lnTo>
                  <a:pt x="5934113" y="3216005"/>
                </a:lnTo>
                <a:lnTo>
                  <a:pt x="5933300" y="3217735"/>
                </a:lnTo>
                <a:cubicBezTo>
                  <a:pt x="5931445" y="3221411"/>
                  <a:pt x="5929143" y="3223905"/>
                  <a:pt x="5925816" y="3220835"/>
                </a:cubicBezTo>
                <a:cubicBezTo>
                  <a:pt x="5922807" y="3205739"/>
                  <a:pt x="5922115" y="3193554"/>
                  <a:pt x="5922789" y="3182917"/>
                </a:cubicBezTo>
                <a:lnTo>
                  <a:pt x="5925668" y="3166923"/>
                </a:lnTo>
                <a:lnTo>
                  <a:pt x="5922799" y="3150253"/>
                </a:lnTo>
                <a:close/>
                <a:moveTo>
                  <a:pt x="6470079" y="2971783"/>
                </a:moveTo>
                <a:lnTo>
                  <a:pt x="6459848" y="2985189"/>
                </a:lnTo>
                <a:lnTo>
                  <a:pt x="6446665" y="2989730"/>
                </a:lnTo>
                <a:lnTo>
                  <a:pt x="6447438" y="2994236"/>
                </a:lnTo>
                <a:cubicBezTo>
                  <a:pt x="6455446" y="3014611"/>
                  <a:pt x="6450136" y="3019049"/>
                  <a:pt x="6440386" y="3018174"/>
                </a:cubicBezTo>
                <a:cubicBezTo>
                  <a:pt x="6446611" y="3031019"/>
                  <a:pt x="6449095" y="3058268"/>
                  <a:pt x="6450805" y="3087293"/>
                </a:cubicBezTo>
                <a:lnTo>
                  <a:pt x="6451373" y="3097752"/>
                </a:lnTo>
                <a:lnTo>
                  <a:pt x="6456557" y="3096583"/>
                </a:lnTo>
                <a:cubicBezTo>
                  <a:pt x="6460436" y="3093129"/>
                  <a:pt x="6463655" y="3087372"/>
                  <a:pt x="6467490" y="3085383"/>
                </a:cubicBezTo>
                <a:lnTo>
                  <a:pt x="6469775" y="3085600"/>
                </a:lnTo>
                <a:lnTo>
                  <a:pt x="6473655" y="3017169"/>
                </a:lnTo>
                <a:lnTo>
                  <a:pt x="6473968" y="2994029"/>
                </a:lnTo>
                <a:close/>
                <a:moveTo>
                  <a:pt x="5796128" y="2808658"/>
                </a:moveTo>
                <a:lnTo>
                  <a:pt x="5796854" y="2813211"/>
                </a:lnTo>
                <a:cubicBezTo>
                  <a:pt x="5798396" y="2839886"/>
                  <a:pt x="5796605" y="2865287"/>
                  <a:pt x="5790016" y="2888065"/>
                </a:cubicBezTo>
                <a:cubicBezTo>
                  <a:pt x="5810105" y="2921037"/>
                  <a:pt x="5798436" y="3004057"/>
                  <a:pt x="5804143" y="3052612"/>
                </a:cubicBezTo>
                <a:cubicBezTo>
                  <a:pt x="5801150" y="3071493"/>
                  <a:pt x="5797254" y="3067897"/>
                  <a:pt x="5793054" y="3056806"/>
                </a:cubicBezTo>
                <a:cubicBezTo>
                  <a:pt x="5797857" y="3082882"/>
                  <a:pt x="5791569" y="3113152"/>
                  <a:pt x="5799363" y="3120348"/>
                </a:cubicBezTo>
                <a:cubicBezTo>
                  <a:pt x="5797275" y="3161707"/>
                  <a:pt x="5794584" y="3188083"/>
                  <a:pt x="5795489" y="3210561"/>
                </a:cubicBezTo>
                <a:cubicBezTo>
                  <a:pt x="5792798" y="3236936"/>
                  <a:pt x="5789805" y="3255817"/>
                  <a:pt x="5779922" y="3289984"/>
                </a:cubicBezTo>
                <a:cubicBezTo>
                  <a:pt x="5772429" y="3290282"/>
                  <a:pt x="5775723" y="3278894"/>
                  <a:pt x="5768230" y="3279192"/>
                </a:cubicBezTo>
                <a:cubicBezTo>
                  <a:pt x="5762848" y="3331941"/>
                  <a:pt x="5764356" y="3369406"/>
                  <a:pt x="5758672" y="3414663"/>
                </a:cubicBezTo>
                <a:cubicBezTo>
                  <a:pt x="5759576" y="3437141"/>
                  <a:pt x="5758607" y="3459695"/>
                  <a:pt x="5755841" y="3484197"/>
                </a:cubicBezTo>
                <a:lnTo>
                  <a:pt x="5751250" y="3511578"/>
                </a:lnTo>
                <a:lnTo>
                  <a:pt x="5753689" y="3558722"/>
                </a:lnTo>
                <a:cubicBezTo>
                  <a:pt x="5752634" y="3581921"/>
                  <a:pt x="5750526" y="3607228"/>
                  <a:pt x="5750526" y="3632535"/>
                </a:cubicBezTo>
                <a:cubicBezTo>
                  <a:pt x="5792705" y="3674714"/>
                  <a:pt x="5826448" y="3531308"/>
                  <a:pt x="5834884" y="3413208"/>
                </a:cubicBezTo>
                <a:cubicBezTo>
                  <a:pt x="5843319" y="3404771"/>
                  <a:pt x="5851757" y="3413208"/>
                  <a:pt x="5868624" y="3387901"/>
                </a:cubicBezTo>
                <a:cubicBezTo>
                  <a:pt x="5864407" y="3400555"/>
                  <a:pt x="5864408" y="3406882"/>
                  <a:pt x="5866517" y="3410045"/>
                </a:cubicBezTo>
                <a:lnTo>
                  <a:pt x="5867131" y="3410229"/>
                </a:lnTo>
                <a:lnTo>
                  <a:pt x="5872246" y="3386637"/>
                </a:lnTo>
                <a:cubicBezTo>
                  <a:pt x="5873515" y="3371576"/>
                  <a:pt x="5872988" y="3358464"/>
                  <a:pt x="5872535" y="3347224"/>
                </a:cubicBezTo>
                <a:cubicBezTo>
                  <a:pt x="5871631" y="3324746"/>
                  <a:pt x="5866829" y="3298669"/>
                  <a:pt x="5872815" y="3260906"/>
                </a:cubicBezTo>
                <a:cubicBezTo>
                  <a:pt x="5880007" y="3253114"/>
                  <a:pt x="5883301" y="3241726"/>
                  <a:pt x="5887499" y="3252816"/>
                </a:cubicBezTo>
                <a:cubicBezTo>
                  <a:pt x="5893102" y="3182233"/>
                  <a:pt x="5886739" y="3129014"/>
                  <a:pt x="5880163" y="3070525"/>
                </a:cubicBezTo>
                <a:lnTo>
                  <a:pt x="5878087" y="3050101"/>
                </a:lnTo>
                <a:lnTo>
                  <a:pt x="5870867" y="3036635"/>
                </a:lnTo>
                <a:lnTo>
                  <a:pt x="5865140" y="3025482"/>
                </a:lnTo>
                <a:lnTo>
                  <a:pt x="5864600" y="3026174"/>
                </a:lnTo>
                <a:cubicBezTo>
                  <a:pt x="5863166" y="3026994"/>
                  <a:pt x="5861518" y="3026824"/>
                  <a:pt x="5859570" y="3025027"/>
                </a:cubicBezTo>
                <a:lnTo>
                  <a:pt x="5858588" y="3012722"/>
                </a:lnTo>
                <a:lnTo>
                  <a:pt x="5843319" y="2982990"/>
                </a:lnTo>
                <a:cubicBezTo>
                  <a:pt x="5843319" y="2982990"/>
                  <a:pt x="5834884" y="2999862"/>
                  <a:pt x="5834884" y="3016734"/>
                </a:cubicBezTo>
                <a:cubicBezTo>
                  <a:pt x="5818011" y="2982990"/>
                  <a:pt x="5826447" y="2915505"/>
                  <a:pt x="5818012" y="2864891"/>
                </a:cubicBezTo>
                <a:cubicBezTo>
                  <a:pt x="5813794" y="2854346"/>
                  <a:pt x="5809049" y="2842220"/>
                  <a:pt x="5804304" y="2829962"/>
                </a:cubicBezTo>
                <a:close/>
                <a:moveTo>
                  <a:pt x="6508420" y="2779156"/>
                </a:moveTo>
                <a:lnTo>
                  <a:pt x="6507136" y="2780799"/>
                </a:lnTo>
                <a:cubicBezTo>
                  <a:pt x="6504933" y="2782308"/>
                  <a:pt x="6502604" y="2782226"/>
                  <a:pt x="6500134" y="2779246"/>
                </a:cubicBezTo>
                <a:lnTo>
                  <a:pt x="6502399" y="2890359"/>
                </a:lnTo>
                <a:lnTo>
                  <a:pt x="6505686" y="2887611"/>
                </a:lnTo>
                <a:cubicBezTo>
                  <a:pt x="6501246" y="2882298"/>
                  <a:pt x="6502116" y="2872547"/>
                  <a:pt x="6511866" y="2873422"/>
                </a:cubicBezTo>
                <a:lnTo>
                  <a:pt x="6513497" y="2877577"/>
                </a:lnTo>
                <a:lnTo>
                  <a:pt x="6514565" y="2898237"/>
                </a:lnTo>
                <a:cubicBezTo>
                  <a:pt x="6519875" y="2893798"/>
                  <a:pt x="6519875" y="2893798"/>
                  <a:pt x="6519875" y="2893798"/>
                </a:cubicBezTo>
                <a:lnTo>
                  <a:pt x="6513497" y="2877577"/>
                </a:lnTo>
                <a:close/>
                <a:moveTo>
                  <a:pt x="5404661" y="2763661"/>
                </a:moveTo>
                <a:cubicBezTo>
                  <a:pt x="5413098" y="2772097"/>
                  <a:pt x="5413098" y="2780533"/>
                  <a:pt x="5413098" y="2788968"/>
                </a:cubicBezTo>
                <a:lnTo>
                  <a:pt x="5413098" y="2797406"/>
                </a:lnTo>
                <a:lnTo>
                  <a:pt x="5413098" y="2805841"/>
                </a:lnTo>
                <a:lnTo>
                  <a:pt x="5413098" y="2814276"/>
                </a:lnTo>
                <a:cubicBezTo>
                  <a:pt x="5413098" y="2814276"/>
                  <a:pt x="5413098" y="2805841"/>
                  <a:pt x="5404662" y="2797406"/>
                </a:cubicBezTo>
                <a:close/>
                <a:moveTo>
                  <a:pt x="6368014" y="2752114"/>
                </a:moveTo>
                <a:cubicBezTo>
                  <a:pt x="6361883" y="2766999"/>
                  <a:pt x="6357505" y="2781884"/>
                  <a:pt x="6354550" y="2796770"/>
                </a:cubicBezTo>
                <a:lnTo>
                  <a:pt x="6353593" y="2805446"/>
                </a:lnTo>
                <a:lnTo>
                  <a:pt x="6374570" y="2874671"/>
                </a:lnTo>
                <a:cubicBezTo>
                  <a:pt x="6377359" y="2953548"/>
                  <a:pt x="6392599" y="3058113"/>
                  <a:pt x="6409578" y="3143175"/>
                </a:cubicBezTo>
                <a:cubicBezTo>
                  <a:pt x="6409578" y="3143175"/>
                  <a:pt x="6409578" y="3143175"/>
                  <a:pt x="6414888" y="3138739"/>
                </a:cubicBezTo>
                <a:cubicBezTo>
                  <a:pt x="6410448" y="3133425"/>
                  <a:pt x="6411318" y="3123676"/>
                  <a:pt x="6421068" y="3124551"/>
                </a:cubicBezTo>
                <a:lnTo>
                  <a:pt x="6422700" y="3128706"/>
                </a:lnTo>
                <a:lnTo>
                  <a:pt x="6423768" y="3149362"/>
                </a:lnTo>
                <a:cubicBezTo>
                  <a:pt x="6429077" y="3144926"/>
                  <a:pt x="6429077" y="3144926"/>
                  <a:pt x="6429077" y="3144926"/>
                </a:cubicBezTo>
                <a:lnTo>
                  <a:pt x="6422700" y="3128706"/>
                </a:lnTo>
                <a:lnTo>
                  <a:pt x="6417015" y="3018534"/>
                </a:lnTo>
                <a:lnTo>
                  <a:pt x="6414015" y="2972866"/>
                </a:lnTo>
                <a:lnTo>
                  <a:pt x="6406544" y="2951752"/>
                </a:lnTo>
                <a:cubicBezTo>
                  <a:pt x="6399536" y="2902718"/>
                  <a:pt x="6396034" y="2853683"/>
                  <a:pt x="6389030" y="2804652"/>
                </a:cubicBezTo>
                <a:cubicBezTo>
                  <a:pt x="6385527" y="2787139"/>
                  <a:pt x="6378521" y="2769626"/>
                  <a:pt x="6368014" y="2752114"/>
                </a:cubicBezTo>
                <a:close/>
                <a:moveTo>
                  <a:pt x="6478241" y="2723750"/>
                </a:moveTo>
                <a:lnTo>
                  <a:pt x="6481412" y="2772854"/>
                </a:lnTo>
                <a:lnTo>
                  <a:pt x="6481359" y="2778262"/>
                </a:lnTo>
                <a:lnTo>
                  <a:pt x="6492255" y="2843453"/>
                </a:lnTo>
                <a:lnTo>
                  <a:pt x="6492103" y="2836567"/>
                </a:lnTo>
                <a:cubicBezTo>
                  <a:pt x="6492048" y="2801324"/>
                  <a:pt x="6492633" y="2775345"/>
                  <a:pt x="6487688" y="2751180"/>
                </a:cubicBezTo>
                <a:close/>
                <a:moveTo>
                  <a:pt x="6471948" y="2602764"/>
                </a:moveTo>
                <a:lnTo>
                  <a:pt x="6470476" y="2603507"/>
                </a:lnTo>
                <a:lnTo>
                  <a:pt x="6474714" y="2669154"/>
                </a:lnTo>
                <a:lnTo>
                  <a:pt x="6474578" y="2659237"/>
                </a:lnTo>
                <a:cubicBezTo>
                  <a:pt x="6473389" y="2642640"/>
                  <a:pt x="6472642" y="2627182"/>
                  <a:pt x="6476460" y="2609956"/>
                </a:cubicBezTo>
                <a:cubicBezTo>
                  <a:pt x="6474690" y="2605393"/>
                  <a:pt x="6473234" y="2603332"/>
                  <a:pt x="6471948" y="2602764"/>
                </a:cubicBezTo>
                <a:close/>
                <a:moveTo>
                  <a:pt x="6458450" y="2239645"/>
                </a:moveTo>
                <a:cubicBezTo>
                  <a:pt x="6455459" y="2243561"/>
                  <a:pt x="6453724" y="2259548"/>
                  <a:pt x="6450161" y="2257976"/>
                </a:cubicBezTo>
                <a:cubicBezTo>
                  <a:pt x="6441034" y="2261513"/>
                  <a:pt x="6433952" y="2243260"/>
                  <a:pt x="6433952" y="2243260"/>
                </a:cubicBezTo>
                <a:cubicBezTo>
                  <a:pt x="6424825" y="2246796"/>
                  <a:pt x="6430606" y="2302294"/>
                  <a:pt x="6419984" y="2274915"/>
                </a:cubicBezTo>
                <a:lnTo>
                  <a:pt x="6412070" y="2253880"/>
                </a:lnTo>
                <a:lnTo>
                  <a:pt x="6438066" y="2377354"/>
                </a:lnTo>
                <a:lnTo>
                  <a:pt x="6458698" y="2510576"/>
                </a:lnTo>
                <a:lnTo>
                  <a:pt x="6465170" y="2512554"/>
                </a:lnTo>
                <a:cubicBezTo>
                  <a:pt x="6473098" y="2508251"/>
                  <a:pt x="6469603" y="2484017"/>
                  <a:pt x="6466949" y="2477172"/>
                </a:cubicBezTo>
                <a:cubicBezTo>
                  <a:pt x="6485203" y="2470102"/>
                  <a:pt x="6495824" y="2497480"/>
                  <a:pt x="6512779" y="2527655"/>
                </a:cubicBezTo>
                <a:cubicBezTo>
                  <a:pt x="6520415" y="2493203"/>
                  <a:pt x="6487059" y="2380153"/>
                  <a:pt x="6482025" y="2340112"/>
                </a:cubicBezTo>
                <a:cubicBezTo>
                  <a:pt x="6482025" y="2340112"/>
                  <a:pt x="6479231" y="2346442"/>
                  <a:pt x="6479231" y="2346442"/>
                </a:cubicBezTo>
                <a:cubicBezTo>
                  <a:pt x="6482772" y="2355569"/>
                  <a:pt x="6476437" y="2352774"/>
                  <a:pt x="6476437" y="2352774"/>
                </a:cubicBezTo>
                <a:cubicBezTo>
                  <a:pt x="6476437" y="2352774"/>
                  <a:pt x="6472897" y="2343650"/>
                  <a:pt x="6472897" y="2343650"/>
                </a:cubicBezTo>
                <a:cubicBezTo>
                  <a:pt x="6469356" y="2334523"/>
                  <a:pt x="6472151" y="2328192"/>
                  <a:pt x="6472151" y="2328192"/>
                </a:cubicBezTo>
                <a:cubicBezTo>
                  <a:pt x="6472151" y="2328192"/>
                  <a:pt x="6472151" y="2328192"/>
                  <a:pt x="6469356" y="2334523"/>
                </a:cubicBezTo>
                <a:cubicBezTo>
                  <a:pt x="6466563" y="2340854"/>
                  <a:pt x="6454448" y="2282560"/>
                  <a:pt x="6467117" y="2288151"/>
                </a:cubicBezTo>
                <a:cubicBezTo>
                  <a:pt x="6467117" y="2288151"/>
                  <a:pt x="6467117" y="2288151"/>
                  <a:pt x="6460782" y="2285355"/>
                </a:cubicBezTo>
                <a:cubicBezTo>
                  <a:pt x="6460782" y="2285355"/>
                  <a:pt x="6463577" y="2279024"/>
                  <a:pt x="6457242" y="2276229"/>
                </a:cubicBezTo>
                <a:cubicBezTo>
                  <a:pt x="6457242" y="2276229"/>
                  <a:pt x="6460035" y="2269898"/>
                  <a:pt x="6460035" y="2269898"/>
                </a:cubicBezTo>
                <a:cubicBezTo>
                  <a:pt x="6462830" y="2263567"/>
                  <a:pt x="6462830" y="2263567"/>
                  <a:pt x="6462830" y="2263567"/>
                </a:cubicBezTo>
                <a:cubicBezTo>
                  <a:pt x="6462830" y="2263567"/>
                  <a:pt x="6462830" y="2263567"/>
                  <a:pt x="6466369" y="2272693"/>
                </a:cubicBezTo>
                <a:cubicBezTo>
                  <a:pt x="6466369" y="2272693"/>
                  <a:pt x="6466369" y="2272693"/>
                  <a:pt x="6469164" y="2266362"/>
                </a:cubicBezTo>
                <a:cubicBezTo>
                  <a:pt x="6466136" y="2251789"/>
                  <a:pt x="6463830" y="2244153"/>
                  <a:pt x="6461975" y="2240852"/>
                </a:cubicBezTo>
                <a:cubicBezTo>
                  <a:pt x="6460585" y="2238377"/>
                  <a:pt x="6459448" y="2238340"/>
                  <a:pt x="6458450" y="2239645"/>
                </a:cubicBezTo>
                <a:close/>
                <a:moveTo>
                  <a:pt x="6119324" y="1470230"/>
                </a:moveTo>
                <a:cubicBezTo>
                  <a:pt x="6115822" y="1561292"/>
                  <a:pt x="6154350" y="1634845"/>
                  <a:pt x="6182372" y="1708395"/>
                </a:cubicBezTo>
                <a:cubicBezTo>
                  <a:pt x="6189377" y="1722403"/>
                  <a:pt x="6199884" y="1729407"/>
                  <a:pt x="6213896" y="1718901"/>
                </a:cubicBezTo>
                <a:lnTo>
                  <a:pt x="6230856" y="1709003"/>
                </a:lnTo>
                <a:lnTo>
                  <a:pt x="6226890" y="1691895"/>
                </a:lnTo>
                <a:cubicBezTo>
                  <a:pt x="6216009" y="1640162"/>
                  <a:pt x="6210799" y="1608540"/>
                  <a:pt x="6185731" y="1576670"/>
                </a:cubicBezTo>
                <a:cubicBezTo>
                  <a:pt x="6183285" y="1554923"/>
                  <a:pt x="6178063" y="1537891"/>
                  <a:pt x="6173508" y="1521886"/>
                </a:cubicBezTo>
                <a:lnTo>
                  <a:pt x="6172469" y="1515742"/>
                </a:lnTo>
                <a:lnTo>
                  <a:pt x="6170551" y="1514447"/>
                </a:lnTo>
                <a:cubicBezTo>
                  <a:pt x="6154351" y="1500000"/>
                  <a:pt x="6138589" y="1484239"/>
                  <a:pt x="6119324" y="1470230"/>
                </a:cubicBezTo>
                <a:close/>
                <a:moveTo>
                  <a:pt x="6220785" y="1467284"/>
                </a:moveTo>
                <a:lnTo>
                  <a:pt x="6224419" y="1484860"/>
                </a:lnTo>
                <a:cubicBezTo>
                  <a:pt x="6225363" y="1494458"/>
                  <a:pt x="6224677" y="1501829"/>
                  <a:pt x="6221902" y="1506545"/>
                </a:cubicBezTo>
                <a:cubicBezTo>
                  <a:pt x="6228674" y="1507988"/>
                  <a:pt x="6228674" y="1507988"/>
                  <a:pt x="6228674" y="1507988"/>
                </a:cubicBezTo>
                <a:cubicBezTo>
                  <a:pt x="6228674" y="1507988"/>
                  <a:pt x="6228674" y="1507988"/>
                  <a:pt x="6234004" y="1516199"/>
                </a:cubicBezTo>
                <a:cubicBezTo>
                  <a:pt x="6232563" y="1522967"/>
                  <a:pt x="6231122" y="1529734"/>
                  <a:pt x="6229680" y="1536503"/>
                </a:cubicBezTo>
                <a:cubicBezTo>
                  <a:pt x="6229680" y="1536503"/>
                  <a:pt x="6229680" y="1536503"/>
                  <a:pt x="6224350" y="1528292"/>
                </a:cubicBezTo>
                <a:cubicBezTo>
                  <a:pt x="6224350" y="1528292"/>
                  <a:pt x="6224350" y="1528292"/>
                  <a:pt x="6223684" y="1527266"/>
                </a:cubicBezTo>
                <a:lnTo>
                  <a:pt x="6220817" y="1522851"/>
                </a:lnTo>
                <a:lnTo>
                  <a:pt x="6221874" y="1531073"/>
                </a:lnTo>
                <a:lnTo>
                  <a:pt x="6242353" y="1609953"/>
                </a:lnTo>
                <a:cubicBezTo>
                  <a:pt x="6235580" y="1608511"/>
                  <a:pt x="6235144" y="1643795"/>
                  <a:pt x="6223042" y="1634143"/>
                </a:cubicBezTo>
                <a:lnTo>
                  <a:pt x="6239473" y="1705560"/>
                </a:lnTo>
                <a:lnTo>
                  <a:pt x="6250673" y="1702375"/>
                </a:lnTo>
                <a:cubicBezTo>
                  <a:pt x="6280226" y="1699420"/>
                  <a:pt x="6290078" y="1732912"/>
                  <a:pt x="6297961" y="1764435"/>
                </a:cubicBezTo>
                <a:cubicBezTo>
                  <a:pt x="6324230" y="1866004"/>
                  <a:pt x="6349624" y="1967573"/>
                  <a:pt x="6373267" y="2069581"/>
                </a:cubicBezTo>
                <a:lnTo>
                  <a:pt x="6384393" y="2122429"/>
                </a:lnTo>
                <a:lnTo>
                  <a:pt x="6393144" y="2124321"/>
                </a:lnTo>
                <a:cubicBezTo>
                  <a:pt x="6402890" y="2133585"/>
                  <a:pt x="6408237" y="2160056"/>
                  <a:pt x="6418298" y="2175842"/>
                </a:cubicBezTo>
                <a:cubicBezTo>
                  <a:pt x="6424633" y="2178638"/>
                  <a:pt x="6410471" y="2142131"/>
                  <a:pt x="6419599" y="2138595"/>
                </a:cubicBezTo>
                <a:cubicBezTo>
                  <a:pt x="6412518" y="2120343"/>
                  <a:pt x="6408231" y="2095758"/>
                  <a:pt x="6401898" y="2092964"/>
                </a:cubicBezTo>
                <a:cubicBezTo>
                  <a:pt x="6379716" y="1954590"/>
                  <a:pt x="6328103" y="1848610"/>
                  <a:pt x="6319338" y="1731284"/>
                </a:cubicBezTo>
                <a:cubicBezTo>
                  <a:pt x="6308716" y="1703905"/>
                  <a:pt x="6301637" y="1685652"/>
                  <a:pt x="6294555" y="1667400"/>
                </a:cubicBezTo>
                <a:cubicBezTo>
                  <a:pt x="6285979" y="1618233"/>
                  <a:pt x="6286728" y="1633689"/>
                  <a:pt x="6274614" y="1575398"/>
                </a:cubicBezTo>
                <a:cubicBezTo>
                  <a:pt x="6271073" y="1566271"/>
                  <a:pt x="6261945" y="1569807"/>
                  <a:pt x="6261945" y="1569807"/>
                </a:cubicBezTo>
                <a:cubicBezTo>
                  <a:pt x="6246386" y="1536467"/>
                  <a:pt x="6235766" y="1509088"/>
                  <a:pt x="6227264" y="1485482"/>
                </a:cubicBezTo>
                <a:close/>
                <a:moveTo>
                  <a:pt x="6163232" y="1291657"/>
                </a:moveTo>
                <a:lnTo>
                  <a:pt x="6169423" y="1308672"/>
                </a:lnTo>
                <a:lnTo>
                  <a:pt x="6164862" y="1292485"/>
                </a:lnTo>
                <a:close/>
                <a:moveTo>
                  <a:pt x="4999747" y="1084964"/>
                </a:moveTo>
                <a:lnTo>
                  <a:pt x="5004170" y="1092826"/>
                </a:lnTo>
                <a:lnTo>
                  <a:pt x="5000801" y="1092344"/>
                </a:lnTo>
                <a:cubicBezTo>
                  <a:pt x="4999746" y="1091291"/>
                  <a:pt x="4999746" y="1089181"/>
                  <a:pt x="4999747" y="1084964"/>
                </a:cubicBezTo>
                <a:close/>
                <a:moveTo>
                  <a:pt x="4933923" y="1003153"/>
                </a:moveTo>
                <a:lnTo>
                  <a:pt x="4947450" y="1028780"/>
                </a:lnTo>
                <a:lnTo>
                  <a:pt x="4940697" y="1009043"/>
                </a:lnTo>
                <a:close/>
                <a:moveTo>
                  <a:pt x="4932262" y="644497"/>
                </a:moveTo>
                <a:lnTo>
                  <a:pt x="4940697" y="654745"/>
                </a:lnTo>
                <a:lnTo>
                  <a:pt x="4932262" y="646309"/>
                </a:lnTo>
                <a:close/>
                <a:moveTo>
                  <a:pt x="5581482" y="244629"/>
                </a:moveTo>
                <a:cubicBezTo>
                  <a:pt x="5579541" y="245432"/>
                  <a:pt x="5578623" y="247668"/>
                  <a:pt x="5577991" y="250629"/>
                </a:cubicBezTo>
                <a:lnTo>
                  <a:pt x="5577495" y="252297"/>
                </a:lnTo>
                <a:lnTo>
                  <a:pt x="5647778" y="373537"/>
                </a:lnTo>
                <a:cubicBezTo>
                  <a:pt x="5670983" y="417754"/>
                  <a:pt x="5692000" y="463286"/>
                  <a:pt x="5709512" y="510569"/>
                </a:cubicBezTo>
                <a:cubicBezTo>
                  <a:pt x="5776063" y="689191"/>
                  <a:pt x="5863627" y="857308"/>
                  <a:pt x="5951197" y="1025425"/>
                </a:cubicBezTo>
                <a:cubicBezTo>
                  <a:pt x="5956451" y="1006161"/>
                  <a:pt x="5952071" y="961505"/>
                  <a:pt x="5942878" y="913784"/>
                </a:cubicBezTo>
                <a:lnTo>
                  <a:pt x="5930115" y="859785"/>
                </a:lnTo>
                <a:lnTo>
                  <a:pt x="5902782" y="807112"/>
                </a:lnTo>
                <a:cubicBezTo>
                  <a:pt x="5874423" y="753314"/>
                  <a:pt x="5848241" y="701749"/>
                  <a:pt x="5831966" y="645218"/>
                </a:cubicBezTo>
                <a:cubicBezTo>
                  <a:pt x="5815975" y="620586"/>
                  <a:pt x="5805316" y="604166"/>
                  <a:pt x="5794655" y="587744"/>
                </a:cubicBezTo>
                <a:cubicBezTo>
                  <a:pt x="5776216" y="541367"/>
                  <a:pt x="5780106" y="556344"/>
                  <a:pt x="5756339" y="501756"/>
                </a:cubicBezTo>
                <a:cubicBezTo>
                  <a:pt x="5751007" y="493545"/>
                  <a:pt x="5742795" y="498872"/>
                  <a:pt x="5742795" y="498872"/>
                </a:cubicBezTo>
                <a:cubicBezTo>
                  <a:pt x="5698711" y="439955"/>
                  <a:pt x="5678833" y="400346"/>
                  <a:pt x="5657513" y="367504"/>
                </a:cubicBezTo>
                <a:cubicBezTo>
                  <a:pt x="5630862" y="326451"/>
                  <a:pt x="5616312" y="295051"/>
                  <a:pt x="5591104" y="247231"/>
                </a:cubicBezTo>
                <a:cubicBezTo>
                  <a:pt x="5586386" y="244457"/>
                  <a:pt x="5583423" y="243826"/>
                  <a:pt x="5581482" y="244629"/>
                </a:cubicBezTo>
                <a:close/>
                <a:moveTo>
                  <a:pt x="4684964" y="0"/>
                </a:moveTo>
                <a:lnTo>
                  <a:pt x="5380578" y="0"/>
                </a:lnTo>
                <a:lnTo>
                  <a:pt x="5478611" y="117479"/>
                </a:lnTo>
                <a:lnTo>
                  <a:pt x="5500013" y="146283"/>
                </a:lnTo>
                <a:lnTo>
                  <a:pt x="5500055" y="142937"/>
                </a:lnTo>
                <a:cubicBezTo>
                  <a:pt x="5505385" y="151146"/>
                  <a:pt x="5513598" y="145819"/>
                  <a:pt x="5534919" y="178662"/>
                </a:cubicBezTo>
                <a:cubicBezTo>
                  <a:pt x="5515041" y="139053"/>
                  <a:pt x="5481616" y="96559"/>
                  <a:pt x="5448194" y="54062"/>
                </a:cubicBezTo>
                <a:lnTo>
                  <a:pt x="5412460" y="0"/>
                </a:lnTo>
                <a:lnTo>
                  <a:pt x="5476134" y="0"/>
                </a:lnTo>
                <a:lnTo>
                  <a:pt x="5485373" y="12455"/>
                </a:lnTo>
                <a:cubicBezTo>
                  <a:pt x="5516129" y="50844"/>
                  <a:pt x="5544834" y="90565"/>
                  <a:pt x="5571665" y="130771"/>
                </a:cubicBezTo>
                <a:lnTo>
                  <a:pt x="5619902" y="208686"/>
                </a:lnTo>
                <a:lnTo>
                  <a:pt x="5662149" y="253738"/>
                </a:lnTo>
                <a:lnTo>
                  <a:pt x="5686327" y="295355"/>
                </a:lnTo>
                <a:lnTo>
                  <a:pt x="5686913" y="295939"/>
                </a:lnTo>
                <a:lnTo>
                  <a:pt x="5696157" y="311903"/>
                </a:lnTo>
                <a:lnTo>
                  <a:pt x="5731531" y="366614"/>
                </a:lnTo>
                <a:cubicBezTo>
                  <a:pt x="5757825" y="405636"/>
                  <a:pt x="5786052" y="444566"/>
                  <a:pt x="5812509" y="478933"/>
                </a:cubicBezTo>
                <a:cubicBezTo>
                  <a:pt x="5812509" y="478933"/>
                  <a:pt x="5812509" y="478933"/>
                  <a:pt x="5815302" y="472602"/>
                </a:cubicBezTo>
                <a:cubicBezTo>
                  <a:pt x="5808968" y="469807"/>
                  <a:pt x="5805428" y="460680"/>
                  <a:pt x="5814555" y="457145"/>
                </a:cubicBezTo>
                <a:lnTo>
                  <a:pt x="5817860" y="460147"/>
                </a:lnTo>
                <a:lnTo>
                  <a:pt x="5827972" y="478193"/>
                </a:lnTo>
                <a:cubicBezTo>
                  <a:pt x="5830766" y="471862"/>
                  <a:pt x="5830766" y="471862"/>
                  <a:pt x="5830766" y="471862"/>
                </a:cubicBezTo>
                <a:lnTo>
                  <a:pt x="5817860" y="460147"/>
                </a:lnTo>
                <a:lnTo>
                  <a:pt x="5763946" y="363899"/>
                </a:lnTo>
                <a:cubicBezTo>
                  <a:pt x="5742496" y="328904"/>
                  <a:pt x="5723072" y="295751"/>
                  <a:pt x="5712077" y="260643"/>
                </a:cubicBezTo>
                <a:cubicBezTo>
                  <a:pt x="5682453" y="224878"/>
                  <a:pt x="5630286" y="171603"/>
                  <a:pt x="5647795" y="149075"/>
                </a:cubicBezTo>
                <a:cubicBezTo>
                  <a:pt x="5687293" y="196760"/>
                  <a:pt x="5713379" y="223399"/>
                  <a:pt x="5750084" y="277415"/>
                </a:cubicBezTo>
                <a:cubicBezTo>
                  <a:pt x="5743749" y="274620"/>
                  <a:pt x="5740956" y="280951"/>
                  <a:pt x="5737415" y="271824"/>
                </a:cubicBezTo>
                <a:cubicBezTo>
                  <a:pt x="5734621" y="278156"/>
                  <a:pt x="5776912" y="319511"/>
                  <a:pt x="5780454" y="328637"/>
                </a:cubicBezTo>
                <a:cubicBezTo>
                  <a:pt x="5796661" y="343354"/>
                  <a:pt x="5793868" y="349685"/>
                  <a:pt x="5784739" y="353221"/>
                </a:cubicBezTo>
                <a:cubicBezTo>
                  <a:pt x="5807282" y="370734"/>
                  <a:pt x="5841940" y="446537"/>
                  <a:pt x="5865230" y="479507"/>
                </a:cubicBezTo>
                <a:cubicBezTo>
                  <a:pt x="5875105" y="491429"/>
                  <a:pt x="5881440" y="494224"/>
                  <a:pt x="5891313" y="506145"/>
                </a:cubicBezTo>
                <a:cubicBezTo>
                  <a:pt x="5958388" y="611383"/>
                  <a:pt x="6004412" y="730027"/>
                  <a:pt x="6056025" y="836005"/>
                </a:cubicBezTo>
                <a:cubicBezTo>
                  <a:pt x="6076520" y="875305"/>
                  <a:pt x="6122354" y="925785"/>
                  <a:pt x="6104098" y="932857"/>
                </a:cubicBezTo>
                <a:cubicBezTo>
                  <a:pt x="6114718" y="960236"/>
                  <a:pt x="6125341" y="987615"/>
                  <a:pt x="6138008" y="993205"/>
                </a:cubicBezTo>
                <a:cubicBezTo>
                  <a:pt x="6142295" y="1017789"/>
                  <a:pt x="6138754" y="1008663"/>
                  <a:pt x="6123293" y="1009405"/>
                </a:cubicBezTo>
                <a:cubicBezTo>
                  <a:pt x="6079508" y="937134"/>
                  <a:pt x="6046897" y="839540"/>
                  <a:pt x="6012986" y="779192"/>
                </a:cubicBezTo>
                <a:cubicBezTo>
                  <a:pt x="6015781" y="772861"/>
                  <a:pt x="6009445" y="770065"/>
                  <a:pt x="6006652" y="776396"/>
                </a:cubicBezTo>
                <a:cubicBezTo>
                  <a:pt x="6006652" y="776396"/>
                  <a:pt x="6010193" y="785523"/>
                  <a:pt x="6010193" y="785523"/>
                </a:cubicBezTo>
                <a:cubicBezTo>
                  <a:pt x="6020068" y="797446"/>
                  <a:pt x="6017273" y="803776"/>
                  <a:pt x="6014480" y="810107"/>
                </a:cubicBezTo>
                <a:lnTo>
                  <a:pt x="6004788" y="798404"/>
                </a:lnTo>
                <a:lnTo>
                  <a:pt x="6001064" y="789058"/>
                </a:lnTo>
                <a:cubicBezTo>
                  <a:pt x="6004605" y="798185"/>
                  <a:pt x="6004605" y="798185"/>
                  <a:pt x="6004605" y="798185"/>
                </a:cubicBezTo>
                <a:lnTo>
                  <a:pt x="6004788" y="798404"/>
                </a:lnTo>
                <a:lnTo>
                  <a:pt x="6051771" y="916385"/>
                </a:lnTo>
                <a:cubicBezTo>
                  <a:pt x="6070427" y="957710"/>
                  <a:pt x="6090225" y="998593"/>
                  <a:pt x="6109323" y="1041059"/>
                </a:cubicBezTo>
                <a:cubicBezTo>
                  <a:pt x="6153855" y="1128785"/>
                  <a:pt x="6189259" y="1220047"/>
                  <a:pt x="6218330" y="1308516"/>
                </a:cubicBezTo>
                <a:cubicBezTo>
                  <a:pt x="6225408" y="1326767"/>
                  <a:pt x="6235284" y="1338689"/>
                  <a:pt x="6248699" y="1359737"/>
                </a:cubicBezTo>
                <a:cubicBezTo>
                  <a:pt x="6274229" y="1439077"/>
                  <a:pt x="6291930" y="1484709"/>
                  <a:pt x="6317460" y="1564049"/>
                </a:cubicBezTo>
                <a:lnTo>
                  <a:pt x="6327364" y="1565758"/>
                </a:lnTo>
                <a:lnTo>
                  <a:pt x="6405224" y="1840478"/>
                </a:lnTo>
                <a:lnTo>
                  <a:pt x="6402944" y="1841928"/>
                </a:lnTo>
                <a:cubicBezTo>
                  <a:pt x="6401363" y="1841231"/>
                  <a:pt x="6400479" y="1838947"/>
                  <a:pt x="6401876" y="1835782"/>
                </a:cubicBezTo>
                <a:lnTo>
                  <a:pt x="6399693" y="1834088"/>
                </a:lnTo>
                <a:lnTo>
                  <a:pt x="6398335" y="1826656"/>
                </a:lnTo>
                <a:cubicBezTo>
                  <a:pt x="6396938" y="1829822"/>
                  <a:pt x="6397823" y="1832103"/>
                  <a:pt x="6399057" y="1833594"/>
                </a:cubicBezTo>
                <a:lnTo>
                  <a:pt x="6399693" y="1834088"/>
                </a:lnTo>
                <a:lnTo>
                  <a:pt x="6403601" y="1855454"/>
                </a:lnTo>
                <a:cubicBezTo>
                  <a:pt x="6404065" y="1865114"/>
                  <a:pt x="6403741" y="1874425"/>
                  <a:pt x="6404114" y="1882153"/>
                </a:cubicBezTo>
                <a:cubicBezTo>
                  <a:pt x="6426850" y="1967824"/>
                  <a:pt x="6455919" y="2056293"/>
                  <a:pt x="6473067" y="2154626"/>
                </a:cubicBezTo>
                <a:cubicBezTo>
                  <a:pt x="6477354" y="2179210"/>
                  <a:pt x="6481640" y="2203794"/>
                  <a:pt x="6483134" y="2234707"/>
                </a:cubicBezTo>
                <a:cubicBezTo>
                  <a:pt x="6493200" y="2314789"/>
                  <a:pt x="6510347" y="2413122"/>
                  <a:pt x="6520415" y="2493203"/>
                </a:cubicBezTo>
                <a:cubicBezTo>
                  <a:pt x="6527965" y="2553265"/>
                  <a:pt x="6535096" y="2604631"/>
                  <a:pt x="6531980" y="2633394"/>
                </a:cubicBezTo>
                <a:lnTo>
                  <a:pt x="6527593" y="2646575"/>
                </a:lnTo>
                <a:lnTo>
                  <a:pt x="6529126" y="2655889"/>
                </a:lnTo>
                <a:lnTo>
                  <a:pt x="6530629" y="2656552"/>
                </a:lnTo>
                <a:cubicBezTo>
                  <a:pt x="6531421" y="2656903"/>
                  <a:pt x="6531421" y="2656903"/>
                  <a:pt x="6531421" y="2656903"/>
                </a:cubicBezTo>
                <a:cubicBezTo>
                  <a:pt x="6531421" y="2656903"/>
                  <a:pt x="6531421" y="2656903"/>
                  <a:pt x="6534962" y="2666028"/>
                </a:cubicBezTo>
                <a:lnTo>
                  <a:pt x="6531926" y="2672908"/>
                </a:lnTo>
                <a:lnTo>
                  <a:pt x="6533706" y="2683731"/>
                </a:lnTo>
                <a:lnTo>
                  <a:pt x="6528462" y="2680756"/>
                </a:lnTo>
                <a:lnTo>
                  <a:pt x="6526580" y="2685022"/>
                </a:lnTo>
                <a:cubicBezTo>
                  <a:pt x="6526580" y="2685022"/>
                  <a:pt x="6526580" y="2685022"/>
                  <a:pt x="6526136" y="2683881"/>
                </a:cubicBezTo>
                <a:lnTo>
                  <a:pt x="6524812" y="2680466"/>
                </a:lnTo>
                <a:lnTo>
                  <a:pt x="6524804" y="2684545"/>
                </a:lnTo>
                <a:cubicBezTo>
                  <a:pt x="6528033" y="2702572"/>
                  <a:pt x="6538888" y="2735796"/>
                  <a:pt x="6538236" y="2743109"/>
                </a:cubicBezTo>
                <a:cubicBezTo>
                  <a:pt x="6546244" y="2763483"/>
                  <a:pt x="6540935" y="2767921"/>
                  <a:pt x="6531185" y="2767044"/>
                </a:cubicBezTo>
                <a:cubicBezTo>
                  <a:pt x="6543635" y="2792734"/>
                  <a:pt x="6541116" y="2876049"/>
                  <a:pt x="6547385" y="2915923"/>
                </a:cubicBezTo>
                <a:cubicBezTo>
                  <a:pt x="6550954" y="2930986"/>
                  <a:pt x="6555394" y="2936299"/>
                  <a:pt x="6558964" y="2951360"/>
                </a:cubicBezTo>
                <a:cubicBezTo>
                  <a:pt x="6572463" y="3075426"/>
                  <a:pt x="6561154" y="3202178"/>
                  <a:pt x="6560463" y="3320054"/>
                </a:cubicBezTo>
                <a:cubicBezTo>
                  <a:pt x="6561422" y="3364367"/>
                  <a:pt x="6580142" y="3429930"/>
                  <a:pt x="6560643" y="3428182"/>
                </a:cubicBezTo>
                <a:cubicBezTo>
                  <a:pt x="6558034" y="3457430"/>
                  <a:pt x="6555423" y="3486683"/>
                  <a:pt x="6564303" y="3497307"/>
                </a:cubicBezTo>
                <a:cubicBezTo>
                  <a:pt x="6557253" y="3521245"/>
                  <a:pt x="6558122" y="3511495"/>
                  <a:pt x="6543934" y="3505308"/>
                </a:cubicBezTo>
                <a:cubicBezTo>
                  <a:pt x="6536705" y="3421119"/>
                  <a:pt x="6550714" y="3319179"/>
                  <a:pt x="6547053" y="3250053"/>
                </a:cubicBezTo>
                <a:cubicBezTo>
                  <a:pt x="6552364" y="3245615"/>
                  <a:pt x="6547924" y="3240302"/>
                  <a:pt x="6542614" y="3244740"/>
                </a:cubicBezTo>
                <a:cubicBezTo>
                  <a:pt x="6542614" y="3244740"/>
                  <a:pt x="6541744" y="3254490"/>
                  <a:pt x="6541744" y="3254490"/>
                </a:cubicBezTo>
                <a:cubicBezTo>
                  <a:pt x="6545314" y="3269553"/>
                  <a:pt x="6540003" y="3273991"/>
                  <a:pt x="6534694" y="3278429"/>
                </a:cubicBezTo>
                <a:lnTo>
                  <a:pt x="6531190" y="3263643"/>
                </a:lnTo>
                <a:lnTo>
                  <a:pt x="6531994" y="3253615"/>
                </a:lnTo>
                <a:cubicBezTo>
                  <a:pt x="6531124" y="3263366"/>
                  <a:pt x="6531124" y="3263366"/>
                  <a:pt x="6531124" y="3263366"/>
                </a:cubicBezTo>
                <a:lnTo>
                  <a:pt x="6531190" y="3263643"/>
                </a:lnTo>
                <a:lnTo>
                  <a:pt x="6521033" y="3390229"/>
                </a:lnTo>
                <a:cubicBezTo>
                  <a:pt x="6519446" y="3435541"/>
                  <a:pt x="6519078" y="3480963"/>
                  <a:pt x="6517384" y="3527497"/>
                </a:cubicBezTo>
                <a:cubicBezTo>
                  <a:pt x="6518434" y="3625872"/>
                  <a:pt x="6509734" y="3723373"/>
                  <a:pt x="6496595" y="3815563"/>
                </a:cubicBezTo>
                <a:cubicBezTo>
                  <a:pt x="6494852" y="3835063"/>
                  <a:pt x="6498424" y="3850126"/>
                  <a:pt x="6501124" y="3874940"/>
                </a:cubicBezTo>
                <a:cubicBezTo>
                  <a:pt x="6488855" y="3957377"/>
                  <a:pt x="6484504" y="4006129"/>
                  <a:pt x="6472234" y="4088567"/>
                </a:cubicBezTo>
                <a:lnTo>
                  <a:pt x="6480357" y="4094487"/>
                </a:lnTo>
                <a:lnTo>
                  <a:pt x="6428427" y="4375267"/>
                </a:lnTo>
                <a:lnTo>
                  <a:pt x="6425741" y="4375556"/>
                </a:lnTo>
                <a:cubicBezTo>
                  <a:pt x="6424632" y="4374230"/>
                  <a:pt x="6424851" y="4371791"/>
                  <a:pt x="6427506" y="4369573"/>
                </a:cubicBezTo>
                <a:lnTo>
                  <a:pt x="6426300" y="4367087"/>
                </a:lnTo>
                <a:lnTo>
                  <a:pt x="6428376" y="4359822"/>
                </a:lnTo>
                <a:cubicBezTo>
                  <a:pt x="6425720" y="4362041"/>
                  <a:pt x="6425503" y="4364479"/>
                  <a:pt x="6425949" y="4366362"/>
                </a:cubicBezTo>
                <a:lnTo>
                  <a:pt x="6426300" y="4367087"/>
                </a:lnTo>
                <a:lnTo>
                  <a:pt x="6420336" y="4387972"/>
                </a:lnTo>
                <a:cubicBezTo>
                  <a:pt x="6416472" y="4396839"/>
                  <a:pt x="6412054" y="4405041"/>
                  <a:pt x="6408966" y="4412135"/>
                </a:cubicBezTo>
                <a:cubicBezTo>
                  <a:pt x="6391387" y="4499011"/>
                  <a:pt x="6378246" y="4591201"/>
                  <a:pt x="6350047" y="4686953"/>
                </a:cubicBezTo>
                <a:cubicBezTo>
                  <a:pt x="6342997" y="4710891"/>
                  <a:pt x="6335946" y="4734828"/>
                  <a:pt x="6323588" y="4763203"/>
                </a:cubicBezTo>
                <a:cubicBezTo>
                  <a:pt x="6297128" y="4839455"/>
                  <a:pt x="6268928" y="4935206"/>
                  <a:pt x="6242470" y="5011457"/>
                </a:cubicBezTo>
                <a:cubicBezTo>
                  <a:pt x="6229240" y="5049583"/>
                  <a:pt x="6217555" y="5084162"/>
                  <a:pt x="6206632" y="5110210"/>
                </a:cubicBezTo>
                <a:lnTo>
                  <a:pt x="6191507" y="5140673"/>
                </a:lnTo>
                <a:lnTo>
                  <a:pt x="6172300" y="5199455"/>
                </a:lnTo>
                <a:lnTo>
                  <a:pt x="6156345" y="5277115"/>
                </a:lnTo>
                <a:cubicBezTo>
                  <a:pt x="6121202" y="5347784"/>
                  <a:pt x="6084760" y="5446969"/>
                  <a:pt x="6059140" y="5529842"/>
                </a:cubicBezTo>
                <a:cubicBezTo>
                  <a:pt x="6059140" y="5529842"/>
                  <a:pt x="6059140" y="5529842"/>
                  <a:pt x="6065922" y="5528472"/>
                </a:cubicBezTo>
                <a:cubicBezTo>
                  <a:pt x="6064552" y="5521685"/>
                  <a:pt x="6069964" y="5513528"/>
                  <a:pt x="6078119" y="5518945"/>
                </a:cubicBezTo>
                <a:lnTo>
                  <a:pt x="6077573" y="5523376"/>
                </a:lnTo>
                <a:lnTo>
                  <a:pt x="6068664" y="5542046"/>
                </a:lnTo>
                <a:cubicBezTo>
                  <a:pt x="6075448" y="5540675"/>
                  <a:pt x="6075448" y="5540675"/>
                  <a:pt x="6075448" y="5540675"/>
                </a:cubicBezTo>
                <a:lnTo>
                  <a:pt x="6077573" y="5523376"/>
                </a:lnTo>
                <a:lnTo>
                  <a:pt x="6125089" y="5423814"/>
                </a:lnTo>
                <a:cubicBezTo>
                  <a:pt x="6141297" y="5386105"/>
                  <a:pt x="6157174" y="5351113"/>
                  <a:pt x="6179507" y="5321879"/>
                </a:cubicBezTo>
                <a:cubicBezTo>
                  <a:pt x="6191633" y="5277050"/>
                  <a:pt x="6205055" y="5203704"/>
                  <a:pt x="6233557" y="5205010"/>
                </a:cubicBezTo>
                <a:cubicBezTo>
                  <a:pt x="6217393" y="5264783"/>
                  <a:pt x="6210681" y="5301457"/>
                  <a:pt x="6187733" y="5362599"/>
                </a:cubicBezTo>
                <a:cubicBezTo>
                  <a:pt x="6186363" y="5355812"/>
                  <a:pt x="6179580" y="5357183"/>
                  <a:pt x="6184992" y="5349026"/>
                </a:cubicBezTo>
                <a:cubicBezTo>
                  <a:pt x="6178209" y="5350396"/>
                  <a:pt x="6168826" y="5408799"/>
                  <a:pt x="6163414" y="5416956"/>
                </a:cubicBezTo>
                <a:cubicBezTo>
                  <a:pt x="6160743" y="5438684"/>
                  <a:pt x="6153959" y="5440054"/>
                  <a:pt x="6145805" y="5434638"/>
                </a:cubicBezTo>
                <a:cubicBezTo>
                  <a:pt x="6144506" y="5463155"/>
                  <a:pt x="6102581" y="5535195"/>
                  <a:pt x="6089085" y="5573237"/>
                </a:cubicBezTo>
                <a:cubicBezTo>
                  <a:pt x="6085044" y="5588181"/>
                  <a:pt x="6086414" y="5594968"/>
                  <a:pt x="6082373" y="5609909"/>
                </a:cubicBezTo>
                <a:cubicBezTo>
                  <a:pt x="6035107" y="5725408"/>
                  <a:pt x="5964746" y="5831446"/>
                  <a:pt x="5907955" y="5934742"/>
                </a:cubicBezTo>
                <a:cubicBezTo>
                  <a:pt x="5887677" y="5974154"/>
                  <a:pt x="5872883" y="6040713"/>
                  <a:pt x="5856575" y="6029882"/>
                </a:cubicBezTo>
                <a:cubicBezTo>
                  <a:pt x="5840339" y="6054351"/>
                  <a:pt x="5824102" y="6078822"/>
                  <a:pt x="5826843" y="6092393"/>
                </a:cubicBezTo>
                <a:cubicBezTo>
                  <a:pt x="5809236" y="6110077"/>
                  <a:pt x="5814648" y="6101919"/>
                  <a:pt x="5805124" y="6089719"/>
                </a:cubicBezTo>
                <a:cubicBezTo>
                  <a:pt x="5838897" y="6012262"/>
                  <a:pt x="5899801" y="5929325"/>
                  <a:pt x="5929533" y="5866812"/>
                </a:cubicBezTo>
                <a:cubicBezTo>
                  <a:pt x="5936316" y="5865442"/>
                  <a:pt x="5934945" y="5858655"/>
                  <a:pt x="5928163" y="5860025"/>
                </a:cubicBezTo>
                <a:cubicBezTo>
                  <a:pt x="5928163" y="5860025"/>
                  <a:pt x="5922749" y="5868182"/>
                  <a:pt x="5922749" y="5868182"/>
                </a:cubicBezTo>
                <a:cubicBezTo>
                  <a:pt x="5918709" y="5883126"/>
                  <a:pt x="5911926" y="5884496"/>
                  <a:pt x="5905143" y="5885866"/>
                </a:cubicBezTo>
                <a:lnTo>
                  <a:pt x="5909110" y="5871199"/>
                </a:lnTo>
                <a:lnTo>
                  <a:pt x="5914596" y="5862765"/>
                </a:lnTo>
                <a:cubicBezTo>
                  <a:pt x="5909184" y="5870922"/>
                  <a:pt x="5909184" y="5870922"/>
                  <a:pt x="5909184" y="5870922"/>
                </a:cubicBezTo>
                <a:lnTo>
                  <a:pt x="5909110" y="5871199"/>
                </a:lnTo>
                <a:lnTo>
                  <a:pt x="5839843" y="5977637"/>
                </a:lnTo>
                <a:cubicBezTo>
                  <a:pt x="5816850" y="6016715"/>
                  <a:pt x="5794878" y="6056470"/>
                  <a:pt x="5771208" y="6096571"/>
                </a:cubicBezTo>
                <a:cubicBezTo>
                  <a:pt x="5725241" y="6183551"/>
                  <a:pt x="5671120" y="6265118"/>
                  <a:pt x="5615626" y="6339899"/>
                </a:cubicBezTo>
                <a:cubicBezTo>
                  <a:pt x="5604802" y="6356211"/>
                  <a:pt x="5600760" y="6371154"/>
                  <a:pt x="5591306" y="6394255"/>
                </a:cubicBezTo>
                <a:cubicBezTo>
                  <a:pt x="5541227" y="6460877"/>
                  <a:pt x="5514166" y="6501661"/>
                  <a:pt x="5464086" y="6568285"/>
                </a:cubicBezTo>
                <a:lnTo>
                  <a:pt x="5468405" y="6577359"/>
                </a:lnTo>
                <a:lnTo>
                  <a:pt x="5288922" y="6799441"/>
                </a:lnTo>
                <a:lnTo>
                  <a:pt x="5286422" y="6798415"/>
                </a:lnTo>
                <a:cubicBezTo>
                  <a:pt x="5286080" y="6796720"/>
                  <a:pt x="5287433" y="6794680"/>
                  <a:pt x="5290826" y="6793995"/>
                </a:cubicBezTo>
                <a:lnTo>
                  <a:pt x="5290950" y="6791235"/>
                </a:lnTo>
                <a:lnTo>
                  <a:pt x="5296238" y="6785838"/>
                </a:lnTo>
                <a:cubicBezTo>
                  <a:pt x="5292846" y="6786523"/>
                  <a:pt x="5291491" y="6788563"/>
                  <a:pt x="5290987" y="6790431"/>
                </a:cubicBezTo>
                <a:lnTo>
                  <a:pt x="5290950" y="6791235"/>
                </a:lnTo>
                <a:lnTo>
                  <a:pt x="5275753" y="6806752"/>
                </a:lnTo>
                <a:cubicBezTo>
                  <a:pt x="5268129" y="6812705"/>
                  <a:pt x="5260336" y="6817811"/>
                  <a:pt x="5254239" y="6822575"/>
                </a:cubicBezTo>
                <a:lnTo>
                  <a:pt x="5225321" y="6858000"/>
                </a:lnTo>
                <a:lnTo>
                  <a:pt x="5157501" y="6858000"/>
                </a:lnTo>
                <a:lnTo>
                  <a:pt x="5208211" y="6795673"/>
                </a:lnTo>
                <a:cubicBezTo>
                  <a:pt x="5246285" y="6748251"/>
                  <a:pt x="5283178" y="6703716"/>
                  <a:pt x="5328568" y="6666293"/>
                </a:cubicBezTo>
                <a:cubicBezTo>
                  <a:pt x="5344804" y="6641822"/>
                  <a:pt x="5355629" y="6625510"/>
                  <a:pt x="5366453" y="6609197"/>
                </a:cubicBezTo>
                <a:cubicBezTo>
                  <a:pt x="5401667" y="6573829"/>
                  <a:pt x="5389473" y="6583356"/>
                  <a:pt x="5430099" y="6539833"/>
                </a:cubicBezTo>
                <a:cubicBezTo>
                  <a:pt x="5435512" y="6531676"/>
                  <a:pt x="5427358" y="6526259"/>
                  <a:pt x="5427358" y="6526259"/>
                </a:cubicBezTo>
                <a:cubicBezTo>
                  <a:pt x="5463873" y="6462376"/>
                  <a:pt x="5492303" y="6428381"/>
                  <a:pt x="5513952" y="6395753"/>
                </a:cubicBezTo>
                <a:cubicBezTo>
                  <a:pt x="5541014" y="6354970"/>
                  <a:pt x="5564033" y="6329129"/>
                  <a:pt x="5597877" y="6286977"/>
                </a:cubicBezTo>
                <a:cubicBezTo>
                  <a:pt x="5599212" y="6276112"/>
                  <a:pt x="5595478" y="6275100"/>
                  <a:pt x="5589542" y="6276299"/>
                </a:cubicBezTo>
                <a:cubicBezTo>
                  <a:pt x="5586574" y="6276898"/>
                  <a:pt x="5583056" y="6278050"/>
                  <a:pt x="5579347" y="6278801"/>
                </a:cubicBezTo>
                <a:lnTo>
                  <a:pt x="5572013" y="6278854"/>
                </a:lnTo>
                <a:lnTo>
                  <a:pt x="5561199" y="6297181"/>
                </a:lnTo>
                <a:cubicBezTo>
                  <a:pt x="5561198" y="6290257"/>
                  <a:pt x="5554278" y="6290256"/>
                  <a:pt x="5561199" y="6283333"/>
                </a:cubicBezTo>
                <a:cubicBezTo>
                  <a:pt x="5554278" y="6283333"/>
                  <a:pt x="5533518" y="6338722"/>
                  <a:pt x="5526598" y="6345645"/>
                </a:cubicBezTo>
                <a:cubicBezTo>
                  <a:pt x="5519678" y="6366415"/>
                  <a:pt x="5512758" y="6366415"/>
                  <a:pt x="5505837" y="6359491"/>
                </a:cubicBezTo>
                <a:cubicBezTo>
                  <a:pt x="5498917" y="6387186"/>
                  <a:pt x="5443558" y="6449499"/>
                  <a:pt x="5422797" y="6484116"/>
                </a:cubicBezTo>
                <a:cubicBezTo>
                  <a:pt x="5415877" y="6497964"/>
                  <a:pt x="5415878" y="6504888"/>
                  <a:pt x="5408957" y="6518733"/>
                </a:cubicBezTo>
                <a:cubicBezTo>
                  <a:pt x="5339758" y="6622587"/>
                  <a:pt x="5249796" y="6712595"/>
                  <a:pt x="5173676" y="6802601"/>
                </a:cubicBezTo>
                <a:cubicBezTo>
                  <a:pt x="5166756" y="6811255"/>
                  <a:pt x="5159836" y="6821640"/>
                  <a:pt x="5153132" y="6832134"/>
                </a:cubicBezTo>
                <a:lnTo>
                  <a:pt x="5136638" y="6858000"/>
                </a:lnTo>
                <a:lnTo>
                  <a:pt x="5106051" y="6858000"/>
                </a:lnTo>
                <a:lnTo>
                  <a:pt x="5127832" y="6832026"/>
                </a:lnTo>
                <a:cubicBezTo>
                  <a:pt x="5158107" y="6799139"/>
                  <a:pt x="5187517" y="6767983"/>
                  <a:pt x="5208277" y="6740288"/>
                </a:cubicBezTo>
                <a:cubicBezTo>
                  <a:pt x="5215197" y="6740288"/>
                  <a:pt x="5215197" y="6733364"/>
                  <a:pt x="5208277" y="6733364"/>
                </a:cubicBezTo>
                <a:cubicBezTo>
                  <a:pt x="5208277" y="6733364"/>
                  <a:pt x="5201357" y="6740288"/>
                  <a:pt x="5201357" y="6740288"/>
                </a:cubicBezTo>
                <a:cubicBezTo>
                  <a:pt x="5194437" y="6754136"/>
                  <a:pt x="5187517" y="6754136"/>
                  <a:pt x="5180596" y="6754136"/>
                </a:cubicBezTo>
                <a:lnTo>
                  <a:pt x="5187389" y="6740544"/>
                </a:lnTo>
                <a:lnTo>
                  <a:pt x="5194437" y="6733364"/>
                </a:lnTo>
                <a:cubicBezTo>
                  <a:pt x="5187516" y="6740288"/>
                  <a:pt x="5187516" y="6740288"/>
                  <a:pt x="5187516" y="6740288"/>
                </a:cubicBezTo>
                <a:lnTo>
                  <a:pt x="5187389" y="6740544"/>
                </a:lnTo>
                <a:lnTo>
                  <a:pt x="5098421" y="6831161"/>
                </a:lnTo>
                <a:lnTo>
                  <a:pt x="5074751" y="6858000"/>
                </a:lnTo>
                <a:lnTo>
                  <a:pt x="4627783" y="6858000"/>
                </a:lnTo>
                <a:lnTo>
                  <a:pt x="4759894" y="6716663"/>
                </a:lnTo>
                <a:cubicBezTo>
                  <a:pt x="5450268" y="5934815"/>
                  <a:pt x="5893935" y="4941647"/>
                  <a:pt x="5986727" y="3868735"/>
                </a:cubicBezTo>
                <a:cubicBezTo>
                  <a:pt x="5995162" y="3759071"/>
                  <a:pt x="6003598" y="3657840"/>
                  <a:pt x="6003597" y="3548178"/>
                </a:cubicBezTo>
                <a:cubicBezTo>
                  <a:pt x="6003597" y="3548178"/>
                  <a:pt x="6012034" y="3548178"/>
                  <a:pt x="6012034" y="3539742"/>
                </a:cubicBezTo>
                <a:lnTo>
                  <a:pt x="6012033" y="3514433"/>
                </a:lnTo>
                <a:lnTo>
                  <a:pt x="6003597" y="3506001"/>
                </a:lnTo>
                <a:lnTo>
                  <a:pt x="6003597" y="3269799"/>
                </a:lnTo>
                <a:cubicBezTo>
                  <a:pt x="5995162" y="3084217"/>
                  <a:pt x="5978291" y="2907070"/>
                  <a:pt x="5952984" y="2721484"/>
                </a:cubicBezTo>
                <a:cubicBezTo>
                  <a:pt x="5868626" y="2122549"/>
                  <a:pt x="5683041" y="1557361"/>
                  <a:pt x="5404662" y="1051221"/>
                </a:cubicBezTo>
                <a:cubicBezTo>
                  <a:pt x="5261257" y="764409"/>
                  <a:pt x="5075668" y="486032"/>
                  <a:pt x="4873211" y="224525"/>
                </a:cubicBezTo>
                <a:cubicBezTo>
                  <a:pt x="4881646" y="232961"/>
                  <a:pt x="4881646" y="232961"/>
                  <a:pt x="4890083" y="232961"/>
                </a:cubicBezTo>
                <a:cubicBezTo>
                  <a:pt x="4873213" y="207654"/>
                  <a:pt x="4831032" y="157040"/>
                  <a:pt x="4797289" y="114861"/>
                </a:cubicBezTo>
                <a:cubicBezTo>
                  <a:pt x="4771984" y="89556"/>
                  <a:pt x="4755110" y="64247"/>
                  <a:pt x="4738239" y="55811"/>
                </a:cubicBezTo>
                <a:close/>
                <a:moveTo>
                  <a:pt x="0" y="0"/>
                </a:moveTo>
                <a:lnTo>
                  <a:pt x="4229922" y="0"/>
                </a:lnTo>
                <a:lnTo>
                  <a:pt x="4372273" y="157015"/>
                </a:lnTo>
                <a:cubicBezTo>
                  <a:pt x="4431688" y="226187"/>
                  <a:pt x="4489090" y="297230"/>
                  <a:pt x="4543809" y="370769"/>
                </a:cubicBezTo>
                <a:cubicBezTo>
                  <a:pt x="4656128" y="524172"/>
                  <a:pt x="4758013" y="681691"/>
                  <a:pt x="4849592" y="843375"/>
                </a:cubicBezTo>
                <a:lnTo>
                  <a:pt x="4914877" y="967066"/>
                </a:lnTo>
                <a:lnTo>
                  <a:pt x="4925933" y="979122"/>
                </a:lnTo>
                <a:cubicBezTo>
                  <a:pt x="4944916" y="1006408"/>
                  <a:pt x="4963897" y="1049113"/>
                  <a:pt x="4982878" y="1068093"/>
                </a:cubicBezTo>
                <a:cubicBezTo>
                  <a:pt x="4982877" y="1070904"/>
                  <a:pt x="4982877" y="1073716"/>
                  <a:pt x="4982876" y="1076527"/>
                </a:cubicBezTo>
                <a:lnTo>
                  <a:pt x="4982876" y="1084962"/>
                </a:lnTo>
                <a:lnTo>
                  <a:pt x="4991312" y="1084964"/>
                </a:lnTo>
                <a:cubicBezTo>
                  <a:pt x="5008182" y="1110271"/>
                  <a:pt x="4999747" y="1110271"/>
                  <a:pt x="5008183" y="1127139"/>
                </a:cubicBezTo>
                <a:lnTo>
                  <a:pt x="5008183" y="1135577"/>
                </a:lnTo>
                <a:lnTo>
                  <a:pt x="5016618" y="1144015"/>
                </a:lnTo>
                <a:lnTo>
                  <a:pt x="5016619" y="1135576"/>
                </a:lnTo>
                <a:cubicBezTo>
                  <a:pt x="5041926" y="1177757"/>
                  <a:pt x="5050362" y="1203064"/>
                  <a:pt x="5075670" y="1228369"/>
                </a:cubicBezTo>
                <a:lnTo>
                  <a:pt x="5067232" y="1228371"/>
                </a:lnTo>
                <a:lnTo>
                  <a:pt x="5067232" y="1236805"/>
                </a:lnTo>
                <a:cubicBezTo>
                  <a:pt x="5067235" y="1245241"/>
                  <a:pt x="5075669" y="1245241"/>
                  <a:pt x="5075669" y="1245241"/>
                </a:cubicBezTo>
                <a:lnTo>
                  <a:pt x="5084105" y="1245241"/>
                </a:lnTo>
                <a:cubicBezTo>
                  <a:pt x="5084106" y="1248053"/>
                  <a:pt x="5084106" y="1250866"/>
                  <a:pt x="5084107" y="1253677"/>
                </a:cubicBezTo>
                <a:cubicBezTo>
                  <a:pt x="5100976" y="1278984"/>
                  <a:pt x="5092540" y="1287420"/>
                  <a:pt x="5100976" y="1304291"/>
                </a:cubicBezTo>
                <a:cubicBezTo>
                  <a:pt x="5109412" y="1304291"/>
                  <a:pt x="5109411" y="1295855"/>
                  <a:pt x="5117847" y="1312726"/>
                </a:cubicBezTo>
                <a:cubicBezTo>
                  <a:pt x="5117848" y="1321162"/>
                  <a:pt x="5126283" y="1321162"/>
                  <a:pt x="5126282" y="1329598"/>
                </a:cubicBezTo>
                <a:cubicBezTo>
                  <a:pt x="5117847" y="1329598"/>
                  <a:pt x="5117847" y="1329598"/>
                  <a:pt x="5117847" y="1338033"/>
                </a:cubicBezTo>
                <a:lnTo>
                  <a:pt x="5126283" y="1346469"/>
                </a:lnTo>
                <a:cubicBezTo>
                  <a:pt x="5126283" y="1346469"/>
                  <a:pt x="5126285" y="1354905"/>
                  <a:pt x="5134719" y="1354905"/>
                </a:cubicBezTo>
                <a:cubicBezTo>
                  <a:pt x="5143154" y="1371778"/>
                  <a:pt x="5185333" y="1439263"/>
                  <a:pt x="5176898" y="1430824"/>
                </a:cubicBezTo>
                <a:cubicBezTo>
                  <a:pt x="5193769" y="1422391"/>
                  <a:pt x="5151590" y="1405518"/>
                  <a:pt x="5168461" y="1397082"/>
                </a:cubicBezTo>
                <a:cubicBezTo>
                  <a:pt x="5160025" y="1388648"/>
                  <a:pt x="5151590" y="1380211"/>
                  <a:pt x="5143155" y="1363341"/>
                </a:cubicBezTo>
                <a:lnTo>
                  <a:pt x="5143154" y="1354903"/>
                </a:lnTo>
                <a:lnTo>
                  <a:pt x="5143155" y="1346469"/>
                </a:lnTo>
                <a:cubicBezTo>
                  <a:pt x="5143155" y="1338034"/>
                  <a:pt x="5134719" y="1329598"/>
                  <a:pt x="5134719" y="1329598"/>
                </a:cubicBezTo>
                <a:cubicBezTo>
                  <a:pt x="5134719" y="1304291"/>
                  <a:pt x="5109411" y="1295855"/>
                  <a:pt x="5092539" y="1262112"/>
                </a:cubicBezTo>
                <a:cubicBezTo>
                  <a:pt x="5100976" y="1262115"/>
                  <a:pt x="5100976" y="1253677"/>
                  <a:pt x="5092540" y="1245241"/>
                </a:cubicBezTo>
                <a:lnTo>
                  <a:pt x="5092539" y="1236803"/>
                </a:lnTo>
                <a:lnTo>
                  <a:pt x="5092539" y="1219933"/>
                </a:lnTo>
                <a:cubicBezTo>
                  <a:pt x="5084107" y="1219935"/>
                  <a:pt x="5084105" y="1211496"/>
                  <a:pt x="5084107" y="1219935"/>
                </a:cubicBezTo>
                <a:lnTo>
                  <a:pt x="5075668" y="1219935"/>
                </a:lnTo>
                <a:cubicBezTo>
                  <a:pt x="5075669" y="1194627"/>
                  <a:pt x="5058796" y="1203064"/>
                  <a:pt x="5050362" y="1186189"/>
                </a:cubicBezTo>
                <a:cubicBezTo>
                  <a:pt x="5041926" y="1160885"/>
                  <a:pt x="5033490" y="1144012"/>
                  <a:pt x="5025055" y="1135578"/>
                </a:cubicBezTo>
                <a:lnTo>
                  <a:pt x="5025054" y="1127141"/>
                </a:lnTo>
                <a:lnTo>
                  <a:pt x="5025055" y="1118707"/>
                </a:lnTo>
                <a:cubicBezTo>
                  <a:pt x="5016619" y="1110270"/>
                  <a:pt x="5012403" y="1106052"/>
                  <a:pt x="5009238" y="1101833"/>
                </a:cubicBezTo>
                <a:lnTo>
                  <a:pt x="5004170" y="1092826"/>
                </a:lnTo>
                <a:lnTo>
                  <a:pt x="5008183" y="1093400"/>
                </a:lnTo>
                <a:lnTo>
                  <a:pt x="5008182" y="1084964"/>
                </a:lnTo>
                <a:lnTo>
                  <a:pt x="4999746" y="1076527"/>
                </a:lnTo>
                <a:lnTo>
                  <a:pt x="4991312" y="1068091"/>
                </a:lnTo>
                <a:cubicBezTo>
                  <a:pt x="4991314" y="1059657"/>
                  <a:pt x="4991314" y="1059657"/>
                  <a:pt x="4982876" y="1042786"/>
                </a:cubicBezTo>
                <a:cubicBezTo>
                  <a:pt x="4982876" y="1051221"/>
                  <a:pt x="4974440" y="1042787"/>
                  <a:pt x="4966004" y="1025912"/>
                </a:cubicBezTo>
                <a:cubicBezTo>
                  <a:pt x="4974440" y="1025914"/>
                  <a:pt x="4974440" y="1034350"/>
                  <a:pt x="4982876" y="1034349"/>
                </a:cubicBezTo>
                <a:cubicBezTo>
                  <a:pt x="4966005" y="1009043"/>
                  <a:pt x="4966004" y="1025912"/>
                  <a:pt x="4957571" y="1009043"/>
                </a:cubicBezTo>
                <a:cubicBezTo>
                  <a:pt x="4949132" y="983737"/>
                  <a:pt x="4957569" y="1000607"/>
                  <a:pt x="4932262" y="966864"/>
                </a:cubicBezTo>
                <a:cubicBezTo>
                  <a:pt x="4940697" y="958427"/>
                  <a:pt x="4949132" y="966864"/>
                  <a:pt x="4957569" y="966864"/>
                </a:cubicBezTo>
                <a:lnTo>
                  <a:pt x="4923825" y="933123"/>
                </a:lnTo>
                <a:lnTo>
                  <a:pt x="4932261" y="933122"/>
                </a:lnTo>
                <a:lnTo>
                  <a:pt x="4932262" y="924686"/>
                </a:lnTo>
                <a:cubicBezTo>
                  <a:pt x="4932262" y="924686"/>
                  <a:pt x="4923828" y="924686"/>
                  <a:pt x="4923825" y="916250"/>
                </a:cubicBezTo>
                <a:cubicBezTo>
                  <a:pt x="4915392" y="907814"/>
                  <a:pt x="4906952" y="890943"/>
                  <a:pt x="4898518" y="890943"/>
                </a:cubicBezTo>
                <a:cubicBezTo>
                  <a:pt x="4898518" y="890943"/>
                  <a:pt x="4890085" y="882507"/>
                  <a:pt x="4890083" y="874073"/>
                </a:cubicBezTo>
                <a:lnTo>
                  <a:pt x="4881646" y="865638"/>
                </a:lnTo>
                <a:lnTo>
                  <a:pt x="4881647" y="874073"/>
                </a:lnTo>
                <a:lnTo>
                  <a:pt x="4881647" y="882507"/>
                </a:lnTo>
                <a:cubicBezTo>
                  <a:pt x="4856340" y="857200"/>
                  <a:pt x="4847904" y="831895"/>
                  <a:pt x="4839470" y="815023"/>
                </a:cubicBezTo>
                <a:cubicBezTo>
                  <a:pt x="4847904" y="815024"/>
                  <a:pt x="4856341" y="823461"/>
                  <a:pt x="4864776" y="823459"/>
                </a:cubicBezTo>
                <a:cubicBezTo>
                  <a:pt x="4839469" y="781279"/>
                  <a:pt x="4814160" y="739104"/>
                  <a:pt x="4814160" y="772843"/>
                </a:cubicBezTo>
                <a:cubicBezTo>
                  <a:pt x="4797289" y="730666"/>
                  <a:pt x="4797289" y="730666"/>
                  <a:pt x="4771982" y="705360"/>
                </a:cubicBezTo>
                <a:cubicBezTo>
                  <a:pt x="4771982" y="705360"/>
                  <a:pt x="4780421" y="705359"/>
                  <a:pt x="4780419" y="713795"/>
                </a:cubicBezTo>
                <a:lnTo>
                  <a:pt x="4788853" y="713795"/>
                </a:lnTo>
                <a:cubicBezTo>
                  <a:pt x="4797291" y="722229"/>
                  <a:pt x="4797292" y="713795"/>
                  <a:pt x="4797292" y="713795"/>
                </a:cubicBezTo>
                <a:cubicBezTo>
                  <a:pt x="4797289" y="705360"/>
                  <a:pt x="4797289" y="705360"/>
                  <a:pt x="4788854" y="696923"/>
                </a:cubicBezTo>
                <a:lnTo>
                  <a:pt x="4797290" y="696923"/>
                </a:lnTo>
                <a:lnTo>
                  <a:pt x="4805728" y="705359"/>
                </a:lnTo>
                <a:cubicBezTo>
                  <a:pt x="4805727" y="708171"/>
                  <a:pt x="4805727" y="710983"/>
                  <a:pt x="4805726" y="713795"/>
                </a:cubicBezTo>
                <a:lnTo>
                  <a:pt x="4814160" y="722229"/>
                </a:lnTo>
                <a:lnTo>
                  <a:pt x="4822596" y="730666"/>
                </a:lnTo>
                <a:cubicBezTo>
                  <a:pt x="4881647" y="823459"/>
                  <a:pt x="4932262" y="907814"/>
                  <a:pt x="4991311" y="1000607"/>
                </a:cubicBezTo>
                <a:lnTo>
                  <a:pt x="4991312" y="1009043"/>
                </a:lnTo>
                <a:lnTo>
                  <a:pt x="4999746" y="1017476"/>
                </a:lnTo>
                <a:cubicBezTo>
                  <a:pt x="5025057" y="1042786"/>
                  <a:pt x="5016619" y="1042785"/>
                  <a:pt x="5033490" y="1068093"/>
                </a:cubicBezTo>
                <a:cubicBezTo>
                  <a:pt x="5033490" y="1076527"/>
                  <a:pt x="5033489" y="1084964"/>
                  <a:pt x="5041925" y="1093401"/>
                </a:cubicBezTo>
                <a:lnTo>
                  <a:pt x="5050362" y="1101835"/>
                </a:lnTo>
                <a:cubicBezTo>
                  <a:pt x="5067233" y="1127141"/>
                  <a:pt x="5075669" y="1152450"/>
                  <a:pt x="5092540" y="1160885"/>
                </a:cubicBezTo>
                <a:lnTo>
                  <a:pt x="5100975" y="1169321"/>
                </a:lnTo>
                <a:lnTo>
                  <a:pt x="5100976" y="1194627"/>
                </a:lnTo>
                <a:cubicBezTo>
                  <a:pt x="5109412" y="1194627"/>
                  <a:pt x="5126283" y="1236805"/>
                  <a:pt x="5143155" y="1253676"/>
                </a:cubicBezTo>
                <a:lnTo>
                  <a:pt x="5151590" y="1262112"/>
                </a:lnTo>
                <a:lnTo>
                  <a:pt x="5151590" y="1270548"/>
                </a:lnTo>
                <a:cubicBezTo>
                  <a:pt x="5185332" y="1346469"/>
                  <a:pt x="5219076" y="1430825"/>
                  <a:pt x="5261254" y="1506748"/>
                </a:cubicBezTo>
                <a:cubicBezTo>
                  <a:pt x="5261255" y="1515180"/>
                  <a:pt x="5269690" y="1523617"/>
                  <a:pt x="5278126" y="1532055"/>
                </a:cubicBezTo>
                <a:cubicBezTo>
                  <a:pt x="5278126" y="1540489"/>
                  <a:pt x="5278125" y="1548926"/>
                  <a:pt x="5278128" y="1557362"/>
                </a:cubicBezTo>
                <a:cubicBezTo>
                  <a:pt x="5278125" y="1548926"/>
                  <a:pt x="5286562" y="1557361"/>
                  <a:pt x="5294998" y="1557362"/>
                </a:cubicBezTo>
                <a:cubicBezTo>
                  <a:pt x="5294997" y="1565794"/>
                  <a:pt x="5303433" y="1574233"/>
                  <a:pt x="5303433" y="1574233"/>
                </a:cubicBezTo>
                <a:cubicBezTo>
                  <a:pt x="5320305" y="1616412"/>
                  <a:pt x="5328741" y="1658590"/>
                  <a:pt x="5345614" y="1692332"/>
                </a:cubicBezTo>
                <a:cubicBezTo>
                  <a:pt x="5345613" y="1695144"/>
                  <a:pt x="5345613" y="1697956"/>
                  <a:pt x="5345612" y="1700767"/>
                </a:cubicBezTo>
                <a:lnTo>
                  <a:pt x="5345612" y="1717637"/>
                </a:lnTo>
                <a:lnTo>
                  <a:pt x="5354048" y="1717639"/>
                </a:lnTo>
                <a:cubicBezTo>
                  <a:pt x="5379355" y="1768251"/>
                  <a:pt x="5404662" y="1810432"/>
                  <a:pt x="5413098" y="1844173"/>
                </a:cubicBezTo>
                <a:cubicBezTo>
                  <a:pt x="5438404" y="1869479"/>
                  <a:pt x="5455275" y="1945401"/>
                  <a:pt x="5480584" y="2012887"/>
                </a:cubicBezTo>
                <a:cubicBezTo>
                  <a:pt x="5497455" y="2029761"/>
                  <a:pt x="5505890" y="2088808"/>
                  <a:pt x="5514328" y="2105680"/>
                </a:cubicBezTo>
                <a:lnTo>
                  <a:pt x="5514328" y="2114117"/>
                </a:lnTo>
                <a:lnTo>
                  <a:pt x="5514327" y="2122551"/>
                </a:lnTo>
                <a:lnTo>
                  <a:pt x="5514328" y="2130987"/>
                </a:lnTo>
                <a:cubicBezTo>
                  <a:pt x="5522762" y="2139423"/>
                  <a:pt x="5522762" y="2139423"/>
                  <a:pt x="5522762" y="2130987"/>
                </a:cubicBezTo>
                <a:cubicBezTo>
                  <a:pt x="5531197" y="2156294"/>
                  <a:pt x="5531198" y="2139423"/>
                  <a:pt x="5539633" y="2139424"/>
                </a:cubicBezTo>
                <a:cubicBezTo>
                  <a:pt x="5531196" y="2164730"/>
                  <a:pt x="5556505" y="2164730"/>
                  <a:pt x="5556503" y="2198472"/>
                </a:cubicBezTo>
                <a:cubicBezTo>
                  <a:pt x="5564941" y="2190038"/>
                  <a:pt x="5564939" y="2215344"/>
                  <a:pt x="5573376" y="2215344"/>
                </a:cubicBezTo>
                <a:cubicBezTo>
                  <a:pt x="5556504" y="2181601"/>
                  <a:pt x="5548068" y="2122551"/>
                  <a:pt x="5531197" y="2114117"/>
                </a:cubicBezTo>
                <a:lnTo>
                  <a:pt x="5531198" y="2097245"/>
                </a:lnTo>
                <a:lnTo>
                  <a:pt x="5522762" y="2088808"/>
                </a:lnTo>
                <a:cubicBezTo>
                  <a:pt x="5522762" y="2038194"/>
                  <a:pt x="5497455" y="1996017"/>
                  <a:pt x="5480583" y="1953837"/>
                </a:cubicBezTo>
                <a:cubicBezTo>
                  <a:pt x="5438405" y="1844173"/>
                  <a:pt x="5404661" y="1734510"/>
                  <a:pt x="5362484" y="1641717"/>
                </a:cubicBezTo>
                <a:cubicBezTo>
                  <a:pt x="5328740" y="1565794"/>
                  <a:pt x="5294998" y="1447698"/>
                  <a:pt x="5235948" y="1346470"/>
                </a:cubicBezTo>
                <a:cubicBezTo>
                  <a:pt x="5227512" y="1329599"/>
                  <a:pt x="5210641" y="1321163"/>
                  <a:pt x="5210643" y="1304291"/>
                </a:cubicBezTo>
                <a:cubicBezTo>
                  <a:pt x="5168462" y="1228369"/>
                  <a:pt x="5143155" y="1152450"/>
                  <a:pt x="5109412" y="1093400"/>
                </a:cubicBezTo>
                <a:cubicBezTo>
                  <a:pt x="5075669" y="1051221"/>
                  <a:pt x="5092540" y="1076527"/>
                  <a:pt x="5067234" y="1025914"/>
                </a:cubicBezTo>
                <a:cubicBezTo>
                  <a:pt x="5041926" y="966866"/>
                  <a:pt x="5008183" y="916250"/>
                  <a:pt x="4974440" y="882507"/>
                </a:cubicBezTo>
                <a:cubicBezTo>
                  <a:pt x="4940696" y="806586"/>
                  <a:pt x="4856339" y="705359"/>
                  <a:pt x="4814162" y="637873"/>
                </a:cubicBezTo>
                <a:cubicBezTo>
                  <a:pt x="4797289" y="612566"/>
                  <a:pt x="4788854" y="621003"/>
                  <a:pt x="4771983" y="595695"/>
                </a:cubicBezTo>
                <a:cubicBezTo>
                  <a:pt x="4788854" y="587259"/>
                  <a:pt x="4755109" y="545082"/>
                  <a:pt x="4729804" y="519774"/>
                </a:cubicBezTo>
                <a:cubicBezTo>
                  <a:pt x="4729804" y="519774"/>
                  <a:pt x="4721369" y="519774"/>
                  <a:pt x="4712933" y="511338"/>
                </a:cubicBezTo>
                <a:cubicBezTo>
                  <a:pt x="4687626" y="486033"/>
                  <a:pt x="4670753" y="426982"/>
                  <a:pt x="4628576" y="393238"/>
                </a:cubicBezTo>
                <a:cubicBezTo>
                  <a:pt x="4620140" y="384804"/>
                  <a:pt x="4611704" y="393238"/>
                  <a:pt x="4594833" y="376368"/>
                </a:cubicBezTo>
                <a:cubicBezTo>
                  <a:pt x="4594833" y="376368"/>
                  <a:pt x="4594833" y="351062"/>
                  <a:pt x="4577960" y="342623"/>
                </a:cubicBezTo>
                <a:cubicBezTo>
                  <a:pt x="4510475" y="249831"/>
                  <a:pt x="4400810" y="148604"/>
                  <a:pt x="4324890" y="72683"/>
                </a:cubicBezTo>
                <a:cubicBezTo>
                  <a:pt x="4308018" y="55812"/>
                  <a:pt x="4291147" y="36832"/>
                  <a:pt x="4273221" y="16797"/>
                </a:cubicBezTo>
                <a:lnTo>
                  <a:pt x="4257562" y="0"/>
                </a:lnTo>
                <a:lnTo>
                  <a:pt x="4303981" y="0"/>
                </a:lnTo>
                <a:lnTo>
                  <a:pt x="4319485" y="14161"/>
                </a:lnTo>
                <a:cubicBezTo>
                  <a:pt x="4325944" y="20488"/>
                  <a:pt x="4333325" y="28396"/>
                  <a:pt x="4341761" y="38940"/>
                </a:cubicBezTo>
                <a:lnTo>
                  <a:pt x="4333323" y="38940"/>
                </a:lnTo>
                <a:lnTo>
                  <a:pt x="4341761" y="47377"/>
                </a:lnTo>
                <a:cubicBezTo>
                  <a:pt x="4341762" y="64247"/>
                  <a:pt x="4324890" y="38940"/>
                  <a:pt x="4316454" y="38940"/>
                </a:cubicBezTo>
                <a:cubicBezTo>
                  <a:pt x="4333323" y="64247"/>
                  <a:pt x="4341762" y="64247"/>
                  <a:pt x="4358630" y="64247"/>
                </a:cubicBezTo>
                <a:cubicBezTo>
                  <a:pt x="4358633" y="72683"/>
                  <a:pt x="4358633" y="72683"/>
                  <a:pt x="4367067" y="81121"/>
                </a:cubicBezTo>
                <a:cubicBezTo>
                  <a:pt x="4367069" y="89554"/>
                  <a:pt x="4375504" y="89556"/>
                  <a:pt x="4375504" y="89556"/>
                </a:cubicBezTo>
                <a:lnTo>
                  <a:pt x="4383940" y="81120"/>
                </a:lnTo>
                <a:cubicBezTo>
                  <a:pt x="4392373" y="114861"/>
                  <a:pt x="4409246" y="89554"/>
                  <a:pt x="4434553" y="131733"/>
                </a:cubicBezTo>
                <a:lnTo>
                  <a:pt x="4442990" y="140168"/>
                </a:lnTo>
                <a:lnTo>
                  <a:pt x="4451426" y="140168"/>
                </a:lnTo>
                <a:cubicBezTo>
                  <a:pt x="4510474" y="207654"/>
                  <a:pt x="4561090" y="258268"/>
                  <a:pt x="4611704" y="300447"/>
                </a:cubicBezTo>
                <a:cubicBezTo>
                  <a:pt x="4603266" y="300447"/>
                  <a:pt x="4603267" y="334190"/>
                  <a:pt x="4620140" y="325755"/>
                </a:cubicBezTo>
                <a:cubicBezTo>
                  <a:pt x="4611704" y="308881"/>
                  <a:pt x="4628575" y="317318"/>
                  <a:pt x="4637011" y="334188"/>
                </a:cubicBezTo>
                <a:cubicBezTo>
                  <a:pt x="4662316" y="367932"/>
                  <a:pt x="4712933" y="418545"/>
                  <a:pt x="4755110" y="477595"/>
                </a:cubicBezTo>
                <a:cubicBezTo>
                  <a:pt x="4797290" y="528209"/>
                  <a:pt x="4839469" y="587259"/>
                  <a:pt x="4873211" y="629438"/>
                </a:cubicBezTo>
                <a:cubicBezTo>
                  <a:pt x="4864775" y="621002"/>
                  <a:pt x="4873211" y="654745"/>
                  <a:pt x="4881646" y="654745"/>
                </a:cubicBezTo>
                <a:cubicBezTo>
                  <a:pt x="4873211" y="637873"/>
                  <a:pt x="4881647" y="637873"/>
                  <a:pt x="4890082" y="646309"/>
                </a:cubicBezTo>
                <a:cubicBezTo>
                  <a:pt x="4890083" y="663180"/>
                  <a:pt x="4923827" y="705359"/>
                  <a:pt x="4949133" y="739102"/>
                </a:cubicBezTo>
                <a:cubicBezTo>
                  <a:pt x="4974440" y="772843"/>
                  <a:pt x="4999747" y="798150"/>
                  <a:pt x="4991312" y="798150"/>
                </a:cubicBezTo>
                <a:cubicBezTo>
                  <a:pt x="5025055" y="831895"/>
                  <a:pt x="5041926" y="865638"/>
                  <a:pt x="5058797" y="899380"/>
                </a:cubicBezTo>
                <a:cubicBezTo>
                  <a:pt x="5084104" y="941557"/>
                  <a:pt x="5100976" y="983736"/>
                  <a:pt x="5143155" y="1034350"/>
                </a:cubicBezTo>
                <a:lnTo>
                  <a:pt x="5143154" y="1051222"/>
                </a:lnTo>
                <a:cubicBezTo>
                  <a:pt x="5176898" y="1059657"/>
                  <a:pt x="5202205" y="1169322"/>
                  <a:pt x="5227512" y="1203064"/>
                </a:cubicBezTo>
                <a:cubicBezTo>
                  <a:pt x="5235949" y="1211497"/>
                  <a:pt x="5235950" y="1203065"/>
                  <a:pt x="5244383" y="1219935"/>
                </a:cubicBezTo>
                <a:cubicBezTo>
                  <a:pt x="5261254" y="1245241"/>
                  <a:pt x="5261256" y="1270548"/>
                  <a:pt x="5278126" y="1295855"/>
                </a:cubicBezTo>
                <a:cubicBezTo>
                  <a:pt x="5286561" y="1312728"/>
                  <a:pt x="5295000" y="1321162"/>
                  <a:pt x="5311869" y="1338033"/>
                </a:cubicBezTo>
                <a:cubicBezTo>
                  <a:pt x="5337176" y="1388648"/>
                  <a:pt x="5354048" y="1464569"/>
                  <a:pt x="5379354" y="1523620"/>
                </a:cubicBezTo>
                <a:cubicBezTo>
                  <a:pt x="5413098" y="1591105"/>
                  <a:pt x="5446840" y="1692332"/>
                  <a:pt x="5480584" y="1768253"/>
                </a:cubicBezTo>
                <a:cubicBezTo>
                  <a:pt x="5489019" y="1793560"/>
                  <a:pt x="5505891" y="1818865"/>
                  <a:pt x="5514328" y="1835738"/>
                </a:cubicBezTo>
                <a:lnTo>
                  <a:pt x="5505890" y="1827301"/>
                </a:lnTo>
                <a:cubicBezTo>
                  <a:pt x="5514327" y="1861046"/>
                  <a:pt x="5531197" y="1894789"/>
                  <a:pt x="5539634" y="1920094"/>
                </a:cubicBezTo>
                <a:lnTo>
                  <a:pt x="5539634" y="1945401"/>
                </a:lnTo>
                <a:cubicBezTo>
                  <a:pt x="5564941" y="2029760"/>
                  <a:pt x="5598683" y="2139423"/>
                  <a:pt x="5623989" y="2215343"/>
                </a:cubicBezTo>
                <a:lnTo>
                  <a:pt x="5615554" y="2215342"/>
                </a:lnTo>
                <a:lnTo>
                  <a:pt x="5615555" y="2223779"/>
                </a:lnTo>
                <a:lnTo>
                  <a:pt x="5623988" y="2232216"/>
                </a:lnTo>
                <a:cubicBezTo>
                  <a:pt x="5632426" y="2257524"/>
                  <a:pt x="5640861" y="2350315"/>
                  <a:pt x="5649298" y="2325008"/>
                </a:cubicBezTo>
                <a:lnTo>
                  <a:pt x="5649298" y="2333444"/>
                </a:lnTo>
                <a:lnTo>
                  <a:pt x="5649298" y="2341878"/>
                </a:lnTo>
                <a:lnTo>
                  <a:pt x="5657733" y="2341879"/>
                </a:lnTo>
                <a:lnTo>
                  <a:pt x="5657733" y="2333443"/>
                </a:lnTo>
                <a:cubicBezTo>
                  <a:pt x="5674605" y="2325008"/>
                  <a:pt x="5666171" y="2358751"/>
                  <a:pt x="5666169" y="2367185"/>
                </a:cubicBezTo>
                <a:cubicBezTo>
                  <a:pt x="5674605" y="2350315"/>
                  <a:pt x="5691476" y="2400928"/>
                  <a:pt x="5683040" y="2367183"/>
                </a:cubicBezTo>
                <a:cubicBezTo>
                  <a:pt x="5674605" y="2367186"/>
                  <a:pt x="5674605" y="2341878"/>
                  <a:pt x="5674605" y="2341878"/>
                </a:cubicBezTo>
                <a:cubicBezTo>
                  <a:pt x="5683041" y="2358751"/>
                  <a:pt x="5683041" y="2350315"/>
                  <a:pt x="5683040" y="2341879"/>
                </a:cubicBezTo>
                <a:cubicBezTo>
                  <a:pt x="5666171" y="2333443"/>
                  <a:pt x="5666171" y="2299699"/>
                  <a:pt x="5649298" y="2274394"/>
                </a:cubicBezTo>
                <a:lnTo>
                  <a:pt x="5649298" y="2257524"/>
                </a:lnTo>
                <a:lnTo>
                  <a:pt x="5649298" y="2249087"/>
                </a:lnTo>
                <a:lnTo>
                  <a:pt x="5649297" y="2240649"/>
                </a:lnTo>
                <a:lnTo>
                  <a:pt x="5640860" y="2240651"/>
                </a:lnTo>
                <a:cubicBezTo>
                  <a:pt x="5640862" y="2232213"/>
                  <a:pt x="5640862" y="2232213"/>
                  <a:pt x="5640862" y="2223779"/>
                </a:cubicBezTo>
                <a:cubicBezTo>
                  <a:pt x="5649297" y="2215342"/>
                  <a:pt x="5649296" y="2232217"/>
                  <a:pt x="5657734" y="2232217"/>
                </a:cubicBezTo>
                <a:cubicBezTo>
                  <a:pt x="5657734" y="2215345"/>
                  <a:pt x="5649297" y="2215342"/>
                  <a:pt x="5649298" y="2206908"/>
                </a:cubicBezTo>
                <a:lnTo>
                  <a:pt x="5649298" y="2198470"/>
                </a:lnTo>
                <a:lnTo>
                  <a:pt x="5649297" y="2190035"/>
                </a:lnTo>
                <a:lnTo>
                  <a:pt x="5649298" y="2181601"/>
                </a:lnTo>
                <a:lnTo>
                  <a:pt x="5640859" y="2147859"/>
                </a:lnTo>
                <a:lnTo>
                  <a:pt x="5632426" y="2139423"/>
                </a:lnTo>
                <a:cubicBezTo>
                  <a:pt x="5615553" y="2088809"/>
                  <a:pt x="5615555" y="2105681"/>
                  <a:pt x="5607121" y="2055067"/>
                </a:cubicBezTo>
                <a:cubicBezTo>
                  <a:pt x="5607121" y="2046628"/>
                  <a:pt x="5607121" y="2046628"/>
                  <a:pt x="5607118" y="2038194"/>
                </a:cubicBezTo>
                <a:cubicBezTo>
                  <a:pt x="5598683" y="2029760"/>
                  <a:pt x="5598683" y="2029760"/>
                  <a:pt x="5598684" y="2038192"/>
                </a:cubicBezTo>
                <a:cubicBezTo>
                  <a:pt x="5598684" y="2012887"/>
                  <a:pt x="5590248" y="1970710"/>
                  <a:pt x="5573377" y="1962273"/>
                </a:cubicBezTo>
                <a:cubicBezTo>
                  <a:pt x="5581812" y="1979144"/>
                  <a:pt x="5573375" y="1979146"/>
                  <a:pt x="5564941" y="1962273"/>
                </a:cubicBezTo>
                <a:lnTo>
                  <a:pt x="5564941" y="1953837"/>
                </a:lnTo>
                <a:lnTo>
                  <a:pt x="5573376" y="1953838"/>
                </a:lnTo>
                <a:cubicBezTo>
                  <a:pt x="5573375" y="1951025"/>
                  <a:pt x="5573377" y="1948213"/>
                  <a:pt x="5573377" y="1945401"/>
                </a:cubicBezTo>
                <a:lnTo>
                  <a:pt x="5564941" y="1936967"/>
                </a:lnTo>
                <a:cubicBezTo>
                  <a:pt x="5564941" y="1886353"/>
                  <a:pt x="5505889" y="1759817"/>
                  <a:pt x="5489019" y="1700769"/>
                </a:cubicBezTo>
                <a:cubicBezTo>
                  <a:pt x="5480583" y="1667026"/>
                  <a:pt x="5489018" y="1658589"/>
                  <a:pt x="5472148" y="1633282"/>
                </a:cubicBezTo>
                <a:cubicBezTo>
                  <a:pt x="5472148" y="1616412"/>
                  <a:pt x="5455276" y="1607977"/>
                  <a:pt x="5446841" y="1591103"/>
                </a:cubicBezTo>
                <a:cubicBezTo>
                  <a:pt x="5438404" y="1557360"/>
                  <a:pt x="5438404" y="1532053"/>
                  <a:pt x="5413098" y="1523619"/>
                </a:cubicBezTo>
                <a:cubicBezTo>
                  <a:pt x="5362483" y="1363341"/>
                  <a:pt x="5269690" y="1186189"/>
                  <a:pt x="5176900" y="1034350"/>
                </a:cubicBezTo>
                <a:cubicBezTo>
                  <a:pt x="5185335" y="1025912"/>
                  <a:pt x="5185335" y="1025912"/>
                  <a:pt x="5185333" y="1017477"/>
                </a:cubicBezTo>
                <a:cubicBezTo>
                  <a:pt x="5185334" y="1020289"/>
                  <a:pt x="5185334" y="1023100"/>
                  <a:pt x="5185335" y="1025912"/>
                </a:cubicBezTo>
                <a:lnTo>
                  <a:pt x="5193769" y="1025914"/>
                </a:lnTo>
                <a:cubicBezTo>
                  <a:pt x="5193769" y="1025914"/>
                  <a:pt x="5193768" y="1017477"/>
                  <a:pt x="5185332" y="1009044"/>
                </a:cubicBezTo>
                <a:lnTo>
                  <a:pt x="5185332" y="983737"/>
                </a:lnTo>
                <a:cubicBezTo>
                  <a:pt x="5176898" y="992171"/>
                  <a:pt x="5168462" y="983736"/>
                  <a:pt x="5151590" y="958427"/>
                </a:cubicBezTo>
                <a:lnTo>
                  <a:pt x="5151589" y="949995"/>
                </a:lnTo>
                <a:cubicBezTo>
                  <a:pt x="5151589" y="949995"/>
                  <a:pt x="5143156" y="949995"/>
                  <a:pt x="5143155" y="941557"/>
                </a:cubicBezTo>
                <a:lnTo>
                  <a:pt x="5143155" y="933122"/>
                </a:lnTo>
                <a:lnTo>
                  <a:pt x="5134718" y="933123"/>
                </a:lnTo>
                <a:cubicBezTo>
                  <a:pt x="5134719" y="924686"/>
                  <a:pt x="5134719" y="924686"/>
                  <a:pt x="5126283" y="916250"/>
                </a:cubicBezTo>
                <a:cubicBezTo>
                  <a:pt x="5134721" y="899379"/>
                  <a:pt x="5100976" y="874073"/>
                  <a:pt x="5109414" y="874074"/>
                </a:cubicBezTo>
                <a:lnTo>
                  <a:pt x="5117847" y="874073"/>
                </a:lnTo>
                <a:lnTo>
                  <a:pt x="5126285" y="882507"/>
                </a:lnTo>
                <a:cubicBezTo>
                  <a:pt x="5126283" y="874073"/>
                  <a:pt x="5117847" y="874073"/>
                  <a:pt x="5117848" y="865636"/>
                </a:cubicBezTo>
                <a:lnTo>
                  <a:pt x="5109412" y="857200"/>
                </a:lnTo>
                <a:cubicBezTo>
                  <a:pt x="5100976" y="840329"/>
                  <a:pt x="5092540" y="823459"/>
                  <a:pt x="5084104" y="823460"/>
                </a:cubicBezTo>
                <a:lnTo>
                  <a:pt x="5084105" y="815023"/>
                </a:lnTo>
                <a:cubicBezTo>
                  <a:pt x="5084105" y="815023"/>
                  <a:pt x="5084105" y="806586"/>
                  <a:pt x="5075670" y="798150"/>
                </a:cubicBezTo>
                <a:lnTo>
                  <a:pt x="5067233" y="798150"/>
                </a:lnTo>
                <a:lnTo>
                  <a:pt x="5067232" y="806587"/>
                </a:lnTo>
                <a:cubicBezTo>
                  <a:pt x="5067233" y="798150"/>
                  <a:pt x="5067233" y="789717"/>
                  <a:pt x="5058798" y="781279"/>
                </a:cubicBezTo>
                <a:cubicBezTo>
                  <a:pt x="5058797" y="789717"/>
                  <a:pt x="5050364" y="789716"/>
                  <a:pt x="5041925" y="781279"/>
                </a:cubicBezTo>
                <a:cubicBezTo>
                  <a:pt x="5050361" y="781278"/>
                  <a:pt x="5041928" y="772846"/>
                  <a:pt x="5041926" y="764409"/>
                </a:cubicBezTo>
                <a:lnTo>
                  <a:pt x="5033489" y="755973"/>
                </a:lnTo>
                <a:lnTo>
                  <a:pt x="5033489" y="747536"/>
                </a:lnTo>
                <a:lnTo>
                  <a:pt x="5025055" y="747536"/>
                </a:lnTo>
                <a:lnTo>
                  <a:pt x="5025055" y="755973"/>
                </a:lnTo>
                <a:cubicBezTo>
                  <a:pt x="4999747" y="713795"/>
                  <a:pt x="4974442" y="671616"/>
                  <a:pt x="4957570" y="663182"/>
                </a:cubicBezTo>
                <a:cubicBezTo>
                  <a:pt x="4949133" y="654745"/>
                  <a:pt x="4949133" y="654745"/>
                  <a:pt x="4949133" y="646309"/>
                </a:cubicBezTo>
                <a:cubicBezTo>
                  <a:pt x="4940697" y="637873"/>
                  <a:pt x="4940697" y="637873"/>
                  <a:pt x="4932264" y="637873"/>
                </a:cubicBezTo>
                <a:cubicBezTo>
                  <a:pt x="4932263" y="640081"/>
                  <a:pt x="4932263" y="642288"/>
                  <a:pt x="4932262" y="644497"/>
                </a:cubicBezTo>
                <a:lnTo>
                  <a:pt x="4910645" y="618234"/>
                </a:lnTo>
                <a:cubicBezTo>
                  <a:pt x="4886921" y="587787"/>
                  <a:pt x="4877430" y="570388"/>
                  <a:pt x="4839468" y="519774"/>
                </a:cubicBezTo>
                <a:cubicBezTo>
                  <a:pt x="4814159" y="502903"/>
                  <a:pt x="4805728" y="494466"/>
                  <a:pt x="4797289" y="494466"/>
                </a:cubicBezTo>
                <a:lnTo>
                  <a:pt x="4797289" y="469162"/>
                </a:lnTo>
                <a:cubicBezTo>
                  <a:pt x="4780419" y="469159"/>
                  <a:pt x="4780419" y="443852"/>
                  <a:pt x="4755109" y="418545"/>
                </a:cubicBezTo>
                <a:cubicBezTo>
                  <a:pt x="4729804" y="393238"/>
                  <a:pt x="4746678" y="435418"/>
                  <a:pt x="4721368" y="401675"/>
                </a:cubicBezTo>
                <a:cubicBezTo>
                  <a:pt x="4746676" y="418545"/>
                  <a:pt x="4721369" y="384804"/>
                  <a:pt x="4696060" y="359495"/>
                </a:cubicBezTo>
                <a:lnTo>
                  <a:pt x="4704496" y="359495"/>
                </a:lnTo>
                <a:cubicBezTo>
                  <a:pt x="4712932" y="367932"/>
                  <a:pt x="4721370" y="376368"/>
                  <a:pt x="4721369" y="367932"/>
                </a:cubicBezTo>
                <a:cubicBezTo>
                  <a:pt x="4721369" y="367932"/>
                  <a:pt x="4721369" y="359495"/>
                  <a:pt x="4712933" y="351061"/>
                </a:cubicBezTo>
                <a:lnTo>
                  <a:pt x="4704497" y="342625"/>
                </a:lnTo>
                <a:cubicBezTo>
                  <a:pt x="4712932" y="342625"/>
                  <a:pt x="4721369" y="367932"/>
                  <a:pt x="4729804" y="359495"/>
                </a:cubicBezTo>
                <a:cubicBezTo>
                  <a:pt x="4712932" y="342625"/>
                  <a:pt x="4704497" y="325754"/>
                  <a:pt x="4696060" y="325754"/>
                </a:cubicBezTo>
                <a:cubicBezTo>
                  <a:pt x="4687627" y="325755"/>
                  <a:pt x="4687627" y="325755"/>
                  <a:pt x="4687626" y="317318"/>
                </a:cubicBezTo>
                <a:cubicBezTo>
                  <a:pt x="4679192" y="308881"/>
                  <a:pt x="4670753" y="300448"/>
                  <a:pt x="4662317" y="300447"/>
                </a:cubicBezTo>
                <a:cubicBezTo>
                  <a:pt x="4662317" y="300447"/>
                  <a:pt x="4662317" y="308882"/>
                  <a:pt x="4670754" y="317320"/>
                </a:cubicBezTo>
                <a:lnTo>
                  <a:pt x="4670753" y="325755"/>
                </a:lnTo>
                <a:cubicBezTo>
                  <a:pt x="4653882" y="317319"/>
                  <a:pt x="4653882" y="334188"/>
                  <a:pt x="4645447" y="300448"/>
                </a:cubicBezTo>
                <a:cubicBezTo>
                  <a:pt x="4637010" y="308882"/>
                  <a:pt x="4653883" y="325754"/>
                  <a:pt x="4653882" y="334188"/>
                </a:cubicBezTo>
                <a:cubicBezTo>
                  <a:pt x="4628576" y="300447"/>
                  <a:pt x="4637009" y="292011"/>
                  <a:pt x="4620140" y="275141"/>
                </a:cubicBezTo>
                <a:cubicBezTo>
                  <a:pt x="4628578" y="275140"/>
                  <a:pt x="4628578" y="283575"/>
                  <a:pt x="4628578" y="283575"/>
                </a:cubicBezTo>
                <a:cubicBezTo>
                  <a:pt x="4637009" y="292011"/>
                  <a:pt x="4637009" y="292011"/>
                  <a:pt x="4645446" y="283575"/>
                </a:cubicBezTo>
                <a:lnTo>
                  <a:pt x="4628576" y="266706"/>
                </a:lnTo>
                <a:cubicBezTo>
                  <a:pt x="4645447" y="275142"/>
                  <a:pt x="4645447" y="266704"/>
                  <a:pt x="4628576" y="258268"/>
                </a:cubicBezTo>
                <a:cubicBezTo>
                  <a:pt x="4628577" y="255456"/>
                  <a:pt x="4628577" y="252643"/>
                  <a:pt x="4628578" y="249831"/>
                </a:cubicBezTo>
                <a:cubicBezTo>
                  <a:pt x="4637010" y="258268"/>
                  <a:pt x="4637010" y="249831"/>
                  <a:pt x="4637010" y="249831"/>
                </a:cubicBezTo>
                <a:cubicBezTo>
                  <a:pt x="4628575" y="241395"/>
                  <a:pt x="4628575" y="241395"/>
                  <a:pt x="4620140" y="241397"/>
                </a:cubicBezTo>
                <a:lnTo>
                  <a:pt x="4611704" y="232961"/>
                </a:lnTo>
                <a:lnTo>
                  <a:pt x="4594835" y="199218"/>
                </a:lnTo>
                <a:lnTo>
                  <a:pt x="4603267" y="207654"/>
                </a:lnTo>
                <a:cubicBezTo>
                  <a:pt x="4611703" y="216090"/>
                  <a:pt x="4620140" y="216090"/>
                  <a:pt x="4620140" y="216090"/>
                </a:cubicBezTo>
                <a:cubicBezTo>
                  <a:pt x="4620139" y="207656"/>
                  <a:pt x="4611704" y="199218"/>
                  <a:pt x="4603267" y="190783"/>
                </a:cubicBezTo>
                <a:lnTo>
                  <a:pt x="4594832" y="182347"/>
                </a:lnTo>
                <a:lnTo>
                  <a:pt x="4586397" y="173911"/>
                </a:lnTo>
                <a:cubicBezTo>
                  <a:pt x="4577961" y="165475"/>
                  <a:pt x="4569526" y="165475"/>
                  <a:pt x="4569526" y="173913"/>
                </a:cubicBezTo>
                <a:cubicBezTo>
                  <a:pt x="4569526" y="173913"/>
                  <a:pt x="4569525" y="182347"/>
                  <a:pt x="4577960" y="190784"/>
                </a:cubicBezTo>
                <a:lnTo>
                  <a:pt x="4586396" y="190783"/>
                </a:lnTo>
                <a:lnTo>
                  <a:pt x="4594835" y="199218"/>
                </a:lnTo>
                <a:cubicBezTo>
                  <a:pt x="4552654" y="182347"/>
                  <a:pt x="4586399" y="207656"/>
                  <a:pt x="4603267" y="232961"/>
                </a:cubicBezTo>
                <a:lnTo>
                  <a:pt x="4594833" y="224525"/>
                </a:lnTo>
                <a:cubicBezTo>
                  <a:pt x="4594833" y="227338"/>
                  <a:pt x="4594833" y="230149"/>
                  <a:pt x="4594835" y="232961"/>
                </a:cubicBezTo>
                <a:cubicBezTo>
                  <a:pt x="4594833" y="235772"/>
                  <a:pt x="4594834" y="238584"/>
                  <a:pt x="4594833" y="241395"/>
                </a:cubicBezTo>
                <a:lnTo>
                  <a:pt x="4603266" y="241396"/>
                </a:lnTo>
                <a:lnTo>
                  <a:pt x="4611704" y="249833"/>
                </a:lnTo>
                <a:lnTo>
                  <a:pt x="4603267" y="249831"/>
                </a:lnTo>
                <a:lnTo>
                  <a:pt x="4611704" y="258268"/>
                </a:lnTo>
                <a:lnTo>
                  <a:pt x="4611703" y="266704"/>
                </a:lnTo>
                <a:cubicBezTo>
                  <a:pt x="4586397" y="258268"/>
                  <a:pt x="4577960" y="241397"/>
                  <a:pt x="4552654" y="207654"/>
                </a:cubicBezTo>
                <a:lnTo>
                  <a:pt x="4561090" y="207654"/>
                </a:lnTo>
                <a:lnTo>
                  <a:pt x="4569525" y="207654"/>
                </a:lnTo>
                <a:lnTo>
                  <a:pt x="4561090" y="199218"/>
                </a:lnTo>
                <a:lnTo>
                  <a:pt x="4552654" y="199219"/>
                </a:lnTo>
                <a:lnTo>
                  <a:pt x="4544217" y="190783"/>
                </a:lnTo>
                <a:cubicBezTo>
                  <a:pt x="4535785" y="182348"/>
                  <a:pt x="4544217" y="173913"/>
                  <a:pt x="4527347" y="157040"/>
                </a:cubicBezTo>
                <a:lnTo>
                  <a:pt x="4527346" y="148604"/>
                </a:lnTo>
                <a:cubicBezTo>
                  <a:pt x="4518911" y="148604"/>
                  <a:pt x="4518910" y="140168"/>
                  <a:pt x="4518910" y="140168"/>
                </a:cubicBezTo>
                <a:lnTo>
                  <a:pt x="4510474" y="140168"/>
                </a:lnTo>
                <a:lnTo>
                  <a:pt x="4510474" y="148604"/>
                </a:lnTo>
                <a:cubicBezTo>
                  <a:pt x="4493604" y="131734"/>
                  <a:pt x="4493604" y="106427"/>
                  <a:pt x="4476732" y="106427"/>
                </a:cubicBezTo>
                <a:cubicBezTo>
                  <a:pt x="4476732" y="106427"/>
                  <a:pt x="4468297" y="106427"/>
                  <a:pt x="4468297" y="97990"/>
                </a:cubicBezTo>
                <a:lnTo>
                  <a:pt x="4459861" y="97990"/>
                </a:lnTo>
                <a:lnTo>
                  <a:pt x="4459861" y="106428"/>
                </a:lnTo>
                <a:cubicBezTo>
                  <a:pt x="4426117" y="47377"/>
                  <a:pt x="4442992" y="89554"/>
                  <a:pt x="4426117" y="89554"/>
                </a:cubicBezTo>
                <a:cubicBezTo>
                  <a:pt x="4421899" y="72683"/>
                  <a:pt x="4407137" y="51593"/>
                  <a:pt x="4388156" y="29450"/>
                </a:cubicBezTo>
                <a:lnTo>
                  <a:pt x="4360109" y="0"/>
                </a:lnTo>
                <a:lnTo>
                  <a:pt x="4638592" y="0"/>
                </a:lnTo>
                <a:lnTo>
                  <a:pt x="4699158" y="62995"/>
                </a:lnTo>
                <a:cubicBezTo>
                  <a:pt x="4971672" y="360550"/>
                  <a:pt x="5209586" y="692705"/>
                  <a:pt x="5404662" y="1051221"/>
                </a:cubicBezTo>
                <a:cubicBezTo>
                  <a:pt x="5699912" y="1626956"/>
                  <a:pt x="5885366" y="2260817"/>
                  <a:pt x="5938418" y="2935851"/>
                </a:cubicBezTo>
                <a:lnTo>
                  <a:pt x="5947253" y="3112842"/>
                </a:lnTo>
                <a:lnTo>
                  <a:pt x="5951125" y="3133338"/>
                </a:lnTo>
                <a:cubicBezTo>
                  <a:pt x="5947799" y="3130267"/>
                  <a:pt x="5947799" y="3130267"/>
                  <a:pt x="5950868" y="3126941"/>
                </a:cubicBezTo>
                <a:cubicBezTo>
                  <a:pt x="5950611" y="3120546"/>
                  <a:pt x="5953680" y="3117220"/>
                  <a:pt x="5953938" y="3123616"/>
                </a:cubicBezTo>
                <a:cubicBezTo>
                  <a:pt x="5953938" y="3123616"/>
                  <a:pt x="5957523" y="3133084"/>
                  <a:pt x="5954453" y="3136408"/>
                </a:cubicBezTo>
                <a:cubicBezTo>
                  <a:pt x="5954453" y="3136408"/>
                  <a:pt x="5957779" y="3139480"/>
                  <a:pt x="5957779" y="3139480"/>
                </a:cubicBezTo>
                <a:cubicBezTo>
                  <a:pt x="5957779" y="3139480"/>
                  <a:pt x="5957779" y="3139480"/>
                  <a:pt x="5954710" y="3142804"/>
                </a:cubicBezTo>
                <a:cubicBezTo>
                  <a:pt x="5966236" y="3190395"/>
                  <a:pt x="5971363" y="3238241"/>
                  <a:pt x="5960116" y="3277128"/>
                </a:cubicBezTo>
                <a:cubicBezTo>
                  <a:pt x="5977265" y="3305275"/>
                  <a:pt x="5967303" y="3376144"/>
                  <a:pt x="5972174" y="3417593"/>
                </a:cubicBezTo>
                <a:cubicBezTo>
                  <a:pt x="5969620" y="3433712"/>
                  <a:pt x="5966293" y="3430640"/>
                  <a:pt x="5962709" y="3421173"/>
                </a:cubicBezTo>
                <a:cubicBezTo>
                  <a:pt x="5966808" y="3443433"/>
                  <a:pt x="5961440" y="3469273"/>
                  <a:pt x="5968094" y="3475415"/>
                </a:cubicBezTo>
                <a:cubicBezTo>
                  <a:pt x="5966312" y="3510722"/>
                  <a:pt x="5964014" y="3533237"/>
                  <a:pt x="5964787" y="3552426"/>
                </a:cubicBezTo>
                <a:cubicBezTo>
                  <a:pt x="5962490" y="3574940"/>
                  <a:pt x="5959935" y="3591059"/>
                  <a:pt x="5951498" y="3620225"/>
                </a:cubicBezTo>
                <a:cubicBezTo>
                  <a:pt x="5945102" y="3620480"/>
                  <a:pt x="5947914" y="3610758"/>
                  <a:pt x="5941518" y="3611013"/>
                </a:cubicBezTo>
                <a:cubicBezTo>
                  <a:pt x="5936923" y="3656042"/>
                  <a:pt x="5938210" y="3688023"/>
                  <a:pt x="5933358" y="3726657"/>
                </a:cubicBezTo>
                <a:lnTo>
                  <a:pt x="5932401" y="3750159"/>
                </a:lnTo>
                <a:lnTo>
                  <a:pt x="5936112" y="3742197"/>
                </a:lnTo>
                <a:lnTo>
                  <a:pt x="5931041" y="3783572"/>
                </a:lnTo>
                <a:lnTo>
                  <a:pt x="5930942" y="3786013"/>
                </a:lnTo>
                <a:lnTo>
                  <a:pt x="5930199" y="3790443"/>
                </a:lnTo>
                <a:lnTo>
                  <a:pt x="5909750" y="3957308"/>
                </a:lnTo>
                <a:cubicBezTo>
                  <a:pt x="5900259" y="4029011"/>
                  <a:pt x="5889716" y="4100713"/>
                  <a:pt x="5877062" y="4172416"/>
                </a:cubicBezTo>
                <a:cubicBezTo>
                  <a:pt x="5877062" y="4189290"/>
                  <a:pt x="5877061" y="4206160"/>
                  <a:pt x="5868625" y="4214595"/>
                </a:cubicBezTo>
                <a:cubicBezTo>
                  <a:pt x="5811685" y="4534097"/>
                  <a:pt x="5724197" y="4842625"/>
                  <a:pt x="5609277" y="5137233"/>
                </a:cubicBezTo>
                <a:lnTo>
                  <a:pt x="5491924" y="5411666"/>
                </a:lnTo>
                <a:lnTo>
                  <a:pt x="5491547" y="5414872"/>
                </a:lnTo>
                <a:cubicBezTo>
                  <a:pt x="5490882" y="5418118"/>
                  <a:pt x="5489618" y="5421648"/>
                  <a:pt x="5487221" y="5422780"/>
                </a:cubicBezTo>
                <a:cubicBezTo>
                  <a:pt x="5487221" y="5422780"/>
                  <a:pt x="5489486" y="5427576"/>
                  <a:pt x="5489486" y="5427576"/>
                </a:cubicBezTo>
                <a:cubicBezTo>
                  <a:pt x="5489486" y="5427576"/>
                  <a:pt x="5489486" y="5427576"/>
                  <a:pt x="5484693" y="5429840"/>
                </a:cubicBezTo>
                <a:cubicBezTo>
                  <a:pt x="5476322" y="5486587"/>
                  <a:pt x="5460891" y="5540803"/>
                  <a:pt x="5431604" y="5578103"/>
                </a:cubicBezTo>
                <a:cubicBezTo>
                  <a:pt x="5437875" y="5616199"/>
                  <a:pt x="5395949" y="5688799"/>
                  <a:pt x="5383045" y="5735954"/>
                </a:cubicBezTo>
                <a:cubicBezTo>
                  <a:pt x="5373196" y="5752339"/>
                  <a:pt x="5370931" y="5747543"/>
                  <a:pt x="5371193" y="5735689"/>
                </a:cubicBezTo>
                <a:cubicBezTo>
                  <a:pt x="5365875" y="5761664"/>
                  <a:pt x="5348704" y="5787374"/>
                  <a:pt x="5353234" y="5796964"/>
                </a:cubicBezTo>
                <a:cubicBezTo>
                  <a:pt x="5335800" y="5834529"/>
                  <a:pt x="5323423" y="5857974"/>
                  <a:pt x="5315838" y="5879154"/>
                </a:cubicBezTo>
                <a:cubicBezTo>
                  <a:pt x="5303461" y="5902599"/>
                  <a:pt x="5293610" y="5918984"/>
                  <a:pt x="5271646" y="5946958"/>
                </a:cubicBezTo>
                <a:cubicBezTo>
                  <a:pt x="5264588" y="5944427"/>
                  <a:pt x="5271909" y="5935102"/>
                  <a:pt x="5264849" y="5932571"/>
                </a:cubicBezTo>
                <a:cubicBezTo>
                  <a:pt x="5240094" y="5979461"/>
                  <a:pt x="5227454" y="6014761"/>
                  <a:pt x="5205226" y="6054591"/>
                </a:cubicBezTo>
                <a:cubicBezTo>
                  <a:pt x="5190059" y="6096952"/>
                  <a:pt x="5167831" y="6136781"/>
                  <a:pt x="5133488" y="6188200"/>
                </a:cubicBezTo>
                <a:cubicBezTo>
                  <a:pt x="5148394" y="6157694"/>
                  <a:pt x="5131486" y="6171548"/>
                  <a:pt x="5117105" y="6178342"/>
                </a:cubicBezTo>
                <a:cubicBezTo>
                  <a:pt x="5112311" y="6180607"/>
                  <a:pt x="5109783" y="6187667"/>
                  <a:pt x="5104989" y="6189932"/>
                </a:cubicBezTo>
                <a:cubicBezTo>
                  <a:pt x="5104989" y="6189932"/>
                  <a:pt x="5102724" y="6185136"/>
                  <a:pt x="5105252" y="6178076"/>
                </a:cubicBezTo>
                <a:cubicBezTo>
                  <a:pt x="5105252" y="6178076"/>
                  <a:pt x="5105252" y="6178076"/>
                  <a:pt x="5107780" y="6171017"/>
                </a:cubicBezTo>
                <a:cubicBezTo>
                  <a:pt x="5102724" y="6185136"/>
                  <a:pt x="5095927" y="6170750"/>
                  <a:pt x="5110570" y="6152101"/>
                </a:cubicBezTo>
                <a:cubicBezTo>
                  <a:pt x="5110570" y="6152101"/>
                  <a:pt x="5110570" y="6152101"/>
                  <a:pt x="5117630" y="6154631"/>
                </a:cubicBezTo>
                <a:cubicBezTo>
                  <a:pt x="5122423" y="6152366"/>
                  <a:pt x="5124951" y="6145306"/>
                  <a:pt x="5124951" y="6145306"/>
                </a:cubicBezTo>
                <a:cubicBezTo>
                  <a:pt x="5132010" y="6147837"/>
                  <a:pt x="5127217" y="6150102"/>
                  <a:pt x="5124689" y="6157162"/>
                </a:cubicBezTo>
                <a:cubicBezTo>
                  <a:pt x="5124689" y="6157162"/>
                  <a:pt x="5124689" y="6157162"/>
                  <a:pt x="5122160" y="6164222"/>
                </a:cubicBezTo>
                <a:cubicBezTo>
                  <a:pt x="5141597" y="6143308"/>
                  <a:pt x="5166353" y="6096419"/>
                  <a:pt x="5161821" y="6086827"/>
                </a:cubicBezTo>
                <a:cubicBezTo>
                  <a:pt x="5186577" y="6039938"/>
                  <a:pt x="5220658" y="6000375"/>
                  <a:pt x="5223710" y="5969604"/>
                </a:cubicBezTo>
                <a:cubicBezTo>
                  <a:pt x="5238616" y="5939099"/>
                  <a:pt x="5240620" y="5955750"/>
                  <a:pt x="5255262" y="5937100"/>
                </a:cubicBezTo>
                <a:cubicBezTo>
                  <a:pt x="5270168" y="5906595"/>
                  <a:pt x="5258316" y="5906330"/>
                  <a:pt x="5265899" y="5885149"/>
                </a:cubicBezTo>
                <a:cubicBezTo>
                  <a:pt x="5292658" y="5854910"/>
                  <a:pt x="5302771" y="5826670"/>
                  <a:pt x="5310355" y="5805490"/>
                </a:cubicBezTo>
                <a:cubicBezTo>
                  <a:pt x="5317939" y="5784310"/>
                  <a:pt x="5323258" y="5758334"/>
                  <a:pt x="5342957" y="5725565"/>
                </a:cubicBezTo>
                <a:cubicBezTo>
                  <a:pt x="5352544" y="5721035"/>
                  <a:pt x="5359865" y="5711711"/>
                  <a:pt x="5359603" y="5723566"/>
                </a:cubicBezTo>
                <a:cubicBezTo>
                  <a:pt x="5380698" y="5681339"/>
                  <a:pt x="5393970" y="5644274"/>
                  <a:pt x="5405162" y="5607458"/>
                </a:cubicBezTo>
                <a:lnTo>
                  <a:pt x="5419834" y="5556614"/>
                </a:lnTo>
                <a:lnTo>
                  <a:pt x="5343783" y="5707015"/>
                </a:lnTo>
                <a:cubicBezTo>
                  <a:pt x="5137377" y="6084780"/>
                  <a:pt x="4883032" y="6432513"/>
                  <a:pt x="4588841" y="6742552"/>
                </a:cubicBezTo>
                <a:lnTo>
                  <a:pt x="4469515" y="6858000"/>
                </a:lnTo>
                <a:lnTo>
                  <a:pt x="4102414" y="6858000"/>
                </a:lnTo>
                <a:lnTo>
                  <a:pt x="4156175" y="6787476"/>
                </a:lnTo>
                <a:cubicBezTo>
                  <a:pt x="4215224" y="6694684"/>
                  <a:pt x="4274274" y="6610327"/>
                  <a:pt x="4333324" y="6525971"/>
                </a:cubicBezTo>
                <a:cubicBezTo>
                  <a:pt x="4350199" y="6525971"/>
                  <a:pt x="4350197" y="6534407"/>
                  <a:pt x="4350197" y="6551277"/>
                </a:cubicBezTo>
                <a:cubicBezTo>
                  <a:pt x="4392373" y="6475355"/>
                  <a:pt x="4426118" y="6424743"/>
                  <a:pt x="4451424" y="6365693"/>
                </a:cubicBezTo>
                <a:cubicBezTo>
                  <a:pt x="4476730" y="6321404"/>
                  <a:pt x="4497293" y="6277118"/>
                  <a:pt x="4527346" y="6225714"/>
                </a:cubicBezTo>
                <a:lnTo>
                  <a:pt x="4556321" y="6179312"/>
                </a:lnTo>
                <a:lnTo>
                  <a:pt x="4561089" y="6180105"/>
                </a:lnTo>
                <a:cubicBezTo>
                  <a:pt x="4561089" y="6180105"/>
                  <a:pt x="4569528" y="6180107"/>
                  <a:pt x="4577961" y="6171673"/>
                </a:cubicBezTo>
                <a:lnTo>
                  <a:pt x="4586396" y="6171671"/>
                </a:lnTo>
                <a:cubicBezTo>
                  <a:pt x="4594833" y="6154801"/>
                  <a:pt x="4611704" y="6137929"/>
                  <a:pt x="4603267" y="6129493"/>
                </a:cubicBezTo>
                <a:cubicBezTo>
                  <a:pt x="4611704" y="6129493"/>
                  <a:pt x="4620140" y="6121059"/>
                  <a:pt x="4620139" y="6112623"/>
                </a:cubicBezTo>
                <a:lnTo>
                  <a:pt x="4620140" y="6104185"/>
                </a:lnTo>
                <a:lnTo>
                  <a:pt x="4611704" y="6104186"/>
                </a:lnTo>
                <a:cubicBezTo>
                  <a:pt x="4628575" y="6083098"/>
                  <a:pt x="4637011" y="6066227"/>
                  <a:pt x="4645446" y="6049356"/>
                </a:cubicBezTo>
                <a:lnTo>
                  <a:pt x="4658579" y="6024607"/>
                </a:lnTo>
                <a:lnTo>
                  <a:pt x="4657191" y="6022823"/>
                </a:lnTo>
                <a:cubicBezTo>
                  <a:pt x="4653015" y="6023181"/>
                  <a:pt x="4645022" y="6028074"/>
                  <a:pt x="4637720" y="6031225"/>
                </a:cubicBezTo>
                <a:cubicBezTo>
                  <a:pt x="4632853" y="6033324"/>
                  <a:pt x="4630086" y="6040295"/>
                  <a:pt x="4625218" y="6042395"/>
                </a:cubicBezTo>
                <a:lnTo>
                  <a:pt x="4625358" y="6039920"/>
                </a:lnTo>
                <a:lnTo>
                  <a:pt x="4603267" y="6062007"/>
                </a:lnTo>
                <a:cubicBezTo>
                  <a:pt x="4611704" y="6053573"/>
                  <a:pt x="4620140" y="6045137"/>
                  <a:pt x="4620139" y="6036700"/>
                </a:cubicBezTo>
                <a:cubicBezTo>
                  <a:pt x="4586397" y="6078878"/>
                  <a:pt x="4544217" y="6129493"/>
                  <a:pt x="4502039" y="6188543"/>
                </a:cubicBezTo>
                <a:cubicBezTo>
                  <a:pt x="4459860" y="6247593"/>
                  <a:pt x="4417681" y="6306643"/>
                  <a:pt x="4383940" y="6357257"/>
                </a:cubicBezTo>
                <a:cubicBezTo>
                  <a:pt x="4383939" y="6348819"/>
                  <a:pt x="4375504" y="6348821"/>
                  <a:pt x="4367067" y="6357256"/>
                </a:cubicBezTo>
                <a:cubicBezTo>
                  <a:pt x="4324889" y="6407871"/>
                  <a:pt x="4291146" y="6450050"/>
                  <a:pt x="4240530" y="6492227"/>
                </a:cubicBezTo>
                <a:cubicBezTo>
                  <a:pt x="4248967" y="6509098"/>
                  <a:pt x="4206790" y="6525971"/>
                  <a:pt x="4189918" y="6542842"/>
                </a:cubicBezTo>
                <a:cubicBezTo>
                  <a:pt x="4181480" y="6551277"/>
                  <a:pt x="4189918" y="6559714"/>
                  <a:pt x="4173045" y="6568148"/>
                </a:cubicBezTo>
                <a:cubicBezTo>
                  <a:pt x="4173044" y="6576584"/>
                  <a:pt x="4147738" y="6585021"/>
                  <a:pt x="4130868" y="6601891"/>
                </a:cubicBezTo>
                <a:cubicBezTo>
                  <a:pt x="4105561" y="6627198"/>
                  <a:pt x="4080254" y="6660939"/>
                  <a:pt x="4054944" y="6686246"/>
                </a:cubicBezTo>
                <a:cubicBezTo>
                  <a:pt x="4021201" y="6719991"/>
                  <a:pt x="4021201" y="6728426"/>
                  <a:pt x="3979024" y="6762169"/>
                </a:cubicBezTo>
                <a:cubicBezTo>
                  <a:pt x="3960044" y="6783258"/>
                  <a:pt x="3938427" y="6803820"/>
                  <a:pt x="3916151" y="6823459"/>
                </a:cubicBezTo>
                <a:lnTo>
                  <a:pt x="3874750" y="6858000"/>
                </a:lnTo>
                <a:lnTo>
                  <a:pt x="3809992" y="6858000"/>
                </a:lnTo>
                <a:lnTo>
                  <a:pt x="3835617" y="6838089"/>
                </a:lnTo>
                <a:cubicBezTo>
                  <a:pt x="3945281" y="6753734"/>
                  <a:pt x="4046511" y="6660941"/>
                  <a:pt x="4139304" y="6576584"/>
                </a:cubicBezTo>
                <a:cubicBezTo>
                  <a:pt x="4113995" y="6576584"/>
                  <a:pt x="4080253" y="6635634"/>
                  <a:pt x="4046510" y="6652505"/>
                </a:cubicBezTo>
                <a:cubicBezTo>
                  <a:pt x="4046511" y="6660941"/>
                  <a:pt x="4029637" y="6660942"/>
                  <a:pt x="4021202" y="6660941"/>
                </a:cubicBezTo>
                <a:cubicBezTo>
                  <a:pt x="3962152" y="6711555"/>
                  <a:pt x="3886231" y="6779041"/>
                  <a:pt x="3810311" y="6829655"/>
                </a:cubicBezTo>
                <a:lnTo>
                  <a:pt x="3774445" y="6858000"/>
                </a:lnTo>
                <a:lnTo>
                  <a:pt x="3720522" y="6858000"/>
                </a:lnTo>
                <a:lnTo>
                  <a:pt x="3734388" y="6846525"/>
                </a:lnTo>
                <a:cubicBezTo>
                  <a:pt x="3759695" y="6829655"/>
                  <a:pt x="3785001" y="6821219"/>
                  <a:pt x="3768132" y="6821217"/>
                </a:cubicBezTo>
                <a:cubicBezTo>
                  <a:pt x="3793438" y="6795912"/>
                  <a:pt x="3827182" y="6770605"/>
                  <a:pt x="3869358" y="6745298"/>
                </a:cubicBezTo>
                <a:cubicBezTo>
                  <a:pt x="3877794" y="6736862"/>
                  <a:pt x="3894670" y="6719991"/>
                  <a:pt x="3911538" y="6711555"/>
                </a:cubicBezTo>
                <a:lnTo>
                  <a:pt x="3919975" y="6711555"/>
                </a:lnTo>
                <a:lnTo>
                  <a:pt x="3928411" y="6703118"/>
                </a:lnTo>
                <a:lnTo>
                  <a:pt x="3928411" y="6694684"/>
                </a:lnTo>
                <a:lnTo>
                  <a:pt x="3936845" y="6694684"/>
                </a:lnTo>
                <a:cubicBezTo>
                  <a:pt x="3995895" y="6644071"/>
                  <a:pt x="4054944" y="6593455"/>
                  <a:pt x="4097124" y="6551277"/>
                </a:cubicBezTo>
                <a:cubicBezTo>
                  <a:pt x="4105561" y="6551277"/>
                  <a:pt x="4113995" y="6551277"/>
                  <a:pt x="4113995" y="6542841"/>
                </a:cubicBezTo>
                <a:lnTo>
                  <a:pt x="4122431" y="6542841"/>
                </a:lnTo>
                <a:cubicBezTo>
                  <a:pt x="4122431" y="6542841"/>
                  <a:pt x="4130867" y="6542841"/>
                  <a:pt x="4130869" y="6534407"/>
                </a:cubicBezTo>
                <a:cubicBezTo>
                  <a:pt x="4130868" y="6531595"/>
                  <a:pt x="4130867" y="6528783"/>
                  <a:pt x="4130868" y="6525971"/>
                </a:cubicBezTo>
                <a:cubicBezTo>
                  <a:pt x="4156175" y="6500664"/>
                  <a:pt x="4215225" y="6450050"/>
                  <a:pt x="4189919" y="6458484"/>
                </a:cubicBezTo>
                <a:lnTo>
                  <a:pt x="4198354" y="6450050"/>
                </a:lnTo>
                <a:cubicBezTo>
                  <a:pt x="4206788" y="6450048"/>
                  <a:pt x="4206790" y="6433178"/>
                  <a:pt x="4206790" y="6433178"/>
                </a:cubicBezTo>
                <a:lnTo>
                  <a:pt x="4190270" y="6433178"/>
                </a:lnTo>
                <a:lnTo>
                  <a:pt x="4207843" y="6416307"/>
                </a:lnTo>
                <a:lnTo>
                  <a:pt x="4215199" y="6391088"/>
                </a:lnTo>
                <a:cubicBezTo>
                  <a:pt x="4215259" y="6391032"/>
                  <a:pt x="4215318" y="6390975"/>
                  <a:pt x="4215378" y="6390919"/>
                </a:cubicBezTo>
                <a:lnTo>
                  <a:pt x="4244751" y="6375183"/>
                </a:lnTo>
                <a:cubicBezTo>
                  <a:pt x="4253186" y="6365692"/>
                  <a:pt x="4261622" y="6353038"/>
                  <a:pt x="4274275" y="6340386"/>
                </a:cubicBezTo>
                <a:lnTo>
                  <a:pt x="4282710" y="6340386"/>
                </a:lnTo>
                <a:cubicBezTo>
                  <a:pt x="4282712" y="6331950"/>
                  <a:pt x="4291146" y="6331950"/>
                  <a:pt x="4282712" y="6331950"/>
                </a:cubicBezTo>
                <a:cubicBezTo>
                  <a:pt x="4282712" y="6329138"/>
                  <a:pt x="4282711" y="6326326"/>
                  <a:pt x="4282711" y="6323514"/>
                </a:cubicBezTo>
                <a:cubicBezTo>
                  <a:pt x="4291147" y="6315079"/>
                  <a:pt x="4299581" y="6315079"/>
                  <a:pt x="4308018" y="6315078"/>
                </a:cubicBezTo>
                <a:lnTo>
                  <a:pt x="4299581" y="6323514"/>
                </a:lnTo>
                <a:cubicBezTo>
                  <a:pt x="4291146" y="6331950"/>
                  <a:pt x="4291147" y="6340386"/>
                  <a:pt x="4291147" y="6340386"/>
                </a:cubicBezTo>
                <a:cubicBezTo>
                  <a:pt x="4299583" y="6340386"/>
                  <a:pt x="4308017" y="6340384"/>
                  <a:pt x="4308019" y="6331950"/>
                </a:cubicBezTo>
                <a:lnTo>
                  <a:pt x="4316453" y="6331950"/>
                </a:lnTo>
                <a:cubicBezTo>
                  <a:pt x="4316454" y="6340386"/>
                  <a:pt x="4274274" y="6365693"/>
                  <a:pt x="4282711" y="6374128"/>
                </a:cubicBezTo>
                <a:cubicBezTo>
                  <a:pt x="4358631" y="6289771"/>
                  <a:pt x="4459860" y="6196979"/>
                  <a:pt x="4544217" y="6104187"/>
                </a:cubicBezTo>
                <a:cubicBezTo>
                  <a:pt x="4552653" y="6095750"/>
                  <a:pt x="4561090" y="6078880"/>
                  <a:pt x="4569526" y="6070442"/>
                </a:cubicBezTo>
                <a:lnTo>
                  <a:pt x="4577961" y="6062009"/>
                </a:lnTo>
                <a:cubicBezTo>
                  <a:pt x="4611704" y="6024048"/>
                  <a:pt x="4647556" y="5979761"/>
                  <a:pt x="4683408" y="5931256"/>
                </a:cubicBezTo>
                <a:lnTo>
                  <a:pt x="4748312" y="5835198"/>
                </a:lnTo>
                <a:lnTo>
                  <a:pt x="4751363" y="5826231"/>
                </a:lnTo>
                <a:cubicBezTo>
                  <a:pt x="4759329" y="5811241"/>
                  <a:pt x="4763672" y="5807923"/>
                  <a:pt x="4767931" y="5806085"/>
                </a:cubicBezTo>
                <a:lnTo>
                  <a:pt x="4768003" y="5806053"/>
                </a:lnTo>
                <a:lnTo>
                  <a:pt x="4788853" y="5775196"/>
                </a:lnTo>
                <a:lnTo>
                  <a:pt x="4792070" y="5772856"/>
                </a:lnTo>
                <a:lnTo>
                  <a:pt x="4793063" y="5765638"/>
                </a:lnTo>
                <a:cubicBezTo>
                  <a:pt x="4793133" y="5759110"/>
                  <a:pt x="4792249" y="5753715"/>
                  <a:pt x="4796398" y="5743259"/>
                </a:cubicBezTo>
                <a:cubicBezTo>
                  <a:pt x="4824170" y="5713949"/>
                  <a:pt x="4835236" y="5686068"/>
                  <a:pt x="4843536" y="5665159"/>
                </a:cubicBezTo>
                <a:cubicBezTo>
                  <a:pt x="4851836" y="5644248"/>
                  <a:pt x="4858035" y="5618468"/>
                  <a:pt x="4878837" y="5586387"/>
                </a:cubicBezTo>
                <a:cubicBezTo>
                  <a:pt x="4888572" y="5582186"/>
                  <a:pt x="4896207" y="5573116"/>
                  <a:pt x="4895541" y="5584956"/>
                </a:cubicBezTo>
                <a:cubicBezTo>
                  <a:pt x="4940577" y="5501985"/>
                  <a:pt x="4953640" y="5438585"/>
                  <a:pt x="4981973" y="5357045"/>
                </a:cubicBezTo>
                <a:cubicBezTo>
                  <a:pt x="4977105" y="5359145"/>
                  <a:pt x="4966704" y="5375186"/>
                  <a:pt x="4962502" y="5365447"/>
                </a:cubicBezTo>
                <a:cubicBezTo>
                  <a:pt x="4978331" y="5295077"/>
                  <a:pt x="5011740" y="5292214"/>
                  <a:pt x="5038742" y="5234354"/>
                </a:cubicBezTo>
                <a:cubicBezTo>
                  <a:pt x="5047812" y="5241993"/>
                  <a:pt x="5029775" y="5267103"/>
                  <a:pt x="5031211" y="5283813"/>
                </a:cubicBezTo>
                <a:cubicBezTo>
                  <a:pt x="5029110" y="5278944"/>
                  <a:pt x="5029110" y="5278944"/>
                  <a:pt x="5033979" y="5276843"/>
                </a:cubicBezTo>
                <a:cubicBezTo>
                  <a:pt x="5036744" y="5269873"/>
                  <a:pt x="5041612" y="5267773"/>
                  <a:pt x="5038846" y="5274743"/>
                </a:cubicBezTo>
                <a:cubicBezTo>
                  <a:pt x="5038846" y="5274743"/>
                  <a:pt x="5038180" y="5286582"/>
                  <a:pt x="5033312" y="5288683"/>
                </a:cubicBezTo>
                <a:cubicBezTo>
                  <a:pt x="5033312" y="5288683"/>
                  <a:pt x="5035413" y="5293552"/>
                  <a:pt x="5035413" y="5293552"/>
                </a:cubicBezTo>
                <a:cubicBezTo>
                  <a:pt x="5035413" y="5293552"/>
                  <a:pt x="5035413" y="5293552"/>
                  <a:pt x="5030545" y="5295653"/>
                </a:cubicBezTo>
                <a:cubicBezTo>
                  <a:pt x="5020249" y="5352082"/>
                  <a:pt x="5002985" y="5405743"/>
                  <a:pt x="4972446" y="5442024"/>
                </a:cubicBezTo>
                <a:cubicBezTo>
                  <a:pt x="4977419" y="5480313"/>
                  <a:pt x="4933047" y="5551444"/>
                  <a:pt x="4918549" y="5598134"/>
                </a:cubicBezTo>
                <a:cubicBezTo>
                  <a:pt x="4908148" y="5614175"/>
                  <a:pt x="4906047" y="5609305"/>
                  <a:pt x="4906713" y="5597465"/>
                </a:cubicBezTo>
                <a:cubicBezTo>
                  <a:pt x="4900514" y="5623245"/>
                  <a:pt x="4882478" y="5648356"/>
                  <a:pt x="4886681" y="5658095"/>
                </a:cubicBezTo>
                <a:cubicBezTo>
                  <a:pt x="4867979" y="5695045"/>
                  <a:pt x="4854812" y="5718056"/>
                  <a:pt x="4846511" y="5738966"/>
                </a:cubicBezTo>
                <a:cubicBezTo>
                  <a:pt x="4833344" y="5761976"/>
                  <a:pt x="4822943" y="5778017"/>
                  <a:pt x="4800039" y="5805228"/>
                </a:cubicBezTo>
                <a:cubicBezTo>
                  <a:pt x="4796555" y="5803844"/>
                  <a:pt x="4796721" y="5800883"/>
                  <a:pt x="4796888" y="5797923"/>
                </a:cubicBezTo>
                <a:lnTo>
                  <a:pt x="4793961" y="5791139"/>
                </a:lnTo>
                <a:lnTo>
                  <a:pt x="4788854" y="5800502"/>
                </a:lnTo>
                <a:lnTo>
                  <a:pt x="4788524" y="5800530"/>
                </a:lnTo>
                <a:lnTo>
                  <a:pt x="4772434" y="5831127"/>
                </a:lnTo>
                <a:lnTo>
                  <a:pt x="4771983" y="5834245"/>
                </a:lnTo>
                <a:lnTo>
                  <a:pt x="4770615" y="5834587"/>
                </a:lnTo>
                <a:lnTo>
                  <a:pt x="4763546" y="5848027"/>
                </a:lnTo>
                <a:lnTo>
                  <a:pt x="4763547" y="5851116"/>
                </a:lnTo>
                <a:cubicBezTo>
                  <a:pt x="4755109" y="5876421"/>
                  <a:pt x="4721369" y="5935473"/>
                  <a:pt x="4729804" y="5927037"/>
                </a:cubicBezTo>
                <a:cubicBezTo>
                  <a:pt x="4729804" y="5918602"/>
                  <a:pt x="4738242" y="5918602"/>
                  <a:pt x="4738240" y="5910164"/>
                </a:cubicBezTo>
                <a:cubicBezTo>
                  <a:pt x="4738242" y="5918602"/>
                  <a:pt x="4738240" y="5927039"/>
                  <a:pt x="4738240" y="5927039"/>
                </a:cubicBezTo>
                <a:cubicBezTo>
                  <a:pt x="4738240" y="5927039"/>
                  <a:pt x="4746676" y="5927038"/>
                  <a:pt x="4755110" y="5918603"/>
                </a:cubicBezTo>
                <a:cubicBezTo>
                  <a:pt x="4755110" y="5921414"/>
                  <a:pt x="4755110" y="5924227"/>
                  <a:pt x="4755112" y="5927039"/>
                </a:cubicBezTo>
                <a:cubicBezTo>
                  <a:pt x="4755112" y="5927039"/>
                  <a:pt x="4746676" y="5927038"/>
                  <a:pt x="4746676" y="5935473"/>
                </a:cubicBezTo>
                <a:cubicBezTo>
                  <a:pt x="4746676" y="5938284"/>
                  <a:pt x="4746677" y="5941096"/>
                  <a:pt x="4746678" y="5943907"/>
                </a:cubicBezTo>
                <a:cubicBezTo>
                  <a:pt x="4729804" y="5969216"/>
                  <a:pt x="4721369" y="5986087"/>
                  <a:pt x="4721368" y="5994521"/>
                </a:cubicBezTo>
                <a:lnTo>
                  <a:pt x="4721369" y="6002959"/>
                </a:lnTo>
                <a:lnTo>
                  <a:pt x="4729804" y="5994523"/>
                </a:lnTo>
                <a:cubicBezTo>
                  <a:pt x="4721369" y="6002959"/>
                  <a:pt x="4729804" y="6002959"/>
                  <a:pt x="4738240" y="5994523"/>
                </a:cubicBezTo>
                <a:cubicBezTo>
                  <a:pt x="4696060" y="6053573"/>
                  <a:pt x="4679190" y="6095752"/>
                  <a:pt x="4653883" y="6146366"/>
                </a:cubicBezTo>
                <a:cubicBezTo>
                  <a:pt x="4628575" y="6188543"/>
                  <a:pt x="4603266" y="6230723"/>
                  <a:pt x="4561090" y="6289771"/>
                </a:cubicBezTo>
                <a:cubicBezTo>
                  <a:pt x="4569526" y="6281334"/>
                  <a:pt x="4569526" y="6289770"/>
                  <a:pt x="4561089" y="6298205"/>
                </a:cubicBezTo>
                <a:lnTo>
                  <a:pt x="4552654" y="6298207"/>
                </a:lnTo>
                <a:lnTo>
                  <a:pt x="4552653" y="6306643"/>
                </a:lnTo>
                <a:lnTo>
                  <a:pt x="4544217" y="6315080"/>
                </a:lnTo>
                <a:lnTo>
                  <a:pt x="4527347" y="6340384"/>
                </a:lnTo>
                <a:cubicBezTo>
                  <a:pt x="4535782" y="6340386"/>
                  <a:pt x="4527347" y="6348821"/>
                  <a:pt x="4527349" y="6357257"/>
                </a:cubicBezTo>
                <a:cubicBezTo>
                  <a:pt x="4544217" y="6340387"/>
                  <a:pt x="4535782" y="6340386"/>
                  <a:pt x="4544216" y="6323514"/>
                </a:cubicBezTo>
                <a:lnTo>
                  <a:pt x="4552655" y="6323514"/>
                </a:lnTo>
                <a:cubicBezTo>
                  <a:pt x="4552655" y="6326326"/>
                  <a:pt x="4552654" y="6329138"/>
                  <a:pt x="4552653" y="6331950"/>
                </a:cubicBezTo>
                <a:cubicBezTo>
                  <a:pt x="4561090" y="6331950"/>
                  <a:pt x="4561089" y="6323512"/>
                  <a:pt x="4561089" y="6323512"/>
                </a:cubicBezTo>
                <a:lnTo>
                  <a:pt x="4561090" y="6315079"/>
                </a:lnTo>
                <a:lnTo>
                  <a:pt x="4569526" y="6306641"/>
                </a:lnTo>
                <a:cubicBezTo>
                  <a:pt x="4577961" y="6298207"/>
                  <a:pt x="4577961" y="6272900"/>
                  <a:pt x="4586397" y="6281336"/>
                </a:cubicBezTo>
                <a:cubicBezTo>
                  <a:pt x="4603267" y="6272900"/>
                  <a:pt x="4577961" y="6272900"/>
                  <a:pt x="4586397" y="6264464"/>
                </a:cubicBezTo>
                <a:cubicBezTo>
                  <a:pt x="4594833" y="6256029"/>
                  <a:pt x="4594833" y="6264464"/>
                  <a:pt x="4603267" y="6264464"/>
                </a:cubicBezTo>
                <a:cubicBezTo>
                  <a:pt x="4611704" y="6247593"/>
                  <a:pt x="4628576" y="6205416"/>
                  <a:pt x="4628576" y="6205416"/>
                </a:cubicBezTo>
                <a:cubicBezTo>
                  <a:pt x="4645449" y="6171671"/>
                  <a:pt x="4687626" y="6121059"/>
                  <a:pt x="4696061" y="6104186"/>
                </a:cubicBezTo>
                <a:cubicBezTo>
                  <a:pt x="4704497" y="6095752"/>
                  <a:pt x="4696061" y="6104186"/>
                  <a:pt x="4687626" y="6104185"/>
                </a:cubicBezTo>
                <a:cubicBezTo>
                  <a:pt x="4696061" y="6104186"/>
                  <a:pt x="4704496" y="6087316"/>
                  <a:pt x="4704496" y="6087316"/>
                </a:cubicBezTo>
                <a:lnTo>
                  <a:pt x="4704497" y="6070444"/>
                </a:lnTo>
                <a:cubicBezTo>
                  <a:pt x="4712933" y="6062009"/>
                  <a:pt x="4712935" y="6078880"/>
                  <a:pt x="4712933" y="6070444"/>
                </a:cubicBezTo>
                <a:cubicBezTo>
                  <a:pt x="4729803" y="6062009"/>
                  <a:pt x="4712933" y="6045137"/>
                  <a:pt x="4729804" y="6053573"/>
                </a:cubicBezTo>
                <a:cubicBezTo>
                  <a:pt x="4736130" y="6028266"/>
                  <a:pt x="4751949" y="5983979"/>
                  <a:pt x="4770138" y="5956299"/>
                </a:cubicBezTo>
                <a:lnTo>
                  <a:pt x="4783304" y="5941648"/>
                </a:lnTo>
                <a:lnTo>
                  <a:pt x="4783581" y="5941799"/>
                </a:lnTo>
                <a:cubicBezTo>
                  <a:pt x="4786745" y="5941800"/>
                  <a:pt x="4788854" y="5939691"/>
                  <a:pt x="4788853" y="5935473"/>
                </a:cubicBezTo>
                <a:lnTo>
                  <a:pt x="4783304" y="5941648"/>
                </a:lnTo>
                <a:lnTo>
                  <a:pt x="4771983" y="5935471"/>
                </a:lnTo>
                <a:cubicBezTo>
                  <a:pt x="4814160" y="5876423"/>
                  <a:pt x="4864778" y="5783632"/>
                  <a:pt x="4873212" y="5749889"/>
                </a:cubicBezTo>
                <a:cubicBezTo>
                  <a:pt x="4881647" y="5733018"/>
                  <a:pt x="4949133" y="5640225"/>
                  <a:pt x="4949133" y="5598046"/>
                </a:cubicBezTo>
                <a:cubicBezTo>
                  <a:pt x="4957569" y="5581173"/>
                  <a:pt x="4949133" y="5598046"/>
                  <a:pt x="4957571" y="5598047"/>
                </a:cubicBezTo>
                <a:cubicBezTo>
                  <a:pt x="4957571" y="5572739"/>
                  <a:pt x="4991311" y="5522125"/>
                  <a:pt x="5008183" y="5496818"/>
                </a:cubicBezTo>
                <a:cubicBezTo>
                  <a:pt x="5008183" y="5496818"/>
                  <a:pt x="4999747" y="5513691"/>
                  <a:pt x="5008182" y="5522123"/>
                </a:cubicBezTo>
                <a:cubicBezTo>
                  <a:pt x="5025054" y="5463075"/>
                  <a:pt x="5016619" y="5479947"/>
                  <a:pt x="4999747" y="5488384"/>
                </a:cubicBezTo>
                <a:cubicBezTo>
                  <a:pt x="5033490" y="5420898"/>
                  <a:pt x="5033490" y="5412461"/>
                  <a:pt x="5067232" y="5378718"/>
                </a:cubicBezTo>
                <a:lnTo>
                  <a:pt x="5075669" y="5370283"/>
                </a:lnTo>
                <a:lnTo>
                  <a:pt x="5075669" y="5361848"/>
                </a:lnTo>
                <a:lnTo>
                  <a:pt x="5067234" y="5361848"/>
                </a:lnTo>
                <a:cubicBezTo>
                  <a:pt x="5067234" y="5361848"/>
                  <a:pt x="5067233" y="5353409"/>
                  <a:pt x="5075669" y="5344976"/>
                </a:cubicBezTo>
                <a:cubicBezTo>
                  <a:pt x="5075670" y="5347788"/>
                  <a:pt x="5075670" y="5350600"/>
                  <a:pt x="5075671" y="5353411"/>
                </a:cubicBezTo>
                <a:lnTo>
                  <a:pt x="5084105" y="5353411"/>
                </a:lnTo>
                <a:lnTo>
                  <a:pt x="5084105" y="5336541"/>
                </a:lnTo>
                <a:lnTo>
                  <a:pt x="5092541" y="5328103"/>
                </a:lnTo>
                <a:cubicBezTo>
                  <a:pt x="5100976" y="5319670"/>
                  <a:pt x="5117848" y="5277491"/>
                  <a:pt x="5092541" y="5302798"/>
                </a:cubicBezTo>
                <a:cubicBezTo>
                  <a:pt x="5100976" y="5294363"/>
                  <a:pt x="5100976" y="5294363"/>
                  <a:pt x="5100978" y="5285927"/>
                </a:cubicBezTo>
                <a:cubicBezTo>
                  <a:pt x="5100978" y="5285927"/>
                  <a:pt x="5092539" y="5285927"/>
                  <a:pt x="5092541" y="5294363"/>
                </a:cubicBezTo>
                <a:cubicBezTo>
                  <a:pt x="5092541" y="5294363"/>
                  <a:pt x="5084105" y="5294363"/>
                  <a:pt x="5084105" y="5302796"/>
                </a:cubicBezTo>
                <a:lnTo>
                  <a:pt x="5084105" y="5285927"/>
                </a:lnTo>
                <a:cubicBezTo>
                  <a:pt x="5092540" y="5277491"/>
                  <a:pt x="5100976" y="5260620"/>
                  <a:pt x="5109412" y="5235313"/>
                </a:cubicBezTo>
                <a:cubicBezTo>
                  <a:pt x="5126283" y="5201570"/>
                  <a:pt x="5143156" y="5167827"/>
                  <a:pt x="5151589" y="5142520"/>
                </a:cubicBezTo>
                <a:lnTo>
                  <a:pt x="5160025" y="5134084"/>
                </a:lnTo>
                <a:lnTo>
                  <a:pt x="5160025" y="5125649"/>
                </a:lnTo>
                <a:cubicBezTo>
                  <a:pt x="5160025" y="5108777"/>
                  <a:pt x="5168461" y="5091906"/>
                  <a:pt x="5176898" y="5083470"/>
                </a:cubicBezTo>
                <a:cubicBezTo>
                  <a:pt x="5176897" y="5075036"/>
                  <a:pt x="5185332" y="5058163"/>
                  <a:pt x="5185333" y="5049729"/>
                </a:cubicBezTo>
                <a:cubicBezTo>
                  <a:pt x="5193769" y="5032856"/>
                  <a:pt x="5210641" y="5007550"/>
                  <a:pt x="5219076" y="4990679"/>
                </a:cubicBezTo>
                <a:lnTo>
                  <a:pt x="5227514" y="4990679"/>
                </a:lnTo>
                <a:cubicBezTo>
                  <a:pt x="5227512" y="4982241"/>
                  <a:pt x="5227512" y="4982241"/>
                  <a:pt x="5227511" y="4973806"/>
                </a:cubicBezTo>
                <a:lnTo>
                  <a:pt x="5227512" y="4965372"/>
                </a:lnTo>
                <a:lnTo>
                  <a:pt x="5219077" y="4973806"/>
                </a:lnTo>
                <a:cubicBezTo>
                  <a:pt x="5227512" y="4956934"/>
                  <a:pt x="5252821" y="4931627"/>
                  <a:pt x="5244383" y="4914756"/>
                </a:cubicBezTo>
                <a:cubicBezTo>
                  <a:pt x="5252819" y="4914756"/>
                  <a:pt x="5252819" y="4914756"/>
                  <a:pt x="5252819" y="4906320"/>
                </a:cubicBezTo>
                <a:cubicBezTo>
                  <a:pt x="5261255" y="4897886"/>
                  <a:pt x="5252821" y="4897886"/>
                  <a:pt x="5252821" y="4897886"/>
                </a:cubicBezTo>
                <a:cubicBezTo>
                  <a:pt x="5269693" y="4872579"/>
                  <a:pt x="5252819" y="4847272"/>
                  <a:pt x="5269691" y="4838836"/>
                </a:cubicBezTo>
                <a:lnTo>
                  <a:pt x="5269691" y="4847272"/>
                </a:lnTo>
                <a:cubicBezTo>
                  <a:pt x="5261255" y="4864143"/>
                  <a:pt x="5261255" y="4872579"/>
                  <a:pt x="5269693" y="4872579"/>
                </a:cubicBezTo>
                <a:cubicBezTo>
                  <a:pt x="5269693" y="4872579"/>
                  <a:pt x="5278127" y="4864143"/>
                  <a:pt x="5278126" y="4855707"/>
                </a:cubicBezTo>
                <a:lnTo>
                  <a:pt x="5286562" y="4847272"/>
                </a:lnTo>
                <a:cubicBezTo>
                  <a:pt x="5303433" y="4847270"/>
                  <a:pt x="5294998" y="4872579"/>
                  <a:pt x="5278125" y="4881015"/>
                </a:cubicBezTo>
                <a:cubicBezTo>
                  <a:pt x="5294998" y="4872579"/>
                  <a:pt x="5286561" y="4914756"/>
                  <a:pt x="5294998" y="4889450"/>
                </a:cubicBezTo>
                <a:cubicBezTo>
                  <a:pt x="5278126" y="4872579"/>
                  <a:pt x="5328740" y="4864144"/>
                  <a:pt x="5320304" y="4830400"/>
                </a:cubicBezTo>
                <a:lnTo>
                  <a:pt x="5328741" y="4821963"/>
                </a:lnTo>
                <a:lnTo>
                  <a:pt x="5328741" y="4813530"/>
                </a:lnTo>
                <a:lnTo>
                  <a:pt x="5328741" y="4805093"/>
                </a:lnTo>
                <a:lnTo>
                  <a:pt x="5320305" y="4813527"/>
                </a:lnTo>
                <a:cubicBezTo>
                  <a:pt x="5320304" y="4805093"/>
                  <a:pt x="5328740" y="4788222"/>
                  <a:pt x="5320305" y="4788222"/>
                </a:cubicBezTo>
                <a:lnTo>
                  <a:pt x="5311868" y="4779784"/>
                </a:lnTo>
                <a:cubicBezTo>
                  <a:pt x="5303434" y="4796658"/>
                  <a:pt x="5303433" y="4805093"/>
                  <a:pt x="5294998" y="4821963"/>
                </a:cubicBezTo>
                <a:lnTo>
                  <a:pt x="5294998" y="4813529"/>
                </a:lnTo>
                <a:cubicBezTo>
                  <a:pt x="5294997" y="4805093"/>
                  <a:pt x="5294998" y="4796657"/>
                  <a:pt x="5286562" y="4796658"/>
                </a:cubicBezTo>
                <a:lnTo>
                  <a:pt x="5279291" y="4811201"/>
                </a:lnTo>
                <a:lnTo>
                  <a:pt x="5280235" y="4795603"/>
                </a:lnTo>
                <a:cubicBezTo>
                  <a:pt x="5284454" y="4784004"/>
                  <a:pt x="5290780" y="4771350"/>
                  <a:pt x="5294997" y="4754479"/>
                </a:cubicBezTo>
                <a:cubicBezTo>
                  <a:pt x="5261254" y="4805093"/>
                  <a:pt x="5286562" y="4746045"/>
                  <a:pt x="5269690" y="4729170"/>
                </a:cubicBezTo>
                <a:lnTo>
                  <a:pt x="5278128" y="4737607"/>
                </a:lnTo>
                <a:lnTo>
                  <a:pt x="5286561" y="4737608"/>
                </a:lnTo>
                <a:cubicBezTo>
                  <a:pt x="5286562" y="4746045"/>
                  <a:pt x="5286562" y="4746045"/>
                  <a:pt x="5294998" y="4737608"/>
                </a:cubicBezTo>
                <a:cubicBezTo>
                  <a:pt x="5294998" y="4737608"/>
                  <a:pt x="5294997" y="4729170"/>
                  <a:pt x="5294999" y="4720736"/>
                </a:cubicBezTo>
                <a:lnTo>
                  <a:pt x="5295000" y="4712301"/>
                </a:lnTo>
                <a:cubicBezTo>
                  <a:pt x="5303434" y="4703863"/>
                  <a:pt x="5311869" y="4712299"/>
                  <a:pt x="5311869" y="4695429"/>
                </a:cubicBezTo>
                <a:lnTo>
                  <a:pt x="5311869" y="4712299"/>
                </a:lnTo>
                <a:cubicBezTo>
                  <a:pt x="5311869" y="4720736"/>
                  <a:pt x="5320306" y="4720735"/>
                  <a:pt x="5320307" y="4712301"/>
                </a:cubicBezTo>
                <a:cubicBezTo>
                  <a:pt x="5328740" y="4712301"/>
                  <a:pt x="5328743" y="4703863"/>
                  <a:pt x="5328740" y="4695429"/>
                </a:cubicBezTo>
                <a:lnTo>
                  <a:pt x="5328740" y="4678557"/>
                </a:lnTo>
                <a:cubicBezTo>
                  <a:pt x="5328741" y="4661688"/>
                  <a:pt x="5320305" y="4644813"/>
                  <a:pt x="5311871" y="4661688"/>
                </a:cubicBezTo>
                <a:cubicBezTo>
                  <a:pt x="5311869" y="4653253"/>
                  <a:pt x="5311869" y="4653253"/>
                  <a:pt x="5303433" y="4653252"/>
                </a:cubicBezTo>
                <a:lnTo>
                  <a:pt x="5294998" y="4661688"/>
                </a:lnTo>
                <a:cubicBezTo>
                  <a:pt x="5294999" y="4653250"/>
                  <a:pt x="5303434" y="4636379"/>
                  <a:pt x="5303432" y="4619508"/>
                </a:cubicBezTo>
                <a:cubicBezTo>
                  <a:pt x="5303434" y="4636379"/>
                  <a:pt x="5294999" y="4653250"/>
                  <a:pt x="5303432" y="4644816"/>
                </a:cubicBezTo>
                <a:cubicBezTo>
                  <a:pt x="5320304" y="4636382"/>
                  <a:pt x="5303432" y="4619508"/>
                  <a:pt x="5320305" y="4611072"/>
                </a:cubicBezTo>
                <a:lnTo>
                  <a:pt x="5328743" y="4611070"/>
                </a:lnTo>
                <a:cubicBezTo>
                  <a:pt x="5328741" y="4608259"/>
                  <a:pt x="5328742" y="4605448"/>
                  <a:pt x="5328741" y="4602637"/>
                </a:cubicBezTo>
                <a:lnTo>
                  <a:pt x="5328741" y="4594202"/>
                </a:lnTo>
                <a:lnTo>
                  <a:pt x="5320304" y="4594202"/>
                </a:lnTo>
                <a:lnTo>
                  <a:pt x="5337175" y="4577331"/>
                </a:lnTo>
                <a:cubicBezTo>
                  <a:pt x="5328740" y="4560457"/>
                  <a:pt x="5337176" y="4543586"/>
                  <a:pt x="5337175" y="4526717"/>
                </a:cubicBezTo>
                <a:cubicBezTo>
                  <a:pt x="5337178" y="4535152"/>
                  <a:pt x="5337176" y="4543586"/>
                  <a:pt x="5337176" y="4543586"/>
                </a:cubicBezTo>
                <a:cubicBezTo>
                  <a:pt x="5345612" y="4509845"/>
                  <a:pt x="5337176" y="4518279"/>
                  <a:pt x="5354048" y="4492974"/>
                </a:cubicBezTo>
                <a:lnTo>
                  <a:pt x="5362484" y="4501408"/>
                </a:lnTo>
                <a:lnTo>
                  <a:pt x="5362484" y="4492972"/>
                </a:lnTo>
                <a:lnTo>
                  <a:pt x="5370918" y="4492974"/>
                </a:lnTo>
                <a:cubicBezTo>
                  <a:pt x="5354048" y="4543588"/>
                  <a:pt x="5370919" y="4501408"/>
                  <a:pt x="5379355" y="4501407"/>
                </a:cubicBezTo>
                <a:cubicBezTo>
                  <a:pt x="5370919" y="4526717"/>
                  <a:pt x="5362484" y="4552024"/>
                  <a:pt x="5362484" y="4577331"/>
                </a:cubicBezTo>
                <a:lnTo>
                  <a:pt x="5354048" y="4577331"/>
                </a:lnTo>
                <a:cubicBezTo>
                  <a:pt x="5345611" y="4594200"/>
                  <a:pt x="5345612" y="4602638"/>
                  <a:pt x="5345612" y="4611072"/>
                </a:cubicBezTo>
                <a:cubicBezTo>
                  <a:pt x="5354048" y="4594202"/>
                  <a:pt x="5354048" y="4585765"/>
                  <a:pt x="5362483" y="4585763"/>
                </a:cubicBezTo>
                <a:cubicBezTo>
                  <a:pt x="5354048" y="4611072"/>
                  <a:pt x="5362483" y="4611070"/>
                  <a:pt x="5354047" y="4627944"/>
                </a:cubicBezTo>
                <a:lnTo>
                  <a:pt x="5345611" y="4636382"/>
                </a:lnTo>
                <a:lnTo>
                  <a:pt x="5345612" y="4644813"/>
                </a:lnTo>
                <a:lnTo>
                  <a:pt x="5354047" y="4653250"/>
                </a:lnTo>
                <a:lnTo>
                  <a:pt x="5362483" y="4644815"/>
                </a:lnTo>
                <a:cubicBezTo>
                  <a:pt x="5370917" y="4644815"/>
                  <a:pt x="5370918" y="4636379"/>
                  <a:pt x="5370919" y="4627945"/>
                </a:cubicBezTo>
                <a:lnTo>
                  <a:pt x="5370919" y="4619508"/>
                </a:lnTo>
                <a:lnTo>
                  <a:pt x="5362483" y="4619508"/>
                </a:lnTo>
                <a:cubicBezTo>
                  <a:pt x="5362484" y="4594202"/>
                  <a:pt x="5387791" y="4535150"/>
                  <a:pt x="5387791" y="4501408"/>
                </a:cubicBezTo>
                <a:lnTo>
                  <a:pt x="5396225" y="4492972"/>
                </a:lnTo>
                <a:cubicBezTo>
                  <a:pt x="5396224" y="4490161"/>
                  <a:pt x="5396224" y="4487349"/>
                  <a:pt x="5396224" y="4484538"/>
                </a:cubicBezTo>
                <a:cubicBezTo>
                  <a:pt x="5396224" y="4481726"/>
                  <a:pt x="5396224" y="4478914"/>
                  <a:pt x="5396225" y="4476102"/>
                </a:cubicBezTo>
                <a:cubicBezTo>
                  <a:pt x="5396226" y="4459231"/>
                  <a:pt x="5404662" y="4433924"/>
                  <a:pt x="5413098" y="4425488"/>
                </a:cubicBezTo>
                <a:lnTo>
                  <a:pt x="5404662" y="4425486"/>
                </a:lnTo>
                <a:lnTo>
                  <a:pt x="5413098" y="4417053"/>
                </a:lnTo>
                <a:cubicBezTo>
                  <a:pt x="5413098" y="4417053"/>
                  <a:pt x="5421534" y="4408617"/>
                  <a:pt x="5421533" y="4400179"/>
                </a:cubicBezTo>
                <a:lnTo>
                  <a:pt x="5413097" y="4391743"/>
                </a:lnTo>
                <a:cubicBezTo>
                  <a:pt x="5415207" y="4370655"/>
                  <a:pt x="5418370" y="4352203"/>
                  <a:pt x="5421797" y="4335463"/>
                </a:cubicBezTo>
                <a:lnTo>
                  <a:pt x="5430069" y="4298454"/>
                </a:lnTo>
                <a:lnTo>
                  <a:pt x="5422231" y="4304885"/>
                </a:lnTo>
                <a:cubicBezTo>
                  <a:pt x="5417998" y="4308077"/>
                  <a:pt x="5416957" y="4315503"/>
                  <a:pt x="5412724" y="4318695"/>
                </a:cubicBezTo>
                <a:cubicBezTo>
                  <a:pt x="5412724" y="4318695"/>
                  <a:pt x="5409531" y="4314460"/>
                  <a:pt x="5410571" y="4307033"/>
                </a:cubicBezTo>
                <a:cubicBezTo>
                  <a:pt x="5410571" y="4307033"/>
                  <a:pt x="5410571" y="4307033"/>
                  <a:pt x="5411613" y="4299607"/>
                </a:cubicBezTo>
                <a:cubicBezTo>
                  <a:pt x="5409531" y="4314460"/>
                  <a:pt x="5399952" y="4301755"/>
                  <a:pt x="5410500" y="4280519"/>
                </a:cubicBezTo>
                <a:cubicBezTo>
                  <a:pt x="5410500" y="4280519"/>
                  <a:pt x="5410500" y="4280519"/>
                  <a:pt x="5417926" y="4281562"/>
                </a:cubicBezTo>
                <a:cubicBezTo>
                  <a:pt x="5422159" y="4278371"/>
                  <a:pt x="5423199" y="4270944"/>
                  <a:pt x="5423199" y="4270944"/>
                </a:cubicBezTo>
                <a:cubicBezTo>
                  <a:pt x="5430626" y="4271987"/>
                  <a:pt x="5426393" y="4275179"/>
                  <a:pt x="5425352" y="4282606"/>
                </a:cubicBezTo>
                <a:cubicBezTo>
                  <a:pt x="5425352" y="4282606"/>
                  <a:pt x="5425352" y="4282606"/>
                  <a:pt x="5424312" y="4290032"/>
                </a:cubicBezTo>
                <a:cubicBezTo>
                  <a:pt x="5428006" y="4283925"/>
                  <a:pt x="5431697" y="4276161"/>
                  <a:pt x="5435055" y="4267818"/>
                </a:cubicBezTo>
                <a:lnTo>
                  <a:pt x="5436591" y="4263308"/>
                </a:lnTo>
                <a:lnTo>
                  <a:pt x="5439195" y="4248207"/>
                </a:lnTo>
                <a:cubicBezTo>
                  <a:pt x="5440513" y="4234630"/>
                  <a:pt x="5440514" y="4220923"/>
                  <a:pt x="5438405" y="4206160"/>
                </a:cubicBezTo>
                <a:cubicBezTo>
                  <a:pt x="5446840" y="4206161"/>
                  <a:pt x="5446841" y="4197726"/>
                  <a:pt x="5446841" y="4189290"/>
                </a:cubicBezTo>
                <a:lnTo>
                  <a:pt x="5446841" y="4180852"/>
                </a:lnTo>
                <a:lnTo>
                  <a:pt x="5438404" y="4180854"/>
                </a:lnTo>
                <a:cubicBezTo>
                  <a:pt x="5455276" y="4172417"/>
                  <a:pt x="5455276" y="4147110"/>
                  <a:pt x="5455276" y="4130240"/>
                </a:cubicBezTo>
                <a:lnTo>
                  <a:pt x="5455276" y="4121804"/>
                </a:lnTo>
                <a:lnTo>
                  <a:pt x="5455276" y="4104933"/>
                </a:lnTo>
                <a:lnTo>
                  <a:pt x="5455276" y="4096497"/>
                </a:lnTo>
                <a:cubicBezTo>
                  <a:pt x="5455276" y="4096497"/>
                  <a:pt x="5463712" y="4096495"/>
                  <a:pt x="5463712" y="4088062"/>
                </a:cubicBezTo>
                <a:cubicBezTo>
                  <a:pt x="5463710" y="4085250"/>
                  <a:pt x="5463710" y="4082438"/>
                  <a:pt x="5463710" y="4079626"/>
                </a:cubicBezTo>
                <a:cubicBezTo>
                  <a:pt x="5455276" y="4062752"/>
                  <a:pt x="5480584" y="4029012"/>
                  <a:pt x="5463711" y="4029012"/>
                </a:cubicBezTo>
                <a:lnTo>
                  <a:pt x="5463712" y="4020574"/>
                </a:lnTo>
                <a:lnTo>
                  <a:pt x="5463712" y="4003705"/>
                </a:lnTo>
                <a:lnTo>
                  <a:pt x="5463712" y="3995269"/>
                </a:lnTo>
                <a:cubicBezTo>
                  <a:pt x="5480584" y="3986830"/>
                  <a:pt x="5463712" y="3953088"/>
                  <a:pt x="5463711" y="3936219"/>
                </a:cubicBezTo>
                <a:cubicBezTo>
                  <a:pt x="5463711" y="3910912"/>
                  <a:pt x="5480584" y="3927783"/>
                  <a:pt x="5480582" y="3902476"/>
                </a:cubicBezTo>
                <a:cubicBezTo>
                  <a:pt x="5480582" y="3902476"/>
                  <a:pt x="5480584" y="3894040"/>
                  <a:pt x="5489019" y="3894042"/>
                </a:cubicBezTo>
                <a:lnTo>
                  <a:pt x="5489019" y="3885606"/>
                </a:lnTo>
                <a:cubicBezTo>
                  <a:pt x="5489019" y="3877167"/>
                  <a:pt x="5489019" y="3877167"/>
                  <a:pt x="5480583" y="3885606"/>
                </a:cubicBezTo>
                <a:lnTo>
                  <a:pt x="5480584" y="3894040"/>
                </a:lnTo>
                <a:cubicBezTo>
                  <a:pt x="5472148" y="3877169"/>
                  <a:pt x="5480583" y="3860299"/>
                  <a:pt x="5472148" y="3860298"/>
                </a:cubicBezTo>
                <a:cubicBezTo>
                  <a:pt x="5480582" y="3834992"/>
                  <a:pt x="5480583" y="3860299"/>
                  <a:pt x="5489019" y="3860299"/>
                </a:cubicBezTo>
                <a:lnTo>
                  <a:pt x="5496941" y="3868220"/>
                </a:lnTo>
                <a:lnTo>
                  <a:pt x="5493896" y="3915262"/>
                </a:lnTo>
                <a:cubicBezTo>
                  <a:pt x="5492709" y="3963109"/>
                  <a:pt x="5497455" y="3993159"/>
                  <a:pt x="5497452" y="4037447"/>
                </a:cubicBezTo>
                <a:cubicBezTo>
                  <a:pt x="5497452" y="4037447"/>
                  <a:pt x="5489019" y="4037445"/>
                  <a:pt x="5489016" y="4045883"/>
                </a:cubicBezTo>
                <a:cubicBezTo>
                  <a:pt x="5489018" y="4048695"/>
                  <a:pt x="5489018" y="4051507"/>
                  <a:pt x="5489019" y="4054319"/>
                </a:cubicBezTo>
                <a:lnTo>
                  <a:pt x="5489386" y="4063858"/>
                </a:lnTo>
                <a:lnTo>
                  <a:pt x="5490041" y="4061970"/>
                </a:lnTo>
                <a:cubicBezTo>
                  <a:pt x="5495580" y="4051566"/>
                  <a:pt x="5500564" y="4056526"/>
                  <a:pt x="5508475" y="4040599"/>
                </a:cubicBezTo>
                <a:cubicBezTo>
                  <a:pt x="5516870" y="4007701"/>
                  <a:pt x="5505210" y="4009850"/>
                  <a:pt x="5508331" y="3987570"/>
                </a:cubicBezTo>
                <a:cubicBezTo>
                  <a:pt x="5528386" y="3952524"/>
                  <a:pt x="5532548" y="3922818"/>
                  <a:pt x="5535669" y="3900538"/>
                </a:cubicBezTo>
                <a:cubicBezTo>
                  <a:pt x="5538790" y="3878259"/>
                  <a:pt x="5538719" y="3851745"/>
                  <a:pt x="5551347" y="3815654"/>
                </a:cubicBezTo>
                <a:cubicBezTo>
                  <a:pt x="5559813" y="3809271"/>
                  <a:pt x="5565086" y="3798653"/>
                  <a:pt x="5567239" y="3810315"/>
                </a:cubicBezTo>
                <a:cubicBezTo>
                  <a:pt x="5591384" y="3719048"/>
                  <a:pt x="5589087" y="3654357"/>
                  <a:pt x="5597339" y="3568431"/>
                </a:cubicBezTo>
                <a:cubicBezTo>
                  <a:pt x="5593106" y="3571622"/>
                  <a:pt x="5586792" y="3589667"/>
                  <a:pt x="5580406" y="3581198"/>
                </a:cubicBezTo>
                <a:cubicBezTo>
                  <a:pt x="5579150" y="3509080"/>
                  <a:pt x="5610936" y="3498401"/>
                  <a:pt x="5623492" y="3435797"/>
                </a:cubicBezTo>
                <a:cubicBezTo>
                  <a:pt x="5634111" y="3441075"/>
                  <a:pt x="5622523" y="3469738"/>
                  <a:pt x="5627870" y="3485634"/>
                </a:cubicBezTo>
                <a:cubicBezTo>
                  <a:pt x="5624676" y="3481400"/>
                  <a:pt x="5624676" y="3481400"/>
                  <a:pt x="5628909" y="3478208"/>
                </a:cubicBezTo>
                <a:cubicBezTo>
                  <a:pt x="5629950" y="3470782"/>
                  <a:pt x="5634183" y="3467589"/>
                  <a:pt x="5633142" y="3475016"/>
                </a:cubicBezTo>
                <a:cubicBezTo>
                  <a:pt x="5633142" y="3475016"/>
                  <a:pt x="5635295" y="3486677"/>
                  <a:pt x="5631062" y="3489870"/>
                </a:cubicBezTo>
                <a:cubicBezTo>
                  <a:pt x="5631062" y="3489870"/>
                  <a:pt x="5634255" y="3494104"/>
                  <a:pt x="5634255" y="3494104"/>
                </a:cubicBezTo>
                <a:cubicBezTo>
                  <a:pt x="5634255" y="3494104"/>
                  <a:pt x="5634255" y="3494104"/>
                  <a:pt x="5630021" y="3497296"/>
                </a:cubicBezTo>
                <a:cubicBezTo>
                  <a:pt x="5633357" y="3554560"/>
                  <a:pt x="5629268" y="3610781"/>
                  <a:pt x="5608173" y="3653253"/>
                </a:cubicBezTo>
                <a:cubicBezTo>
                  <a:pt x="5622056" y="3689281"/>
                  <a:pt x="5595760" y="3768886"/>
                  <a:pt x="5592710" y="3817680"/>
                </a:cubicBezTo>
                <a:cubicBezTo>
                  <a:pt x="5586396" y="3835725"/>
                  <a:pt x="5583204" y="3831490"/>
                  <a:pt x="5581051" y="3819828"/>
                </a:cubicBezTo>
                <a:cubicBezTo>
                  <a:pt x="5581123" y="3846343"/>
                  <a:pt x="5569535" y="3875005"/>
                  <a:pt x="5575920" y="3883475"/>
                </a:cubicBezTo>
                <a:cubicBezTo>
                  <a:pt x="5571203" y="3903637"/>
                  <a:pt x="5567006" y="3920086"/>
                  <a:pt x="5563598" y="3934280"/>
                </a:cubicBezTo>
                <a:lnTo>
                  <a:pt x="5562972" y="3937349"/>
                </a:lnTo>
                <a:lnTo>
                  <a:pt x="5571794" y="3923038"/>
                </a:lnTo>
                <a:cubicBezTo>
                  <a:pt x="5593939" y="3878751"/>
                  <a:pt x="5611337" y="3820229"/>
                  <a:pt x="5623989" y="3775941"/>
                </a:cubicBezTo>
                <a:lnTo>
                  <a:pt x="5632426" y="3767506"/>
                </a:lnTo>
                <a:cubicBezTo>
                  <a:pt x="5632426" y="3767506"/>
                  <a:pt x="5640861" y="3767506"/>
                  <a:pt x="5640861" y="3759071"/>
                </a:cubicBezTo>
                <a:lnTo>
                  <a:pt x="5649298" y="3767505"/>
                </a:lnTo>
                <a:lnTo>
                  <a:pt x="5649298" y="3742197"/>
                </a:lnTo>
                <a:cubicBezTo>
                  <a:pt x="5666171" y="3691585"/>
                  <a:pt x="5674605" y="3624099"/>
                  <a:pt x="5683041" y="3581921"/>
                </a:cubicBezTo>
                <a:cubicBezTo>
                  <a:pt x="5691475" y="3573485"/>
                  <a:pt x="5691476" y="3590358"/>
                  <a:pt x="5691475" y="3598792"/>
                </a:cubicBezTo>
                <a:cubicBezTo>
                  <a:pt x="5698857" y="3576649"/>
                  <a:pt x="5712697" y="3496378"/>
                  <a:pt x="5732996" y="3493610"/>
                </a:cubicBezTo>
                <a:lnTo>
                  <a:pt x="5733449" y="3493806"/>
                </a:lnTo>
                <a:lnTo>
                  <a:pt x="5734014" y="3473633"/>
                </a:lnTo>
                <a:cubicBezTo>
                  <a:pt x="5733582" y="3467260"/>
                  <a:pt x="5732457" y="3462613"/>
                  <a:pt x="5730509" y="3460815"/>
                </a:cubicBezTo>
                <a:cubicBezTo>
                  <a:pt x="5735891" y="3408066"/>
                  <a:pt x="5752664" y="3358615"/>
                  <a:pt x="5743964" y="3328941"/>
                </a:cubicBezTo>
                <a:cubicBezTo>
                  <a:pt x="5746354" y="3295074"/>
                  <a:pt x="5754450" y="3309761"/>
                  <a:pt x="5761038" y="3286983"/>
                </a:cubicBezTo>
                <a:cubicBezTo>
                  <a:pt x="5763428" y="3253117"/>
                  <a:pt x="5752340" y="3257310"/>
                  <a:pt x="5751435" y="3234831"/>
                </a:cubicBezTo>
                <a:cubicBezTo>
                  <a:pt x="5764914" y="3196770"/>
                  <a:pt x="5763707" y="3166797"/>
                  <a:pt x="5762802" y="3144319"/>
                </a:cubicBezTo>
                <a:cubicBezTo>
                  <a:pt x="5761898" y="3121840"/>
                  <a:pt x="5757096" y="3095764"/>
                  <a:pt x="5763082" y="3058000"/>
                </a:cubicBezTo>
                <a:cubicBezTo>
                  <a:pt x="5770274" y="3050209"/>
                  <a:pt x="5773568" y="3038820"/>
                  <a:pt x="5777766" y="3049910"/>
                </a:cubicBezTo>
                <a:cubicBezTo>
                  <a:pt x="5785236" y="2955800"/>
                  <a:pt x="5771435" y="2892557"/>
                  <a:pt x="5764220" y="2806537"/>
                </a:cubicBezTo>
                <a:lnTo>
                  <a:pt x="5759877" y="2815776"/>
                </a:lnTo>
                <a:lnTo>
                  <a:pt x="5758962" y="2839583"/>
                </a:lnTo>
                <a:cubicBezTo>
                  <a:pt x="5750526" y="2839583"/>
                  <a:pt x="5750526" y="2831148"/>
                  <a:pt x="5750526" y="2831148"/>
                </a:cubicBezTo>
                <a:lnTo>
                  <a:pt x="5750526" y="2822713"/>
                </a:lnTo>
                <a:lnTo>
                  <a:pt x="5750526" y="2822277"/>
                </a:lnTo>
                <a:lnTo>
                  <a:pt x="5749837" y="2822120"/>
                </a:lnTo>
                <a:lnTo>
                  <a:pt x="5747894" y="2797782"/>
                </a:lnTo>
                <a:lnTo>
                  <a:pt x="5743144" y="2798460"/>
                </a:lnTo>
                <a:cubicBezTo>
                  <a:pt x="5742089" y="2799515"/>
                  <a:pt x="5742090" y="2801624"/>
                  <a:pt x="5742091" y="2805842"/>
                </a:cubicBezTo>
                <a:lnTo>
                  <a:pt x="5742091" y="2814279"/>
                </a:lnTo>
                <a:lnTo>
                  <a:pt x="5742090" y="2822713"/>
                </a:lnTo>
                <a:cubicBezTo>
                  <a:pt x="5725221" y="2772097"/>
                  <a:pt x="5725221" y="2839583"/>
                  <a:pt x="5733655" y="2848019"/>
                </a:cubicBezTo>
                <a:lnTo>
                  <a:pt x="5742090" y="2856452"/>
                </a:lnTo>
                <a:lnTo>
                  <a:pt x="5742091" y="2848019"/>
                </a:lnTo>
                <a:lnTo>
                  <a:pt x="5750526" y="2839583"/>
                </a:lnTo>
                <a:lnTo>
                  <a:pt x="5750526" y="2864888"/>
                </a:lnTo>
                <a:lnTo>
                  <a:pt x="5750525" y="2873326"/>
                </a:lnTo>
                <a:cubicBezTo>
                  <a:pt x="5750526" y="2932374"/>
                  <a:pt x="5733655" y="2974554"/>
                  <a:pt x="5708345" y="2940812"/>
                </a:cubicBezTo>
                <a:cubicBezTo>
                  <a:pt x="5708348" y="2898633"/>
                  <a:pt x="5699912" y="2898632"/>
                  <a:pt x="5699912" y="2839583"/>
                </a:cubicBezTo>
                <a:cubicBezTo>
                  <a:pt x="5695694" y="2837474"/>
                  <a:pt x="5692531" y="2838002"/>
                  <a:pt x="5689894" y="2840110"/>
                </a:cubicBezTo>
                <a:lnTo>
                  <a:pt x="5683185" y="2849917"/>
                </a:lnTo>
                <a:lnTo>
                  <a:pt x="5682885" y="2853046"/>
                </a:lnTo>
                <a:cubicBezTo>
                  <a:pt x="5682333" y="2855285"/>
                  <a:pt x="5681574" y="2856372"/>
                  <a:pt x="5680651" y="2856536"/>
                </a:cubicBezTo>
                <a:lnTo>
                  <a:pt x="5680060" y="2855859"/>
                </a:lnTo>
                <a:lnTo>
                  <a:pt x="5676293" y="2863103"/>
                </a:lnTo>
                <a:lnTo>
                  <a:pt x="5680760" y="2886509"/>
                </a:lnTo>
                <a:cubicBezTo>
                  <a:pt x="5682357" y="2898126"/>
                  <a:pt x="5684002" y="2907354"/>
                  <a:pt x="5688352" y="2910389"/>
                </a:cubicBezTo>
                <a:cubicBezTo>
                  <a:pt x="5691903" y="2951650"/>
                  <a:pt x="5692821" y="2978146"/>
                  <a:pt x="5696772" y="3000293"/>
                </a:cubicBezTo>
                <a:cubicBezTo>
                  <a:pt x="5697689" y="3026790"/>
                  <a:pt x="5697290" y="3045902"/>
                  <a:pt x="5692141" y="3081094"/>
                </a:cubicBezTo>
                <a:cubicBezTo>
                  <a:pt x="5684759" y="3082408"/>
                  <a:pt x="5686474" y="3070677"/>
                  <a:pt x="5679091" y="3071991"/>
                </a:cubicBezTo>
                <a:cubicBezTo>
                  <a:pt x="5680926" y="3124983"/>
                  <a:pt x="5687511" y="3161895"/>
                  <a:pt x="5688029" y="3207504"/>
                </a:cubicBezTo>
                <a:cubicBezTo>
                  <a:pt x="5695930" y="3251800"/>
                  <a:pt x="5696448" y="3297408"/>
                  <a:pt x="5692217" y="3359096"/>
                </a:cubicBezTo>
                <a:cubicBezTo>
                  <a:pt x="5689982" y="3325218"/>
                  <a:pt x="5682200" y="3345644"/>
                  <a:pt x="5673101" y="3358689"/>
                </a:cubicBezTo>
                <a:cubicBezTo>
                  <a:pt x="5670067" y="3363038"/>
                  <a:pt x="5671384" y="3370421"/>
                  <a:pt x="5668351" y="3374768"/>
                </a:cubicBezTo>
                <a:cubicBezTo>
                  <a:pt x="5668351" y="3374768"/>
                  <a:pt x="5664001" y="3371734"/>
                  <a:pt x="5662684" y="3364351"/>
                </a:cubicBezTo>
                <a:cubicBezTo>
                  <a:pt x="5662684" y="3364351"/>
                  <a:pt x="5662684" y="3364351"/>
                  <a:pt x="5661368" y="3356969"/>
                </a:cubicBezTo>
                <a:cubicBezTo>
                  <a:pt x="5664001" y="3371734"/>
                  <a:pt x="5650952" y="3362631"/>
                  <a:pt x="5654384" y="3339170"/>
                </a:cubicBezTo>
                <a:cubicBezTo>
                  <a:pt x="5654384" y="3339170"/>
                  <a:pt x="5654384" y="3339170"/>
                  <a:pt x="5661768" y="3337856"/>
                </a:cubicBezTo>
                <a:cubicBezTo>
                  <a:pt x="5664800" y="3333508"/>
                  <a:pt x="5663483" y="3326125"/>
                  <a:pt x="5663483" y="3326125"/>
                </a:cubicBezTo>
                <a:cubicBezTo>
                  <a:pt x="5670866" y="3324812"/>
                  <a:pt x="5667833" y="3329160"/>
                  <a:pt x="5669150" y="3336542"/>
                </a:cubicBezTo>
                <a:cubicBezTo>
                  <a:pt x="5669150" y="3336542"/>
                  <a:pt x="5669150" y="3336542"/>
                  <a:pt x="5670467" y="3343924"/>
                </a:cubicBezTo>
                <a:cubicBezTo>
                  <a:pt x="5676933" y="3316115"/>
                  <a:pt x="5675097" y="3263123"/>
                  <a:pt x="5666398" y="3257055"/>
                </a:cubicBezTo>
                <a:cubicBezTo>
                  <a:pt x="5664562" y="3204063"/>
                  <a:pt x="5674461" y="3152792"/>
                  <a:pt x="5661810" y="3124576"/>
                </a:cubicBezTo>
                <a:cubicBezTo>
                  <a:pt x="5659576" y="3090699"/>
                  <a:pt x="5669592" y="3104149"/>
                  <a:pt x="5673025" y="3080687"/>
                </a:cubicBezTo>
                <a:cubicBezTo>
                  <a:pt x="5670791" y="3046809"/>
                  <a:pt x="5660375" y="3052471"/>
                  <a:pt x="5656425" y="3030323"/>
                </a:cubicBezTo>
                <a:cubicBezTo>
                  <a:pt x="5664606" y="2990784"/>
                  <a:pt x="5659339" y="2961253"/>
                  <a:pt x="5655388" y="2939106"/>
                </a:cubicBezTo>
                <a:cubicBezTo>
                  <a:pt x="5651437" y="2916958"/>
                  <a:pt x="5643136" y="2891777"/>
                  <a:pt x="5643936" y="2853549"/>
                </a:cubicBezTo>
                <a:cubicBezTo>
                  <a:pt x="5650002" y="2844854"/>
                  <a:pt x="5651718" y="2833123"/>
                  <a:pt x="5657385" y="2843539"/>
                </a:cubicBezTo>
                <a:lnTo>
                  <a:pt x="5657146" y="2841276"/>
                </a:lnTo>
                <a:lnTo>
                  <a:pt x="5648243" y="2809663"/>
                </a:lnTo>
                <a:cubicBezTo>
                  <a:pt x="5630844" y="2742046"/>
                  <a:pt x="5613444" y="2670868"/>
                  <a:pt x="5581811" y="2670869"/>
                </a:cubicBezTo>
                <a:lnTo>
                  <a:pt x="5581812" y="2662431"/>
                </a:lnTo>
                <a:lnTo>
                  <a:pt x="5581812" y="2645563"/>
                </a:lnTo>
                <a:cubicBezTo>
                  <a:pt x="5573376" y="2637125"/>
                  <a:pt x="5573377" y="2628693"/>
                  <a:pt x="5573376" y="2637125"/>
                </a:cubicBezTo>
                <a:cubicBezTo>
                  <a:pt x="5564941" y="2620256"/>
                  <a:pt x="5564941" y="2594949"/>
                  <a:pt x="5548068" y="2544335"/>
                </a:cubicBezTo>
                <a:cubicBezTo>
                  <a:pt x="5539634" y="2527464"/>
                  <a:pt x="5539633" y="2519026"/>
                  <a:pt x="5539634" y="2510592"/>
                </a:cubicBezTo>
                <a:lnTo>
                  <a:pt x="5531197" y="2502157"/>
                </a:lnTo>
                <a:lnTo>
                  <a:pt x="5531198" y="2493721"/>
                </a:lnTo>
                <a:cubicBezTo>
                  <a:pt x="5531197" y="2485283"/>
                  <a:pt x="5522761" y="2493721"/>
                  <a:pt x="5522761" y="2493721"/>
                </a:cubicBezTo>
                <a:lnTo>
                  <a:pt x="5522762" y="2485285"/>
                </a:lnTo>
                <a:cubicBezTo>
                  <a:pt x="5514328" y="2485285"/>
                  <a:pt x="5514327" y="2451540"/>
                  <a:pt x="5505889" y="2451543"/>
                </a:cubicBezTo>
                <a:cubicBezTo>
                  <a:pt x="5514328" y="2493720"/>
                  <a:pt x="5505891" y="2459978"/>
                  <a:pt x="5497455" y="2476850"/>
                </a:cubicBezTo>
                <a:cubicBezTo>
                  <a:pt x="5489018" y="2426235"/>
                  <a:pt x="5489019" y="2493720"/>
                  <a:pt x="5480584" y="2459978"/>
                </a:cubicBezTo>
                <a:cubicBezTo>
                  <a:pt x="5472147" y="2409365"/>
                  <a:pt x="5463710" y="2409365"/>
                  <a:pt x="5472147" y="2384058"/>
                </a:cubicBezTo>
                <a:cubicBezTo>
                  <a:pt x="5446841" y="2384058"/>
                  <a:pt x="5429967" y="2265958"/>
                  <a:pt x="5404661" y="2181601"/>
                </a:cubicBezTo>
                <a:cubicBezTo>
                  <a:pt x="5404661" y="2173166"/>
                  <a:pt x="5396224" y="2156292"/>
                  <a:pt x="5387791" y="2130985"/>
                </a:cubicBezTo>
                <a:cubicBezTo>
                  <a:pt x="5362483" y="2055067"/>
                  <a:pt x="5345614" y="2004453"/>
                  <a:pt x="5328740" y="1962273"/>
                </a:cubicBezTo>
                <a:cubicBezTo>
                  <a:pt x="5320306" y="1945401"/>
                  <a:pt x="5328741" y="1953837"/>
                  <a:pt x="5328741" y="1936967"/>
                </a:cubicBezTo>
                <a:cubicBezTo>
                  <a:pt x="5320305" y="1936965"/>
                  <a:pt x="5311870" y="1928530"/>
                  <a:pt x="5311869" y="1920096"/>
                </a:cubicBezTo>
                <a:lnTo>
                  <a:pt x="5320307" y="1911660"/>
                </a:lnTo>
                <a:cubicBezTo>
                  <a:pt x="5294997" y="1869480"/>
                  <a:pt x="5303433" y="1861047"/>
                  <a:pt x="5269693" y="1793560"/>
                </a:cubicBezTo>
                <a:lnTo>
                  <a:pt x="5286562" y="1793561"/>
                </a:lnTo>
                <a:cubicBezTo>
                  <a:pt x="5269690" y="1751383"/>
                  <a:pt x="5261255" y="1734510"/>
                  <a:pt x="5261255" y="1768254"/>
                </a:cubicBezTo>
                <a:cubicBezTo>
                  <a:pt x="5244383" y="1742947"/>
                  <a:pt x="5261255" y="1734510"/>
                  <a:pt x="5235948" y="1709201"/>
                </a:cubicBezTo>
                <a:cubicBezTo>
                  <a:pt x="5244383" y="1717640"/>
                  <a:pt x="5244382" y="1709203"/>
                  <a:pt x="5235947" y="1700769"/>
                </a:cubicBezTo>
                <a:lnTo>
                  <a:pt x="5244383" y="1700769"/>
                </a:lnTo>
                <a:cubicBezTo>
                  <a:pt x="5252818" y="1709203"/>
                  <a:pt x="5252819" y="1700767"/>
                  <a:pt x="5252819" y="1700767"/>
                </a:cubicBezTo>
                <a:lnTo>
                  <a:pt x="5252819" y="1692332"/>
                </a:lnTo>
                <a:cubicBezTo>
                  <a:pt x="5269693" y="1726076"/>
                  <a:pt x="5261254" y="1675460"/>
                  <a:pt x="5244383" y="1650153"/>
                </a:cubicBezTo>
                <a:lnTo>
                  <a:pt x="5252818" y="1650152"/>
                </a:lnTo>
                <a:lnTo>
                  <a:pt x="5252819" y="1641718"/>
                </a:lnTo>
                <a:lnTo>
                  <a:pt x="5244385" y="1633283"/>
                </a:lnTo>
                <a:cubicBezTo>
                  <a:pt x="5227512" y="1591105"/>
                  <a:pt x="5202205" y="1532055"/>
                  <a:pt x="5176900" y="1473003"/>
                </a:cubicBezTo>
                <a:cubicBezTo>
                  <a:pt x="5143155" y="1413955"/>
                  <a:pt x="5109412" y="1354905"/>
                  <a:pt x="5084104" y="1312727"/>
                </a:cubicBezTo>
                <a:cubicBezTo>
                  <a:pt x="5079886" y="1295857"/>
                  <a:pt x="5069343" y="1274766"/>
                  <a:pt x="5055633" y="1250514"/>
                </a:cubicBezTo>
                <a:lnTo>
                  <a:pt x="5041658" y="1226599"/>
                </a:lnTo>
                <a:lnTo>
                  <a:pt x="5093541" y="1340967"/>
                </a:lnTo>
                <a:cubicBezTo>
                  <a:pt x="5235732" y="1681085"/>
                  <a:pt x="5337210" y="2038049"/>
                  <a:pt x="5398999" y="2412246"/>
                </a:cubicBezTo>
                <a:cubicBezTo>
                  <a:pt x="5422890" y="2554151"/>
                  <a:pt x="5460842" y="2689651"/>
                  <a:pt x="5458394" y="2833367"/>
                </a:cubicBezTo>
                <a:cubicBezTo>
                  <a:pt x="5457892" y="2847175"/>
                  <a:pt x="5464297" y="2861234"/>
                  <a:pt x="5448705" y="2871734"/>
                </a:cubicBezTo>
                <a:cubicBezTo>
                  <a:pt x="5433365" y="2875326"/>
                  <a:pt x="5431053" y="2862798"/>
                  <a:pt x="5431304" y="2855892"/>
                </a:cubicBezTo>
                <a:cubicBezTo>
                  <a:pt x="5385690" y="2397937"/>
                  <a:pt x="5249309" y="1964347"/>
                  <a:pt x="5100400" y="1533070"/>
                </a:cubicBezTo>
                <a:cubicBezTo>
                  <a:pt x="5024275" y="1306308"/>
                  <a:pt x="4903157" y="1100041"/>
                  <a:pt x="4793286" y="888652"/>
                </a:cubicBezTo>
                <a:cubicBezTo>
                  <a:pt x="4778948" y="864625"/>
                  <a:pt x="4766140" y="836507"/>
                  <a:pt x="4754611" y="811200"/>
                </a:cubicBezTo>
                <a:cubicBezTo>
                  <a:pt x="4747700" y="801616"/>
                  <a:pt x="4747255" y="785266"/>
                  <a:pt x="4736788" y="782554"/>
                </a:cubicBezTo>
                <a:cubicBezTo>
                  <a:pt x="4733299" y="781651"/>
                  <a:pt x="4728696" y="782261"/>
                  <a:pt x="4722369" y="785144"/>
                </a:cubicBezTo>
                <a:cubicBezTo>
                  <a:pt x="4697061" y="796672"/>
                  <a:pt x="4707559" y="812263"/>
                  <a:pt x="4716525" y="831944"/>
                </a:cubicBezTo>
                <a:cubicBezTo>
                  <a:pt x="4773879" y="928050"/>
                  <a:pt x="4829707" y="1028246"/>
                  <a:pt x="4878628" y="1128191"/>
                </a:cubicBezTo>
                <a:cubicBezTo>
                  <a:pt x="4928929" y="1233026"/>
                  <a:pt x="4975663" y="1338424"/>
                  <a:pt x="5018643" y="1444415"/>
                </a:cubicBezTo>
                <a:lnTo>
                  <a:pt x="5107372" y="1685936"/>
                </a:lnTo>
                <a:lnTo>
                  <a:pt x="5109411" y="1683895"/>
                </a:lnTo>
                <a:cubicBezTo>
                  <a:pt x="5126283" y="1717639"/>
                  <a:pt x="5134721" y="1751382"/>
                  <a:pt x="5151590" y="1785122"/>
                </a:cubicBezTo>
                <a:lnTo>
                  <a:pt x="5143154" y="1785122"/>
                </a:lnTo>
                <a:cubicBezTo>
                  <a:pt x="5143154" y="1776689"/>
                  <a:pt x="5134719" y="1759817"/>
                  <a:pt x="5134721" y="1751382"/>
                </a:cubicBezTo>
                <a:lnTo>
                  <a:pt x="5122261" y="1726462"/>
                </a:lnTo>
                <a:lnTo>
                  <a:pt x="5136116" y="1764180"/>
                </a:lnTo>
                <a:lnTo>
                  <a:pt x="5157687" y="1838582"/>
                </a:lnTo>
                <a:lnTo>
                  <a:pt x="5167407" y="1843119"/>
                </a:lnTo>
                <a:cubicBezTo>
                  <a:pt x="5170572" y="1844173"/>
                  <a:pt x="5172680" y="1844174"/>
                  <a:pt x="5176898" y="1844173"/>
                </a:cubicBezTo>
                <a:cubicBezTo>
                  <a:pt x="5176900" y="1852608"/>
                  <a:pt x="5176898" y="1861046"/>
                  <a:pt x="5176898" y="1861046"/>
                </a:cubicBezTo>
                <a:cubicBezTo>
                  <a:pt x="5168464" y="1861046"/>
                  <a:pt x="5168461" y="1852610"/>
                  <a:pt x="5168464" y="1861046"/>
                </a:cubicBezTo>
                <a:lnTo>
                  <a:pt x="5168463" y="1869480"/>
                </a:lnTo>
                <a:cubicBezTo>
                  <a:pt x="5168463" y="1871571"/>
                  <a:pt x="5168462" y="1873663"/>
                  <a:pt x="5168462" y="1875756"/>
                </a:cubicBezTo>
                <a:lnTo>
                  <a:pt x="5229895" y="2087656"/>
                </a:lnTo>
                <a:lnTo>
                  <a:pt x="5242098" y="2145617"/>
                </a:lnTo>
                <a:lnTo>
                  <a:pt x="5261255" y="2173166"/>
                </a:lnTo>
                <a:cubicBezTo>
                  <a:pt x="5252821" y="2198470"/>
                  <a:pt x="5261254" y="2206906"/>
                  <a:pt x="5278125" y="2215342"/>
                </a:cubicBezTo>
                <a:cubicBezTo>
                  <a:pt x="5278126" y="2232217"/>
                  <a:pt x="5278128" y="2249087"/>
                  <a:pt x="5286562" y="2265959"/>
                </a:cubicBezTo>
                <a:cubicBezTo>
                  <a:pt x="5294998" y="2282828"/>
                  <a:pt x="5294997" y="2308137"/>
                  <a:pt x="5303433" y="2325006"/>
                </a:cubicBezTo>
                <a:cubicBezTo>
                  <a:pt x="5311869" y="2350315"/>
                  <a:pt x="5311869" y="2384057"/>
                  <a:pt x="5320305" y="2409365"/>
                </a:cubicBezTo>
                <a:cubicBezTo>
                  <a:pt x="5320305" y="2426235"/>
                  <a:pt x="5328740" y="2451540"/>
                  <a:pt x="5337176" y="2459978"/>
                </a:cubicBezTo>
                <a:lnTo>
                  <a:pt x="5337176" y="2468415"/>
                </a:lnTo>
                <a:cubicBezTo>
                  <a:pt x="5345612" y="2493721"/>
                  <a:pt x="5345611" y="2510592"/>
                  <a:pt x="5354048" y="2535897"/>
                </a:cubicBezTo>
                <a:cubicBezTo>
                  <a:pt x="5354047" y="2552771"/>
                  <a:pt x="5362484" y="2569640"/>
                  <a:pt x="5370919" y="2594947"/>
                </a:cubicBezTo>
                <a:cubicBezTo>
                  <a:pt x="5362484" y="2620254"/>
                  <a:pt x="5370919" y="2620254"/>
                  <a:pt x="5379353" y="2620256"/>
                </a:cubicBezTo>
                <a:cubicBezTo>
                  <a:pt x="5379354" y="2623070"/>
                  <a:pt x="5379353" y="2625880"/>
                  <a:pt x="5379355" y="2628692"/>
                </a:cubicBezTo>
                <a:cubicBezTo>
                  <a:pt x="5379355" y="2637128"/>
                  <a:pt x="5370919" y="2645563"/>
                  <a:pt x="5370919" y="2653998"/>
                </a:cubicBezTo>
                <a:lnTo>
                  <a:pt x="5370919" y="2662431"/>
                </a:lnTo>
                <a:cubicBezTo>
                  <a:pt x="5370919" y="2670868"/>
                  <a:pt x="5370919" y="2670868"/>
                  <a:pt x="5379355" y="2679304"/>
                </a:cubicBezTo>
                <a:lnTo>
                  <a:pt x="5387791" y="2679306"/>
                </a:lnTo>
                <a:lnTo>
                  <a:pt x="5387790" y="2721484"/>
                </a:lnTo>
                <a:lnTo>
                  <a:pt x="5396226" y="2729919"/>
                </a:lnTo>
                <a:lnTo>
                  <a:pt x="5396226" y="2721484"/>
                </a:lnTo>
                <a:lnTo>
                  <a:pt x="5387791" y="2679306"/>
                </a:lnTo>
                <a:lnTo>
                  <a:pt x="5396226" y="2679306"/>
                </a:lnTo>
                <a:lnTo>
                  <a:pt x="5396225" y="2696176"/>
                </a:lnTo>
                <a:lnTo>
                  <a:pt x="5396226" y="2704613"/>
                </a:lnTo>
                <a:cubicBezTo>
                  <a:pt x="5396226" y="2713048"/>
                  <a:pt x="5404662" y="2721481"/>
                  <a:pt x="5404662" y="2729919"/>
                </a:cubicBezTo>
                <a:lnTo>
                  <a:pt x="5404661" y="2763661"/>
                </a:lnTo>
                <a:lnTo>
                  <a:pt x="5396224" y="2755225"/>
                </a:lnTo>
                <a:cubicBezTo>
                  <a:pt x="5396224" y="2755225"/>
                  <a:pt x="5396226" y="2763663"/>
                  <a:pt x="5396225" y="2772097"/>
                </a:cubicBezTo>
                <a:cubicBezTo>
                  <a:pt x="5396225" y="2772097"/>
                  <a:pt x="5396224" y="2780533"/>
                  <a:pt x="5396225" y="2788969"/>
                </a:cubicBezTo>
                <a:cubicBezTo>
                  <a:pt x="5404662" y="2797406"/>
                  <a:pt x="5404661" y="2805841"/>
                  <a:pt x="5404662" y="2814279"/>
                </a:cubicBezTo>
                <a:lnTo>
                  <a:pt x="5404661" y="2831146"/>
                </a:lnTo>
                <a:lnTo>
                  <a:pt x="5413098" y="2839583"/>
                </a:lnTo>
                <a:cubicBezTo>
                  <a:pt x="5413097" y="2848019"/>
                  <a:pt x="5421533" y="2856455"/>
                  <a:pt x="5421533" y="2864890"/>
                </a:cubicBezTo>
                <a:lnTo>
                  <a:pt x="5421534" y="2881764"/>
                </a:lnTo>
                <a:cubicBezTo>
                  <a:pt x="5413098" y="2881764"/>
                  <a:pt x="5413098" y="2881764"/>
                  <a:pt x="5413098" y="2890197"/>
                </a:cubicBezTo>
                <a:lnTo>
                  <a:pt x="5421534" y="2898631"/>
                </a:lnTo>
                <a:cubicBezTo>
                  <a:pt x="5421534" y="2898631"/>
                  <a:pt x="5421533" y="2907070"/>
                  <a:pt x="5413098" y="2915506"/>
                </a:cubicBezTo>
                <a:lnTo>
                  <a:pt x="5421534" y="2932377"/>
                </a:lnTo>
                <a:lnTo>
                  <a:pt x="5429969" y="2923940"/>
                </a:lnTo>
                <a:lnTo>
                  <a:pt x="5429969" y="2949247"/>
                </a:lnTo>
                <a:cubicBezTo>
                  <a:pt x="5429968" y="2952060"/>
                  <a:pt x="5429968" y="2954872"/>
                  <a:pt x="5429967" y="2957684"/>
                </a:cubicBezTo>
                <a:cubicBezTo>
                  <a:pt x="5438405" y="2974555"/>
                  <a:pt x="5438405" y="2982988"/>
                  <a:pt x="5438405" y="2991425"/>
                </a:cubicBezTo>
                <a:lnTo>
                  <a:pt x="5438405" y="3025167"/>
                </a:lnTo>
                <a:lnTo>
                  <a:pt x="5438405" y="3050476"/>
                </a:lnTo>
                <a:lnTo>
                  <a:pt x="5438405" y="3101088"/>
                </a:lnTo>
                <a:cubicBezTo>
                  <a:pt x="5438403" y="3109525"/>
                  <a:pt x="5429969" y="3117961"/>
                  <a:pt x="5429969" y="3126398"/>
                </a:cubicBezTo>
                <a:lnTo>
                  <a:pt x="5421534" y="3117961"/>
                </a:lnTo>
                <a:lnTo>
                  <a:pt x="5413096" y="3109525"/>
                </a:lnTo>
                <a:cubicBezTo>
                  <a:pt x="5413097" y="3112337"/>
                  <a:pt x="5413097" y="3115150"/>
                  <a:pt x="5413098" y="3117961"/>
                </a:cubicBezTo>
                <a:lnTo>
                  <a:pt x="5413098" y="3126395"/>
                </a:lnTo>
                <a:lnTo>
                  <a:pt x="5421533" y="3134833"/>
                </a:lnTo>
                <a:lnTo>
                  <a:pt x="5429969" y="3143265"/>
                </a:lnTo>
                <a:lnTo>
                  <a:pt x="5438404" y="3143266"/>
                </a:lnTo>
                <a:cubicBezTo>
                  <a:pt x="5438405" y="3134833"/>
                  <a:pt x="5446841" y="3117961"/>
                  <a:pt x="5446840" y="3101088"/>
                </a:cubicBezTo>
                <a:cubicBezTo>
                  <a:pt x="5446840" y="3098278"/>
                  <a:pt x="5446840" y="3095466"/>
                  <a:pt x="5446838" y="3092654"/>
                </a:cubicBezTo>
                <a:cubicBezTo>
                  <a:pt x="5446841" y="3084217"/>
                  <a:pt x="5438404" y="3067347"/>
                  <a:pt x="5446840" y="3058912"/>
                </a:cubicBezTo>
                <a:lnTo>
                  <a:pt x="5446841" y="3042041"/>
                </a:lnTo>
                <a:cubicBezTo>
                  <a:pt x="5455276" y="3050475"/>
                  <a:pt x="5455275" y="3067346"/>
                  <a:pt x="5455276" y="3084216"/>
                </a:cubicBezTo>
                <a:cubicBezTo>
                  <a:pt x="5455276" y="3101088"/>
                  <a:pt x="5455276" y="3117961"/>
                  <a:pt x="5463712" y="3134833"/>
                </a:cubicBezTo>
                <a:cubicBezTo>
                  <a:pt x="5463712" y="3143265"/>
                  <a:pt x="5455276" y="3143266"/>
                  <a:pt x="5455276" y="3151703"/>
                </a:cubicBezTo>
                <a:lnTo>
                  <a:pt x="5455276" y="3168573"/>
                </a:lnTo>
                <a:cubicBezTo>
                  <a:pt x="5455276" y="3185442"/>
                  <a:pt x="5455276" y="3193880"/>
                  <a:pt x="5455273" y="3210751"/>
                </a:cubicBezTo>
                <a:lnTo>
                  <a:pt x="5446841" y="3202314"/>
                </a:lnTo>
                <a:cubicBezTo>
                  <a:pt x="5446841" y="3193880"/>
                  <a:pt x="5446841" y="3193880"/>
                  <a:pt x="5438405" y="3202316"/>
                </a:cubicBezTo>
                <a:lnTo>
                  <a:pt x="5438405" y="3210751"/>
                </a:lnTo>
                <a:lnTo>
                  <a:pt x="5438405" y="3219184"/>
                </a:lnTo>
                <a:lnTo>
                  <a:pt x="5446841" y="3227621"/>
                </a:lnTo>
                <a:lnTo>
                  <a:pt x="5446840" y="3236060"/>
                </a:lnTo>
                <a:lnTo>
                  <a:pt x="5446841" y="3244494"/>
                </a:lnTo>
                <a:cubicBezTo>
                  <a:pt x="5446841" y="3252928"/>
                  <a:pt x="5455275" y="3269801"/>
                  <a:pt x="5455276" y="3278235"/>
                </a:cubicBezTo>
                <a:cubicBezTo>
                  <a:pt x="5455276" y="3303542"/>
                  <a:pt x="5463712" y="3311978"/>
                  <a:pt x="5455276" y="3320416"/>
                </a:cubicBezTo>
                <a:cubicBezTo>
                  <a:pt x="5446841" y="3320415"/>
                  <a:pt x="5446841" y="3328851"/>
                  <a:pt x="5446841" y="3328851"/>
                </a:cubicBezTo>
                <a:cubicBezTo>
                  <a:pt x="5446841" y="3328851"/>
                  <a:pt x="5438403" y="3328851"/>
                  <a:pt x="5438403" y="3320416"/>
                </a:cubicBezTo>
                <a:cubicBezTo>
                  <a:pt x="5438405" y="3286671"/>
                  <a:pt x="5438405" y="3252930"/>
                  <a:pt x="5429968" y="3219187"/>
                </a:cubicBezTo>
                <a:lnTo>
                  <a:pt x="5429969" y="3210749"/>
                </a:lnTo>
                <a:cubicBezTo>
                  <a:pt x="5421534" y="3210749"/>
                  <a:pt x="5421534" y="3219187"/>
                  <a:pt x="5421534" y="3219187"/>
                </a:cubicBezTo>
                <a:cubicBezTo>
                  <a:pt x="5429968" y="3252929"/>
                  <a:pt x="5429968" y="3286673"/>
                  <a:pt x="5429969" y="3320416"/>
                </a:cubicBezTo>
                <a:cubicBezTo>
                  <a:pt x="5421534" y="3320416"/>
                  <a:pt x="5413097" y="3320415"/>
                  <a:pt x="5404661" y="3337285"/>
                </a:cubicBezTo>
                <a:cubicBezTo>
                  <a:pt x="5404661" y="3379464"/>
                  <a:pt x="5387791" y="3387901"/>
                  <a:pt x="5387791" y="3430080"/>
                </a:cubicBezTo>
                <a:cubicBezTo>
                  <a:pt x="5345611" y="3539744"/>
                  <a:pt x="5328741" y="3674713"/>
                  <a:pt x="5320304" y="3767504"/>
                </a:cubicBezTo>
                <a:lnTo>
                  <a:pt x="5320305" y="3775942"/>
                </a:lnTo>
                <a:lnTo>
                  <a:pt x="5320305" y="3784378"/>
                </a:lnTo>
                <a:cubicBezTo>
                  <a:pt x="5328740" y="3784378"/>
                  <a:pt x="5328740" y="3784378"/>
                  <a:pt x="5328741" y="3775940"/>
                </a:cubicBezTo>
                <a:cubicBezTo>
                  <a:pt x="5337175" y="3683147"/>
                  <a:pt x="5354047" y="3556613"/>
                  <a:pt x="5396226" y="3446949"/>
                </a:cubicBezTo>
                <a:lnTo>
                  <a:pt x="5396226" y="3455387"/>
                </a:lnTo>
                <a:cubicBezTo>
                  <a:pt x="5404661" y="3455385"/>
                  <a:pt x="5404662" y="3446951"/>
                  <a:pt x="5413098" y="3438513"/>
                </a:cubicBezTo>
                <a:lnTo>
                  <a:pt x="5413098" y="3463820"/>
                </a:lnTo>
                <a:lnTo>
                  <a:pt x="5404662" y="3463821"/>
                </a:lnTo>
                <a:lnTo>
                  <a:pt x="5404662" y="3472258"/>
                </a:lnTo>
                <a:lnTo>
                  <a:pt x="5404661" y="3480692"/>
                </a:lnTo>
                <a:lnTo>
                  <a:pt x="5413098" y="3480691"/>
                </a:lnTo>
                <a:cubicBezTo>
                  <a:pt x="5404660" y="3497563"/>
                  <a:pt x="5404662" y="3514435"/>
                  <a:pt x="5404662" y="3522869"/>
                </a:cubicBezTo>
                <a:lnTo>
                  <a:pt x="5404662" y="3539744"/>
                </a:lnTo>
                <a:cubicBezTo>
                  <a:pt x="5404662" y="3548176"/>
                  <a:pt x="5404660" y="3556614"/>
                  <a:pt x="5404662" y="3565051"/>
                </a:cubicBezTo>
                <a:lnTo>
                  <a:pt x="5404662" y="3573483"/>
                </a:lnTo>
                <a:cubicBezTo>
                  <a:pt x="5396224" y="3573485"/>
                  <a:pt x="5396224" y="3573485"/>
                  <a:pt x="5396226" y="3581921"/>
                </a:cubicBezTo>
                <a:lnTo>
                  <a:pt x="5396226" y="3598792"/>
                </a:lnTo>
                <a:lnTo>
                  <a:pt x="5404662" y="3607228"/>
                </a:lnTo>
                <a:cubicBezTo>
                  <a:pt x="5413098" y="3674713"/>
                  <a:pt x="5413098" y="3742198"/>
                  <a:pt x="5404662" y="3809683"/>
                </a:cubicBezTo>
                <a:cubicBezTo>
                  <a:pt x="5396226" y="3843426"/>
                  <a:pt x="5396226" y="3868735"/>
                  <a:pt x="5387791" y="3902475"/>
                </a:cubicBezTo>
                <a:cubicBezTo>
                  <a:pt x="5387791" y="3902475"/>
                  <a:pt x="5396226" y="3902476"/>
                  <a:pt x="5396226" y="3894042"/>
                </a:cubicBezTo>
                <a:cubicBezTo>
                  <a:pt x="5387791" y="3953090"/>
                  <a:pt x="5387791" y="4003705"/>
                  <a:pt x="5379355" y="4062754"/>
                </a:cubicBezTo>
                <a:lnTo>
                  <a:pt x="5387791" y="4071190"/>
                </a:lnTo>
                <a:cubicBezTo>
                  <a:pt x="5387790" y="4088061"/>
                  <a:pt x="5379355" y="4096495"/>
                  <a:pt x="5379355" y="4113369"/>
                </a:cubicBezTo>
                <a:cubicBezTo>
                  <a:pt x="5379355" y="4104933"/>
                  <a:pt x="5370919" y="4113368"/>
                  <a:pt x="5370919" y="4121804"/>
                </a:cubicBezTo>
                <a:cubicBezTo>
                  <a:pt x="5379355" y="4121802"/>
                  <a:pt x="5379355" y="4130239"/>
                  <a:pt x="5379355" y="4138676"/>
                </a:cubicBezTo>
                <a:cubicBezTo>
                  <a:pt x="5379355" y="4155546"/>
                  <a:pt x="5370917" y="4172417"/>
                  <a:pt x="5370918" y="4189288"/>
                </a:cubicBezTo>
                <a:cubicBezTo>
                  <a:pt x="5370918" y="4192101"/>
                  <a:pt x="5370918" y="4194913"/>
                  <a:pt x="5370916" y="4197726"/>
                </a:cubicBezTo>
                <a:cubicBezTo>
                  <a:pt x="5370918" y="4206160"/>
                  <a:pt x="5362484" y="4214597"/>
                  <a:pt x="5362483" y="4223033"/>
                </a:cubicBezTo>
                <a:lnTo>
                  <a:pt x="5362484" y="4231465"/>
                </a:lnTo>
                <a:lnTo>
                  <a:pt x="5362484" y="4239904"/>
                </a:lnTo>
                <a:cubicBezTo>
                  <a:pt x="5354048" y="4290517"/>
                  <a:pt x="5337175" y="4341131"/>
                  <a:pt x="5328741" y="4383310"/>
                </a:cubicBezTo>
                <a:cubicBezTo>
                  <a:pt x="5328741" y="4383310"/>
                  <a:pt x="5337176" y="4400179"/>
                  <a:pt x="5328741" y="4408617"/>
                </a:cubicBezTo>
                <a:cubicBezTo>
                  <a:pt x="5328742" y="4411429"/>
                  <a:pt x="5328741" y="4414241"/>
                  <a:pt x="5328743" y="4417053"/>
                </a:cubicBezTo>
                <a:cubicBezTo>
                  <a:pt x="5328741" y="4408617"/>
                  <a:pt x="5328741" y="4433924"/>
                  <a:pt x="5328743" y="4450795"/>
                </a:cubicBezTo>
                <a:cubicBezTo>
                  <a:pt x="5320305" y="4484536"/>
                  <a:pt x="5303434" y="4518279"/>
                  <a:pt x="5294997" y="4543588"/>
                </a:cubicBezTo>
                <a:cubicBezTo>
                  <a:pt x="5252819" y="4686995"/>
                  <a:pt x="5219075" y="4796658"/>
                  <a:pt x="5185332" y="4897886"/>
                </a:cubicBezTo>
                <a:lnTo>
                  <a:pt x="5185333" y="4906322"/>
                </a:lnTo>
                <a:lnTo>
                  <a:pt x="5176898" y="4914756"/>
                </a:lnTo>
                <a:cubicBezTo>
                  <a:pt x="5155808" y="4952718"/>
                  <a:pt x="5134719" y="4988568"/>
                  <a:pt x="5113630" y="5026528"/>
                </a:cubicBezTo>
                <a:lnTo>
                  <a:pt x="5057164" y="5137575"/>
                </a:lnTo>
                <a:lnTo>
                  <a:pt x="5058139" y="5135139"/>
                </a:lnTo>
                <a:cubicBezTo>
                  <a:pt x="5061961" y="5124594"/>
                  <a:pt x="5065125" y="5115105"/>
                  <a:pt x="5067233" y="5108777"/>
                </a:cubicBezTo>
                <a:cubicBezTo>
                  <a:pt x="5067233" y="5100343"/>
                  <a:pt x="5075669" y="5091906"/>
                  <a:pt x="5075669" y="5091906"/>
                </a:cubicBezTo>
                <a:cubicBezTo>
                  <a:pt x="5092540" y="5058163"/>
                  <a:pt x="5109411" y="5041293"/>
                  <a:pt x="5100977" y="5032856"/>
                </a:cubicBezTo>
                <a:cubicBezTo>
                  <a:pt x="5117847" y="5024421"/>
                  <a:pt x="5134719" y="4973806"/>
                  <a:pt x="5143155" y="4931629"/>
                </a:cubicBezTo>
                <a:cubicBezTo>
                  <a:pt x="5143154" y="4923193"/>
                  <a:pt x="5143154" y="4914755"/>
                  <a:pt x="5151590" y="4914756"/>
                </a:cubicBezTo>
                <a:cubicBezTo>
                  <a:pt x="5151590" y="4914756"/>
                  <a:pt x="5160026" y="4906320"/>
                  <a:pt x="5160025" y="4897886"/>
                </a:cubicBezTo>
                <a:lnTo>
                  <a:pt x="5151590" y="4889450"/>
                </a:lnTo>
                <a:cubicBezTo>
                  <a:pt x="5143157" y="4889451"/>
                  <a:pt x="5134719" y="4906322"/>
                  <a:pt x="5126283" y="4923193"/>
                </a:cubicBezTo>
                <a:lnTo>
                  <a:pt x="5126282" y="4931629"/>
                </a:lnTo>
                <a:cubicBezTo>
                  <a:pt x="5092539" y="4999113"/>
                  <a:pt x="5075669" y="5024420"/>
                  <a:pt x="5058797" y="5083468"/>
                </a:cubicBezTo>
                <a:lnTo>
                  <a:pt x="5058797" y="5091906"/>
                </a:lnTo>
                <a:cubicBezTo>
                  <a:pt x="5050364" y="5100343"/>
                  <a:pt x="5033490" y="5125649"/>
                  <a:pt x="5025055" y="5134082"/>
                </a:cubicBezTo>
                <a:lnTo>
                  <a:pt x="4999746" y="5184698"/>
                </a:lnTo>
                <a:cubicBezTo>
                  <a:pt x="4987093" y="5214223"/>
                  <a:pt x="4972332" y="5250076"/>
                  <a:pt x="4954406" y="5285927"/>
                </a:cubicBezTo>
                <a:lnTo>
                  <a:pt x="4900498" y="5370762"/>
                </a:lnTo>
                <a:lnTo>
                  <a:pt x="4898519" y="5361848"/>
                </a:lnTo>
                <a:cubicBezTo>
                  <a:pt x="4831032" y="5496818"/>
                  <a:pt x="4755112" y="5614916"/>
                  <a:pt x="4662316" y="5749889"/>
                </a:cubicBezTo>
                <a:lnTo>
                  <a:pt x="4653884" y="5749889"/>
                </a:lnTo>
                <a:cubicBezTo>
                  <a:pt x="4653883" y="5752701"/>
                  <a:pt x="4653884" y="5755513"/>
                  <a:pt x="4653883" y="5758325"/>
                </a:cubicBezTo>
                <a:lnTo>
                  <a:pt x="4653883" y="5766759"/>
                </a:lnTo>
                <a:cubicBezTo>
                  <a:pt x="4645447" y="5775196"/>
                  <a:pt x="4628576" y="5783632"/>
                  <a:pt x="4620140" y="5792066"/>
                </a:cubicBezTo>
                <a:cubicBezTo>
                  <a:pt x="4637009" y="5817375"/>
                  <a:pt x="4577961" y="5867989"/>
                  <a:pt x="4552653" y="5910164"/>
                </a:cubicBezTo>
                <a:cubicBezTo>
                  <a:pt x="4544219" y="5901728"/>
                  <a:pt x="4561089" y="5884859"/>
                  <a:pt x="4552654" y="5884859"/>
                </a:cubicBezTo>
                <a:cubicBezTo>
                  <a:pt x="4510474" y="5927039"/>
                  <a:pt x="4569528" y="5893295"/>
                  <a:pt x="4527347" y="5943909"/>
                </a:cubicBezTo>
                <a:cubicBezTo>
                  <a:pt x="4518910" y="5943909"/>
                  <a:pt x="4527346" y="5935473"/>
                  <a:pt x="4518911" y="5935473"/>
                </a:cubicBezTo>
                <a:cubicBezTo>
                  <a:pt x="4485167" y="5994523"/>
                  <a:pt x="4434553" y="6036702"/>
                  <a:pt x="4417681" y="6078880"/>
                </a:cubicBezTo>
                <a:cubicBezTo>
                  <a:pt x="4417681" y="6078880"/>
                  <a:pt x="4426117" y="6062009"/>
                  <a:pt x="4409247" y="6078880"/>
                </a:cubicBezTo>
                <a:cubicBezTo>
                  <a:pt x="4400810" y="6121059"/>
                  <a:pt x="4350199" y="6146366"/>
                  <a:pt x="4316454" y="6180105"/>
                </a:cubicBezTo>
                <a:cubicBezTo>
                  <a:pt x="4291147" y="6230723"/>
                  <a:pt x="4248968" y="6272900"/>
                  <a:pt x="4206789" y="6306641"/>
                </a:cubicBezTo>
                <a:cubicBezTo>
                  <a:pt x="4185699" y="6323514"/>
                  <a:pt x="4164611" y="6340386"/>
                  <a:pt x="4142466" y="6360420"/>
                </a:cubicBezTo>
                <a:lnTo>
                  <a:pt x="4080254" y="6424489"/>
                </a:lnTo>
                <a:lnTo>
                  <a:pt x="4080254" y="6416307"/>
                </a:lnTo>
                <a:cubicBezTo>
                  <a:pt x="4071817" y="6416305"/>
                  <a:pt x="4071817" y="6416305"/>
                  <a:pt x="4071818" y="6424743"/>
                </a:cubicBezTo>
                <a:lnTo>
                  <a:pt x="4063381" y="6441614"/>
                </a:lnTo>
                <a:lnTo>
                  <a:pt x="4063381" y="6433176"/>
                </a:lnTo>
                <a:cubicBezTo>
                  <a:pt x="4046510" y="6441614"/>
                  <a:pt x="4029637" y="6458484"/>
                  <a:pt x="4012767" y="6483791"/>
                </a:cubicBezTo>
                <a:lnTo>
                  <a:pt x="4012768" y="6492227"/>
                </a:lnTo>
                <a:cubicBezTo>
                  <a:pt x="4012769" y="6500664"/>
                  <a:pt x="4004330" y="6500665"/>
                  <a:pt x="4004330" y="6509098"/>
                </a:cubicBezTo>
                <a:cubicBezTo>
                  <a:pt x="4004330" y="6500665"/>
                  <a:pt x="4012768" y="6492227"/>
                  <a:pt x="4004330" y="6492227"/>
                </a:cubicBezTo>
                <a:lnTo>
                  <a:pt x="3979024" y="6517534"/>
                </a:lnTo>
                <a:lnTo>
                  <a:pt x="3979025" y="6509096"/>
                </a:lnTo>
                <a:lnTo>
                  <a:pt x="3979024" y="6500664"/>
                </a:lnTo>
                <a:lnTo>
                  <a:pt x="3970588" y="6500664"/>
                </a:lnTo>
                <a:lnTo>
                  <a:pt x="3970588" y="6517534"/>
                </a:lnTo>
                <a:cubicBezTo>
                  <a:pt x="3970588" y="6520347"/>
                  <a:pt x="3970589" y="6523159"/>
                  <a:pt x="3970590" y="6525971"/>
                </a:cubicBezTo>
                <a:lnTo>
                  <a:pt x="3962153" y="6534407"/>
                </a:lnTo>
                <a:lnTo>
                  <a:pt x="3953718" y="6534407"/>
                </a:lnTo>
                <a:lnTo>
                  <a:pt x="3945280" y="6534407"/>
                </a:lnTo>
                <a:lnTo>
                  <a:pt x="3945281" y="6542841"/>
                </a:lnTo>
                <a:lnTo>
                  <a:pt x="3945280" y="6551277"/>
                </a:lnTo>
                <a:cubicBezTo>
                  <a:pt x="3936845" y="6559714"/>
                  <a:pt x="3928411" y="6568146"/>
                  <a:pt x="3919974" y="6568148"/>
                </a:cubicBezTo>
                <a:cubicBezTo>
                  <a:pt x="3919974" y="6565337"/>
                  <a:pt x="3919975" y="6562525"/>
                  <a:pt x="3919976" y="6559714"/>
                </a:cubicBezTo>
                <a:lnTo>
                  <a:pt x="3911538" y="6568148"/>
                </a:lnTo>
                <a:lnTo>
                  <a:pt x="3903102" y="6576584"/>
                </a:lnTo>
                <a:cubicBezTo>
                  <a:pt x="3903102" y="6576584"/>
                  <a:pt x="3894667" y="6585021"/>
                  <a:pt x="3894667" y="6593455"/>
                </a:cubicBezTo>
                <a:lnTo>
                  <a:pt x="3894667" y="6585021"/>
                </a:lnTo>
                <a:cubicBezTo>
                  <a:pt x="3886231" y="6585020"/>
                  <a:pt x="3877794" y="6593455"/>
                  <a:pt x="3860924" y="6601891"/>
                </a:cubicBezTo>
                <a:cubicBezTo>
                  <a:pt x="3869358" y="6585021"/>
                  <a:pt x="3852488" y="6601889"/>
                  <a:pt x="3860924" y="6585021"/>
                </a:cubicBezTo>
                <a:lnTo>
                  <a:pt x="3827181" y="6610327"/>
                </a:lnTo>
                <a:lnTo>
                  <a:pt x="3827182" y="6601891"/>
                </a:lnTo>
                <a:lnTo>
                  <a:pt x="3835618" y="6593455"/>
                </a:lnTo>
                <a:cubicBezTo>
                  <a:pt x="3835618" y="6593455"/>
                  <a:pt x="3844051" y="6593453"/>
                  <a:pt x="3835617" y="6585021"/>
                </a:cubicBezTo>
                <a:lnTo>
                  <a:pt x="3827181" y="6593455"/>
                </a:lnTo>
                <a:lnTo>
                  <a:pt x="3818745" y="6601891"/>
                </a:lnTo>
                <a:cubicBezTo>
                  <a:pt x="3818745" y="6610327"/>
                  <a:pt x="3810311" y="6610327"/>
                  <a:pt x="3810309" y="6618762"/>
                </a:cubicBezTo>
                <a:cubicBezTo>
                  <a:pt x="3810309" y="6618762"/>
                  <a:pt x="3818745" y="6627198"/>
                  <a:pt x="3827181" y="6618762"/>
                </a:cubicBezTo>
                <a:lnTo>
                  <a:pt x="3818745" y="6627198"/>
                </a:lnTo>
                <a:cubicBezTo>
                  <a:pt x="3793437" y="6660942"/>
                  <a:pt x="3785001" y="6652506"/>
                  <a:pt x="3776566" y="6677812"/>
                </a:cubicBezTo>
                <a:cubicBezTo>
                  <a:pt x="3793437" y="6660942"/>
                  <a:pt x="3801875" y="6669377"/>
                  <a:pt x="3810308" y="6669377"/>
                </a:cubicBezTo>
                <a:cubicBezTo>
                  <a:pt x="3801875" y="6677812"/>
                  <a:pt x="3785002" y="6686248"/>
                  <a:pt x="3776566" y="6694684"/>
                </a:cubicBezTo>
                <a:lnTo>
                  <a:pt x="3751259" y="6719991"/>
                </a:lnTo>
                <a:cubicBezTo>
                  <a:pt x="3742825" y="6719991"/>
                  <a:pt x="3734388" y="6728426"/>
                  <a:pt x="3734388" y="6728426"/>
                </a:cubicBezTo>
                <a:cubicBezTo>
                  <a:pt x="3725952" y="6728426"/>
                  <a:pt x="3734388" y="6719991"/>
                  <a:pt x="3734390" y="6711555"/>
                </a:cubicBezTo>
                <a:lnTo>
                  <a:pt x="3700645" y="6745297"/>
                </a:lnTo>
                <a:lnTo>
                  <a:pt x="3692211" y="6736862"/>
                </a:lnTo>
                <a:cubicBezTo>
                  <a:pt x="3692211" y="6736862"/>
                  <a:pt x="3692209" y="6728426"/>
                  <a:pt x="3700645" y="6728426"/>
                </a:cubicBezTo>
                <a:lnTo>
                  <a:pt x="3700645" y="6719990"/>
                </a:lnTo>
                <a:lnTo>
                  <a:pt x="3692209" y="6719991"/>
                </a:lnTo>
                <a:cubicBezTo>
                  <a:pt x="3683775" y="6719991"/>
                  <a:pt x="3683775" y="6728426"/>
                  <a:pt x="3683775" y="6728426"/>
                </a:cubicBezTo>
                <a:lnTo>
                  <a:pt x="3683775" y="6736862"/>
                </a:lnTo>
                <a:cubicBezTo>
                  <a:pt x="3683775" y="6736862"/>
                  <a:pt x="3675339" y="6736862"/>
                  <a:pt x="3675338" y="6745298"/>
                </a:cubicBezTo>
                <a:lnTo>
                  <a:pt x="3666902" y="6753735"/>
                </a:lnTo>
                <a:lnTo>
                  <a:pt x="3658466" y="6753734"/>
                </a:lnTo>
                <a:lnTo>
                  <a:pt x="3658466" y="6762169"/>
                </a:lnTo>
                <a:lnTo>
                  <a:pt x="3650032" y="6762169"/>
                </a:lnTo>
                <a:cubicBezTo>
                  <a:pt x="3650031" y="6759357"/>
                  <a:pt x="3650031" y="6756546"/>
                  <a:pt x="3650030" y="6753734"/>
                </a:cubicBezTo>
                <a:lnTo>
                  <a:pt x="3658466" y="6736862"/>
                </a:lnTo>
                <a:cubicBezTo>
                  <a:pt x="3666902" y="6728426"/>
                  <a:pt x="3675341" y="6728426"/>
                  <a:pt x="3675338" y="6719991"/>
                </a:cubicBezTo>
                <a:lnTo>
                  <a:pt x="3666902" y="6719989"/>
                </a:lnTo>
                <a:cubicBezTo>
                  <a:pt x="3658465" y="6719991"/>
                  <a:pt x="3658466" y="6728426"/>
                  <a:pt x="3658466" y="6728426"/>
                </a:cubicBezTo>
                <a:cubicBezTo>
                  <a:pt x="3641596" y="6736862"/>
                  <a:pt x="3641596" y="6745298"/>
                  <a:pt x="3633159" y="6753734"/>
                </a:cubicBezTo>
                <a:lnTo>
                  <a:pt x="3633159" y="6762169"/>
                </a:lnTo>
                <a:cubicBezTo>
                  <a:pt x="3624723" y="6779039"/>
                  <a:pt x="3616289" y="6779041"/>
                  <a:pt x="3616289" y="6787476"/>
                </a:cubicBezTo>
                <a:cubicBezTo>
                  <a:pt x="3599417" y="6800129"/>
                  <a:pt x="3580437" y="6812782"/>
                  <a:pt x="3561456" y="6826490"/>
                </a:cubicBezTo>
                <a:lnTo>
                  <a:pt x="3523349" y="6858000"/>
                </a:lnTo>
                <a:lnTo>
                  <a:pt x="0" y="6858000"/>
                </a:lnTo>
                <a:close/>
              </a:path>
            </a:pathLst>
          </a:custGeom>
          <a:solidFill>
            <a:schemeClr val="bg1">
              <a:lumMod val="95000"/>
            </a:schemeClr>
          </a:solidFill>
        </p:spPr>
        <p:txBody>
          <a:bodyPr wrap="square" anchor="ctr">
            <a:noAutofit/>
          </a:bodyPr>
          <a:lstStyle>
            <a:lvl1pPr marL="0" indent="0" algn="ctr">
              <a:buNone/>
              <a:defRPr sz="1200">
                <a:latin typeface="Arial" panose="020b0604020202020204" pitchFamily="34" charset="0"/>
                <a:cs typeface="Arial" panose="020b0604020202020204" pitchFamily="34" charset="0"/>
              </a:defRPr>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ltLang="ko-KR"/>
              <a:t>Your Picture Here</a:t>
            </a:r>
            <a:endParaRPr lang="ko-KR" altLang="en-US"/>
          </a:p>
        </p:txBody>
      </p:sp>
    </p:spTree>
    <p:extLst>
      <p:ext uri="{BB962C8B-B14F-4D97-AF65-F5344CB8AC3E}">
        <p14:creationId xmlns:p14="http://schemas.microsoft.com/office/powerpoint/2010/main" val="389058141"/>
      </p:ext>
    </p:extLst>
  </p:cSld>
  <p:clrMapOvr>
    <a:masterClrMapping/>
  </p:clrMapOvr>
  <p:transition/>
  <p:timing/>
</p:sldLayout>
</file>

<file path=ppt/slideLayouts/slideLayout3.xml><?xml version="1.0" encoding="utf-8"?>
<p:sldLayout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reserve="1" userDrawn="1">
  <p:cSld name="Blank">
    <p:spTree>
      <p:nvGrpSpPr>
        <p:cNvPr id="1" name=""/>
        <p:cNvGrpSpPr/>
        <p:nvPr/>
      </p:nvGrpSpPr>
      <p:grpSpPr>
        <a:xfrm>
          <a:off x="0" y="0"/>
          <a:ext cx="0" cy="0"/>
        </a:xfrm>
      </p:grpSpPr>
    </p:spTree>
    <p:extLst>
      <p:ext uri="{BB962C8B-B14F-4D97-AF65-F5344CB8AC3E}">
        <p14:creationId xmlns:p14="http://schemas.microsoft.com/office/powerpoint/2010/main" val="725188082"/>
      </p:ext>
    </p:extLst>
  </p:cSld>
  <p:clrMapOvr>
    <a:masterClrMapping/>
  </p:clrMapOvr>
  <p:transition/>
  <p:timing/>
</p:sldLayout>
</file>

<file path=ppt/slideLayouts/slideLayout4.xml><?xml version="1.0" encoding="utf-8"?>
<p:sldLayout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userDrawn="1">
  <p:cSld name="4_Contents slide layout">
    <p:bg>
      <p:bgPr>
        <a:blipFill dpi="0" rotWithShape="1">
          <a:blip r:embed="rId1">
            <a:lum/>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xfrm>
      </p:grpSpPr>
      <p:sp>
        <p:nvSpPr>
          <p:cNvPr id="2" name="Text Placeholder 9"/>
          <p:cNvSpPr>
            <a:spLocks noGrp="1"/>
          </p:cNvSpPr>
          <p:nvPr>
            <p:ph type="body" sz="quarter" idx="10" hasCustomPrompt="1"/>
          </p:nvPr>
        </p:nvSpPr>
        <p:spPr>
          <a:xfrm>
            <a:off x="722811" y="347952"/>
            <a:ext cx="4284618" cy="2081739"/>
          </a:xfrm>
          <a:prstGeom prst="rect">
            <a:avLst/>
          </a:prstGeom>
        </p:spPr>
        <p:txBody>
          <a:bodyPr anchor="ctr"/>
          <a:lstStyle>
            <a:lvl1pPr marL="0" indent="0" algn="l">
              <a:buNone/>
              <a:defRPr sz="3600" b="0" baseline="0">
                <a:latin typeface="+mj-lt"/>
                <a:cs typeface="Arial" panose="020b0604020202020204" pitchFamily="34" charset="0"/>
              </a:defRPr>
            </a:lvl1pPr>
          </a:lstStyle>
          <a:p>
            <a:pPr lvl="0"/>
            <a:r>
              <a:rPr lang="en-US" altLang="ko-KR"/>
              <a:t>BASIC LAYOUT</a:t>
            </a:r>
          </a:p>
        </p:txBody>
      </p:sp>
    </p:spTree>
    <p:extLst>
      <p:ext uri="{BB962C8B-B14F-4D97-AF65-F5344CB8AC3E}">
        <p14:creationId xmlns:p14="http://schemas.microsoft.com/office/powerpoint/2010/main" val="1408439216"/>
      </p:ext>
    </p:extLst>
  </p:cSld>
  <p:clrMapOvr>
    <a:masterClrMapping/>
  </p:clrMapOvr>
  <p:transition/>
  <p:timing/>
</p:sldLayout>
</file>

<file path=ppt/slideLayouts/slideLayout5.xml><?xml version="1.0" encoding="utf-8"?>
<p:sldLayout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matchingName="Title + 1 column" userDrawn="1">
  <p:cSld name="Title + 1 column">
    <p:spTree>
      <p:nvGrpSpPr>
        <p:cNvPr id="1" name="Shape 24"/>
        <p:cNvGrpSpPr/>
        <p:nvPr/>
      </p:nvGrpSpPr>
      <p:grpSpPr>
        <a:xfrm>
          <a:off x="0" y="0"/>
          <a:ext cx="0" cy="0"/>
        </a:xfrm>
      </p:grpSpPr>
      <p:sp>
        <p:nvSpPr>
          <p:cNvPr id="2" name="Google Shape;12;p2"/>
          <p:cNvSpPr txBox="1">
            <a:spLocks noGrp="1"/>
          </p:cNvSpPr>
          <p:nvPr>
            <p:ph type="ctrTitle"/>
          </p:nvPr>
        </p:nvSpPr>
        <p:spPr>
          <a:xfrm>
            <a:off x="1317425" y="131811"/>
            <a:ext cx="9559077" cy="865721"/>
          </a:xfrm>
          <a:prstGeom prst="rect">
            <a:avLst/>
          </a:prstGeom>
        </p:spPr>
        <p:txBody>
          <a:bodyPr spcFirstLastPara="1" wrap="square" lIns="0" tIns="0" rIns="0" bIns="0" anchor="ctr" anchorCtr="0">
            <a:noAutofit/>
          </a:bodyPr>
          <a:lstStyle>
            <a:lvl1pPr lvl="0" algn="ctr">
              <a:lnSpc>
                <a:spcPct val="80000"/>
              </a:lnSpc>
              <a:spcBef>
                <a:spcPct val="0"/>
              </a:spcBef>
              <a:spcAft>
                <a:spcPct val="0"/>
              </a:spcAft>
              <a:buSzPts val="4800"/>
              <a:buNone/>
              <a:defRPr sz="4800">
                <a:solidFill>
                  <a:srgbClr val="27348B"/>
                </a:solidFill>
              </a:defRPr>
            </a:lvl1pPr>
            <a:lvl2pPr lvl="1">
              <a:lnSpc>
                <a:spcPct val="80000"/>
              </a:lnSpc>
              <a:spcBef>
                <a:spcPct val="0"/>
              </a:spcBef>
              <a:spcAft>
                <a:spcPct val="0"/>
              </a:spcAft>
              <a:buSzPts val="4800"/>
              <a:buNone/>
              <a:defRPr sz="6400"/>
            </a:lvl2pPr>
            <a:lvl3pPr lvl="2">
              <a:lnSpc>
                <a:spcPct val="80000"/>
              </a:lnSpc>
              <a:spcBef>
                <a:spcPct val="0"/>
              </a:spcBef>
              <a:spcAft>
                <a:spcPct val="0"/>
              </a:spcAft>
              <a:buSzPts val="4800"/>
              <a:buNone/>
              <a:defRPr sz="6400"/>
            </a:lvl3pPr>
            <a:lvl4pPr lvl="3">
              <a:lnSpc>
                <a:spcPct val="80000"/>
              </a:lnSpc>
              <a:spcBef>
                <a:spcPct val="0"/>
              </a:spcBef>
              <a:spcAft>
                <a:spcPct val="0"/>
              </a:spcAft>
              <a:buSzPts val="4800"/>
              <a:buNone/>
              <a:defRPr sz="6400"/>
            </a:lvl4pPr>
            <a:lvl5pPr lvl="4">
              <a:lnSpc>
                <a:spcPct val="80000"/>
              </a:lnSpc>
              <a:spcBef>
                <a:spcPct val="0"/>
              </a:spcBef>
              <a:spcAft>
                <a:spcPct val="0"/>
              </a:spcAft>
              <a:buSzPts val="4800"/>
              <a:buNone/>
              <a:defRPr sz="6400"/>
            </a:lvl5pPr>
            <a:lvl6pPr lvl="5">
              <a:lnSpc>
                <a:spcPct val="80000"/>
              </a:lnSpc>
              <a:spcBef>
                <a:spcPct val="0"/>
              </a:spcBef>
              <a:spcAft>
                <a:spcPct val="0"/>
              </a:spcAft>
              <a:buSzPts val="4800"/>
              <a:buNone/>
              <a:defRPr sz="6400"/>
            </a:lvl6pPr>
            <a:lvl7pPr lvl="6">
              <a:lnSpc>
                <a:spcPct val="80000"/>
              </a:lnSpc>
              <a:spcBef>
                <a:spcPct val="0"/>
              </a:spcBef>
              <a:spcAft>
                <a:spcPct val="0"/>
              </a:spcAft>
              <a:buSzPts val="4800"/>
              <a:buNone/>
              <a:defRPr sz="6400"/>
            </a:lvl7pPr>
            <a:lvl8pPr lvl="7">
              <a:lnSpc>
                <a:spcPct val="80000"/>
              </a:lnSpc>
              <a:spcBef>
                <a:spcPct val="0"/>
              </a:spcBef>
              <a:spcAft>
                <a:spcPct val="0"/>
              </a:spcAft>
              <a:buSzPts val="4800"/>
              <a:buNone/>
              <a:defRPr sz="6400"/>
            </a:lvl8pPr>
            <a:lvl9pPr lvl="8">
              <a:lnSpc>
                <a:spcPct val="80000"/>
              </a:lnSpc>
              <a:spcBef>
                <a:spcPct val="0"/>
              </a:spcBef>
              <a:spcAft>
                <a:spcPct val="0"/>
              </a:spcAft>
              <a:buSzPts val="4800"/>
              <a:buNone/>
              <a:defRPr sz="6400"/>
            </a:lvl9pPr>
          </a:lstStyle>
          <a:p>
            <a:endParaRPr/>
          </a:p>
        </p:txBody>
      </p:sp>
    </p:spTree>
    <p:extLst>
      <p:ext uri="{BB962C8B-B14F-4D97-AF65-F5344CB8AC3E}">
        <p14:creationId xmlns:p14="http://schemas.microsoft.com/office/powerpoint/2010/main" val="2631629701"/>
      </p:ext>
    </p:extLst>
  </p:cSld>
  <p:clrMapOvr>
    <a:masterClrMapping/>
  </p:clrMapOvr>
  <p:transition/>
  <p:timing/>
</p:sldLayout>
</file>

<file path=ppt/slideLayouts/slideLayout6.xml><?xml version="1.0" encoding="utf-8"?>
<p:sldLayout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userDrawn="1">
  <p:cSld name="9_Icon sets layout">
    <p:spTree>
      <p:nvGrpSpPr>
        <p:cNvPr id="1" name=""/>
        <p:cNvGrpSpPr/>
        <p:nvPr/>
      </p:nvGrpSpPr>
      <p:grpSpPr>
        <a:xfrm>
          <a:off x="0" y="0"/>
          <a:ext cx="0" cy="0"/>
        </a:xfrm>
      </p:grpSpPr>
      <p:sp>
        <p:nvSpPr>
          <p:cNvPr id="2" name="Text Placeholder 9"/>
          <p:cNvSpPr>
            <a:spLocks noGrp="1"/>
          </p:cNvSpPr>
          <p:nvPr>
            <p:ph type="body" sz="quarter" idx="10" hasCustomPrompt="1"/>
          </p:nvPr>
        </p:nvSpPr>
        <p:spPr>
          <a:xfrm>
            <a:off x="323529" y="123483"/>
            <a:ext cx="11573197" cy="724247"/>
          </a:xfrm>
          <a:prstGeom prst="rect">
            <a:avLst/>
          </a:prstGeom>
        </p:spPr>
        <p:txBody>
          <a:bodyPr anchor="ctr"/>
          <a:lstStyle>
            <a:lvl1pPr marL="0" indent="0" algn="ctr">
              <a:buNone/>
              <a:defRPr sz="5400" b="0" baseline="0">
                <a:solidFill>
                  <a:srgbClr val="000000"/>
                </a:solidFill>
                <a:latin typeface="+mj-lt"/>
                <a:cs typeface="Arial" panose="020b0604020202020204" pitchFamily="34" charset="0"/>
              </a:defRPr>
            </a:lvl1pPr>
          </a:lstStyle>
          <a:p>
            <a:pPr lvl="0"/>
            <a:r>
              <a:rPr lang="en-US" altLang="ko-KR"/>
              <a:t>BASIC LAYOUT</a:t>
            </a:r>
          </a:p>
        </p:txBody>
      </p:sp>
      <p:sp>
        <p:nvSpPr>
          <p:cNvPr id="3" name="Rounded Rectangle 2"/>
          <p:cNvSpPr/>
          <p:nvPr userDrawn="1"/>
        </p:nvSpPr>
        <p:spPr>
          <a:xfrm>
            <a:off x="354014" y="1131595"/>
            <a:ext cx="3560767" cy="5402561"/>
          </a:xfrm>
          <a:prstGeom prst="roundRect">
            <a:avLst>
              <a:gd name="adj" fmla="val 3968"/>
            </a:avLst>
          </a:prstGeom>
          <a:solidFill>
            <a:srgbClr val="02B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solidFill>
                <a:srgbClr val="5E4028"/>
              </a:solidFill>
            </a:endParaRPr>
          </a:p>
        </p:txBody>
      </p:sp>
      <p:sp>
        <p:nvSpPr>
          <p:cNvPr id="4" name="Rounded Rectangle 3"/>
          <p:cNvSpPr/>
          <p:nvPr userDrawn="1"/>
        </p:nvSpPr>
        <p:spPr>
          <a:xfrm>
            <a:off x="456478" y="1296675"/>
            <a:ext cx="130875" cy="4265764"/>
          </a:xfrm>
          <a:prstGeom prst="roundRect">
            <a:avLst>
              <a:gd name="adj" fmla="val 50000"/>
            </a:avLst>
          </a:prstGeom>
          <a:solidFill>
            <a:srgbClr val="FFFFFF">
              <a:alpha val="7764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solidFill>
                <a:schemeClr val="bg1"/>
              </a:solidFill>
            </a:endParaRPr>
          </a:p>
        </p:txBody>
      </p:sp>
      <p:grpSp>
        <p:nvGrpSpPr>
          <p:cNvPr id="6" name="Grupo 5"/>
          <p:cNvGrpSpPr/>
          <p:nvPr userDrawn="1"/>
        </p:nvGrpSpPr>
        <p:grpSpPr>
          <a:xfrm>
            <a:off x="1396049" y="1837561"/>
            <a:ext cx="2232248" cy="1861365"/>
            <a:chOff x="1476865" y="1876875"/>
            <a:chExt cx="2232248" cy="1316120"/>
          </a:xfrm>
        </p:grpSpPr>
        <p:sp>
          <p:nvSpPr>
            <p:cNvPr id="58" name="TextBox 57">
              <a:extLst>
                <a:ext uri="{FF2B5EF4-FFF2-40B4-BE49-F238E27FC236}">
                  <a16:creationId xmlns:a16="http://schemas.microsoft.com/office/drawing/2014/main" id="{5644E8BB-F13A-4AE0-889E-633DE4143787}"/>
                </a:ext>
              </a:extLst>
            </p:cNvPr>
            <p:cNvSpPr txBox="1"/>
            <p:nvPr userDrawn="1"/>
          </p:nvSpPr>
          <p:spPr>
            <a:xfrm>
              <a:off x="1476865" y="1876875"/>
              <a:ext cx="2232248" cy="718147"/>
            </a:xfrm>
            <a:prstGeom prst="rect">
              <a:avLst/>
            </a:prstGeom>
            <a:noFill/>
          </p:spPr>
          <p:txBody>
            <a:bodyPr wrap="square" rtlCol="0" anchor="ctr">
              <a:spAutoFit/>
            </a:bodyPr>
            <a:lstStyle/>
            <a:p>
              <a:pPr algn="r"/>
              <a:r>
                <a:rPr lang="en-US" altLang="ko-KR" sz="2000" b="1">
                  <a:solidFill>
                    <a:srgbClr val="FFFFFF"/>
                  </a:solidFill>
                  <a:latin typeface="Arial" panose="020b0604020202020204" pitchFamily="34" charset="0"/>
                  <a:cs typeface="Arial" panose="020b0604020202020204" pitchFamily="34" charset="0"/>
                </a:rPr>
                <a:t>You can Resize without losing quality</a:t>
              </a:r>
              <a:endParaRPr lang="ko-KR" altLang="en-US" sz="2000" b="1">
                <a:solidFill>
                  <a:srgbClr val="FFFFFF"/>
                </a:solidFill>
                <a:latin typeface="Arial" panose="020b0604020202020204" pitchFamily="34" charset="0"/>
                <a:cs typeface="Arial" panose="020b0604020202020204" pitchFamily="34" charset="0"/>
              </a:endParaRPr>
            </a:p>
          </p:txBody>
        </p:sp>
        <p:sp>
          <p:nvSpPr>
            <p:cNvPr id="59" name="TextBox 58">
              <a:extLst>
                <a:ext uri="{FF2B5EF4-FFF2-40B4-BE49-F238E27FC236}">
                  <a16:creationId xmlns:a16="http://schemas.microsoft.com/office/drawing/2014/main" id="{F2CE2B8B-ED32-491A-95B2-D28904BC432C}"/>
                </a:ext>
              </a:extLst>
            </p:cNvPr>
            <p:cNvSpPr txBox="1"/>
            <p:nvPr userDrawn="1"/>
          </p:nvSpPr>
          <p:spPr>
            <a:xfrm>
              <a:off x="1476865" y="2474848"/>
              <a:ext cx="2232248" cy="718147"/>
            </a:xfrm>
            <a:prstGeom prst="rect">
              <a:avLst/>
            </a:prstGeom>
            <a:noFill/>
          </p:spPr>
          <p:txBody>
            <a:bodyPr wrap="square" rtlCol="0" anchor="ctr">
              <a:spAutoFit/>
            </a:bodyPr>
            <a:lstStyle/>
            <a:p>
              <a:pPr algn="r"/>
              <a:r>
                <a:rPr lang="en-US" altLang="ko-KR" sz="2000" b="1">
                  <a:solidFill>
                    <a:srgbClr val="FFFFFF"/>
                  </a:solidFill>
                  <a:latin typeface="Arial" panose="020b0604020202020204" pitchFamily="34" charset="0"/>
                  <a:cs typeface="Arial" panose="020b0604020202020204" pitchFamily="34" charset="0"/>
                </a:rPr>
                <a:t>You can Change Fill Color &amp;</a:t>
              </a:r>
            </a:p>
            <a:p>
              <a:pPr algn="r"/>
              <a:r>
                <a:rPr lang="en-US" altLang="ko-KR" sz="2000" b="1">
                  <a:solidFill>
                    <a:srgbClr val="FFFFFF"/>
                  </a:solidFill>
                  <a:latin typeface="Arial" panose="020b0604020202020204" pitchFamily="34" charset="0"/>
                  <a:cs typeface="Arial" panose="020b0604020202020204" pitchFamily="34" charset="0"/>
                </a:rPr>
                <a:t>Line Color</a:t>
              </a:r>
              <a:endParaRPr lang="ko-KR" altLang="en-US" sz="2000" b="1">
                <a:solidFill>
                  <a:srgbClr val="FFFFFF"/>
                </a:solidFill>
                <a:latin typeface="Arial" panose="020b0604020202020204" pitchFamily="34" charset="0"/>
                <a:cs typeface="Arial" panose="020b0604020202020204" pitchFamily="34" charset="0"/>
              </a:endParaRPr>
            </a:p>
          </p:txBody>
        </p:sp>
      </p:grpSp>
      <p:sp>
        <p:nvSpPr>
          <p:cNvPr id="60" name="TextBox 59">
            <a:extLst>
              <a:ext uri="{FF2B5EF4-FFF2-40B4-BE49-F238E27FC236}">
                <a16:creationId xmlns:a16="http://schemas.microsoft.com/office/drawing/2014/main" id="{962A52DF-2523-4479-BFA3-B5ACE9887E1C}"/>
              </a:ext>
            </a:extLst>
          </p:cNvPr>
          <p:cNvSpPr txBox="1"/>
          <p:nvPr userDrawn="1"/>
        </p:nvSpPr>
        <p:spPr>
          <a:xfrm>
            <a:off x="1613194" y="5849289"/>
            <a:ext cx="2232000" cy="369332"/>
          </a:xfrm>
          <a:prstGeom prst="rect">
            <a:avLst/>
          </a:prstGeom>
          <a:noFill/>
        </p:spPr>
        <p:txBody>
          <a:bodyPr wrap="square" rtlCol="0" anchor="ctr">
            <a:spAutoFit/>
          </a:bodyPr>
          <a:lstStyle/>
          <a:p>
            <a:r>
              <a:rPr lang="en-US" altLang="ko-KR" sz="1800">
                <a:solidFill>
                  <a:srgbClr val="FFFFFF"/>
                </a:solidFill>
                <a:latin typeface="Arial" panose="020b0604020202020204" pitchFamily="34" charset="0"/>
                <a:cs typeface="Arial" panose="020b0604020202020204" pitchFamily="34" charset="0"/>
              </a:rPr>
              <a:t>www.slidesppt.net</a:t>
            </a:r>
            <a:endParaRPr lang="ko-KR" altLang="en-US" sz="1800">
              <a:solidFill>
                <a:srgbClr val="FFFFFF"/>
              </a:solidFill>
              <a:latin typeface="Arial" panose="020b0604020202020204" pitchFamily="34" charset="0"/>
              <a:cs typeface="Arial" panose="020b0604020202020204" pitchFamily="34" charset="0"/>
            </a:endParaRPr>
          </a:p>
        </p:txBody>
      </p:sp>
      <p:sp>
        <p:nvSpPr>
          <p:cNvPr id="61" name="TextBox 60">
            <a:extLst>
              <a:ext uri="{FF2B5EF4-FFF2-40B4-BE49-F238E27FC236}">
                <a16:creationId xmlns:a16="http://schemas.microsoft.com/office/drawing/2014/main" id="{BAAC314F-E96A-4408-95DE-A70E9ED054AF}"/>
              </a:ext>
            </a:extLst>
          </p:cNvPr>
          <p:cNvSpPr txBox="1"/>
          <p:nvPr userDrawn="1"/>
        </p:nvSpPr>
        <p:spPr>
          <a:xfrm>
            <a:off x="911001" y="4221969"/>
            <a:ext cx="2717296" cy="1569660"/>
          </a:xfrm>
          <a:prstGeom prst="rect">
            <a:avLst/>
          </a:prstGeom>
          <a:noFill/>
        </p:spPr>
        <p:txBody>
          <a:bodyPr wrap="square" rtlCol="0" anchor="ctr">
            <a:spAutoFit/>
          </a:bodyPr>
          <a:lstStyle/>
          <a:p>
            <a:pPr algn="r"/>
            <a:r>
              <a:rPr lang="en-US" altLang="ko-KR" sz="2400" b="1">
                <a:solidFill>
                  <a:srgbClr val="FFFFFF"/>
                </a:solidFill>
                <a:latin typeface="+mn-lt"/>
                <a:ea typeface="+mn-ea"/>
                <a:cs typeface="Arial" panose="020b0604020202020204" pitchFamily="34" charset="0"/>
              </a:rPr>
              <a:t>GOOGLE </a:t>
            </a:r>
            <a:r>
              <a:rPr lang="en-US" altLang="ko-KR" sz="2400" b="1" baseline="0">
                <a:solidFill>
                  <a:srgbClr val="FFFFFF"/>
                </a:solidFill>
                <a:latin typeface="+mn-lt"/>
                <a:ea typeface="+mn-ea"/>
                <a:cs typeface="Arial" panose="020b0604020202020204" pitchFamily="34" charset="0"/>
              </a:rPr>
              <a:t>SLIDES AND </a:t>
            </a:r>
            <a:r>
              <a:rPr lang="en-US" altLang="ko-KR" sz="2400" b="1">
                <a:solidFill>
                  <a:srgbClr val="FFFFFF"/>
                </a:solidFill>
                <a:latin typeface="+mn-lt"/>
                <a:ea typeface="+mn-ea"/>
                <a:cs typeface="Arial" panose="020b0604020202020204" pitchFamily="34" charset="0"/>
              </a:rPr>
              <a:t>FREE </a:t>
            </a:r>
          </a:p>
          <a:p>
            <a:pPr algn="r"/>
            <a:r>
              <a:rPr lang="en-US" altLang="ko-KR" sz="2400" b="1">
                <a:solidFill>
                  <a:srgbClr val="FFFFFF"/>
                </a:solidFill>
                <a:latin typeface="+mn-lt"/>
                <a:ea typeface="+mn-ea"/>
                <a:cs typeface="Arial" panose="020b0604020202020204" pitchFamily="34" charset="0"/>
              </a:rPr>
              <a:t>PPT </a:t>
            </a:r>
          </a:p>
          <a:p>
            <a:pPr algn="r"/>
            <a:r>
              <a:rPr lang="en-US" altLang="ko-KR" sz="2400" b="1">
                <a:solidFill>
                  <a:srgbClr val="FFFFFF"/>
                </a:solidFill>
                <a:latin typeface="+mn-lt"/>
                <a:ea typeface="+mn-ea"/>
                <a:cs typeface="Arial" panose="020b0604020202020204" pitchFamily="34" charset="0"/>
              </a:rPr>
              <a:t>TEMPLATES  </a:t>
            </a:r>
          </a:p>
        </p:txBody>
      </p:sp>
      <p:grpSp>
        <p:nvGrpSpPr>
          <p:cNvPr id="7" name="Grupo 6"/>
          <p:cNvGrpSpPr/>
          <p:nvPr userDrawn="1"/>
        </p:nvGrpSpPr>
        <p:grpSpPr>
          <a:xfrm>
            <a:off x="567162" y="5403428"/>
            <a:ext cx="976455" cy="976455"/>
            <a:chOff x="732029" y="4897834"/>
            <a:chExt cx="1307592" cy="1307592"/>
          </a:xfrm>
        </p:grpSpPr>
        <p:sp>
          <p:nvSpPr>
            <p:cNvPr id="16" name="Lágrima 15"/>
            <p:cNvSpPr/>
            <p:nvPr userDrawn="1"/>
          </p:nvSpPr>
          <p:spPr>
            <a:xfrm rot="10800000">
              <a:off x="732029" y="4897834"/>
              <a:ext cx="1307592" cy="1307592"/>
            </a:xfrm>
            <a:prstGeom prst="teardrop">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p>
          </p:txBody>
        </p:sp>
        <p:grpSp>
          <p:nvGrpSpPr>
            <p:cNvPr id="17" name="Grupo 16"/>
            <p:cNvGrpSpPr/>
            <p:nvPr userDrawn="1"/>
          </p:nvGrpSpPr>
          <p:grpSpPr>
            <a:xfrm>
              <a:off x="958579" y="5110772"/>
              <a:ext cx="887548" cy="859140"/>
              <a:chOff x="5915025" y="2417763"/>
              <a:chExt cx="3471863" cy="3360738"/>
            </a:xfrm>
          </p:grpSpPr>
          <p:sp>
            <p:nvSpPr>
              <p:cNvPr id="19" name="Freeform 14"/>
              <p:cNvSpPr/>
              <p:nvPr userDrawn="1"/>
            </p:nvSpPr>
            <p:spPr bwMode="auto">
              <a:xfrm>
                <a:off x="5915025" y="2417763"/>
                <a:ext cx="2009775" cy="3360738"/>
              </a:xfrm>
              <a:custGeom>
                <a:gdLst>
                  <a:gd name="T0" fmla="*/ 0 w 669"/>
                  <a:gd name="T1" fmla="*/ 112 h 1118"/>
                  <a:gd name="T2" fmla="*/ 0 w 669"/>
                  <a:gd name="T3" fmla="*/ 1005 h 1118"/>
                  <a:gd name="T4" fmla="*/ 669 w 669"/>
                  <a:gd name="T5" fmla="*/ 1118 h 1118"/>
                  <a:gd name="T6" fmla="*/ 669 w 669"/>
                  <a:gd name="T7" fmla="*/ 0 h 1118"/>
                  <a:gd name="T8" fmla="*/ 0 w 669"/>
                  <a:gd name="T9" fmla="*/ 112 h 1118"/>
                </a:gdLst>
                <a:cxnLst>
                  <a:cxn ang="0">
                    <a:pos x="T0" y="T1"/>
                  </a:cxn>
                  <a:cxn ang="0">
                    <a:pos x="T2" y="T3"/>
                  </a:cxn>
                  <a:cxn ang="0">
                    <a:pos x="T4" y="T5"/>
                  </a:cxn>
                  <a:cxn ang="0">
                    <a:pos x="T6" y="T7"/>
                  </a:cxn>
                  <a:cxn ang="0">
                    <a:pos x="T8" y="T9"/>
                  </a:cxn>
                </a:cxnLst>
                <a:rect l="0" t="0" r="r" b="b"/>
                <a:pathLst>
                  <a:path w="669" h="1118">
                    <a:moveTo>
                      <a:pt x="0" y="112"/>
                    </a:moveTo>
                    <a:cubicBezTo>
                      <a:pt x="0" y="410"/>
                      <a:pt x="0" y="707"/>
                      <a:pt x="0" y="1005"/>
                    </a:cubicBezTo>
                    <a:cubicBezTo>
                      <a:pt x="223" y="1043"/>
                      <a:pt x="446" y="1080"/>
                      <a:pt x="669" y="1118"/>
                    </a:cubicBezTo>
                    <a:cubicBezTo>
                      <a:pt x="669" y="745"/>
                      <a:pt x="669" y="372"/>
                      <a:pt x="669" y="0"/>
                    </a:cubicBezTo>
                    <a:cubicBezTo>
                      <a:pt x="446" y="37"/>
                      <a:pt x="223" y="74"/>
                      <a:pt x="0" y="11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0" name="Freeform 15"/>
              <p:cNvSpPr/>
              <p:nvPr userDrawn="1"/>
            </p:nvSpPr>
            <p:spPr bwMode="auto">
              <a:xfrm>
                <a:off x="8004175" y="3059113"/>
                <a:ext cx="1382713" cy="1671638"/>
              </a:xfrm>
              <a:custGeom>
                <a:gdLst>
                  <a:gd name="T0" fmla="*/ 0 w 460"/>
                  <a:gd name="T1" fmla="*/ 0 h 556"/>
                  <a:gd name="T2" fmla="*/ 0 w 460"/>
                  <a:gd name="T3" fmla="*/ 53 h 556"/>
                  <a:gd name="T4" fmla="*/ 406 w 460"/>
                  <a:gd name="T5" fmla="*/ 53 h 556"/>
                  <a:gd name="T6" fmla="*/ 406 w 460"/>
                  <a:gd name="T7" fmla="*/ 556 h 556"/>
                  <a:gd name="T8" fmla="*/ 460 w 460"/>
                  <a:gd name="T9" fmla="*/ 556 h 556"/>
                  <a:gd name="T10" fmla="*/ 460 w 460"/>
                  <a:gd name="T11" fmla="*/ 0 h 556"/>
                  <a:gd name="T12" fmla="*/ 0 w 460"/>
                  <a:gd name="T13" fmla="*/ 0 h 556"/>
                </a:gdLst>
                <a:cxnLst>
                  <a:cxn ang="0">
                    <a:pos x="T0" y="T1"/>
                  </a:cxn>
                  <a:cxn ang="0">
                    <a:pos x="T2" y="T3"/>
                  </a:cxn>
                  <a:cxn ang="0">
                    <a:pos x="T4" y="T5"/>
                  </a:cxn>
                  <a:cxn ang="0">
                    <a:pos x="T6" y="T7"/>
                  </a:cxn>
                  <a:cxn ang="0">
                    <a:pos x="T8" y="T9"/>
                  </a:cxn>
                  <a:cxn ang="0">
                    <a:pos x="T10" y="T11"/>
                  </a:cxn>
                  <a:cxn ang="0">
                    <a:pos x="T12" y="T13"/>
                  </a:cxn>
                </a:cxnLst>
                <a:rect l="0" t="0" r="r" b="b"/>
                <a:pathLst>
                  <a:path w="460" h="556">
                    <a:moveTo>
                      <a:pt x="0" y="0"/>
                    </a:moveTo>
                    <a:cubicBezTo>
                      <a:pt x="0" y="17"/>
                      <a:pt x="0" y="35"/>
                      <a:pt x="0" y="53"/>
                    </a:cubicBezTo>
                    <a:cubicBezTo>
                      <a:pt x="135" y="53"/>
                      <a:pt x="270" y="53"/>
                      <a:pt x="406" y="53"/>
                    </a:cubicBezTo>
                    <a:cubicBezTo>
                      <a:pt x="406" y="221"/>
                      <a:pt x="406" y="388"/>
                      <a:pt x="406" y="556"/>
                    </a:cubicBezTo>
                    <a:cubicBezTo>
                      <a:pt x="424" y="556"/>
                      <a:pt x="442" y="556"/>
                      <a:pt x="460" y="556"/>
                    </a:cubicBezTo>
                    <a:cubicBezTo>
                      <a:pt x="460" y="370"/>
                      <a:pt x="460" y="185"/>
                      <a:pt x="460" y="0"/>
                    </a:cubicBezTo>
                    <a:cubicBezTo>
                      <a:pt x="307" y="0"/>
                      <a:pt x="153" y="0"/>
                      <a:pt x="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21" name="Freeform 16"/>
              <p:cNvSpPr/>
              <p:nvPr userDrawn="1"/>
            </p:nvSpPr>
            <p:spPr bwMode="auto">
              <a:xfrm>
                <a:off x="8004175" y="3298826"/>
                <a:ext cx="1135063" cy="1822450"/>
              </a:xfrm>
              <a:custGeom>
                <a:gdLst>
                  <a:gd name="T0" fmla="*/ 0 w 378"/>
                  <a:gd name="T1" fmla="*/ 0 h 606"/>
                  <a:gd name="T2" fmla="*/ 0 w 378"/>
                  <a:gd name="T3" fmla="*/ 70 h 606"/>
                  <a:gd name="T4" fmla="*/ 26 w 378"/>
                  <a:gd name="T5" fmla="*/ 67 h 606"/>
                  <a:gd name="T6" fmla="*/ 51 w 378"/>
                  <a:gd name="T7" fmla="*/ 65 h 606"/>
                  <a:gd name="T8" fmla="*/ 51 w 378"/>
                  <a:gd name="T9" fmla="*/ 208 h 606"/>
                  <a:gd name="T10" fmla="*/ 198 w 378"/>
                  <a:gd name="T11" fmla="*/ 208 h 606"/>
                  <a:gd name="T12" fmla="*/ 173 w 378"/>
                  <a:gd name="T13" fmla="*/ 289 h 606"/>
                  <a:gd name="T14" fmla="*/ 101 w 378"/>
                  <a:gd name="T15" fmla="*/ 340 h 606"/>
                  <a:gd name="T16" fmla="*/ 41 w 378"/>
                  <a:gd name="T17" fmla="*/ 347 h 606"/>
                  <a:gd name="T18" fmla="*/ 0 w 378"/>
                  <a:gd name="T19" fmla="*/ 342 h 606"/>
                  <a:gd name="T20" fmla="*/ 0 w 378"/>
                  <a:gd name="T21" fmla="*/ 395 h 606"/>
                  <a:gd name="T22" fmla="*/ 262 w 378"/>
                  <a:gd name="T23" fmla="*/ 395 h 606"/>
                  <a:gd name="T24" fmla="*/ 262 w 378"/>
                  <a:gd name="T25" fmla="*/ 445 h 606"/>
                  <a:gd name="T26" fmla="*/ 0 w 378"/>
                  <a:gd name="T27" fmla="*/ 445 h 606"/>
                  <a:gd name="T28" fmla="*/ 0 w 378"/>
                  <a:gd name="T29" fmla="*/ 492 h 606"/>
                  <a:gd name="T30" fmla="*/ 261 w 378"/>
                  <a:gd name="T31" fmla="*/ 492 h 606"/>
                  <a:gd name="T32" fmla="*/ 261 w 378"/>
                  <a:gd name="T33" fmla="*/ 545 h 606"/>
                  <a:gd name="T34" fmla="*/ 0 w 378"/>
                  <a:gd name="T35" fmla="*/ 545 h 606"/>
                  <a:gd name="T36" fmla="*/ 0 w 378"/>
                  <a:gd name="T37" fmla="*/ 606 h 606"/>
                  <a:gd name="T38" fmla="*/ 378 w 378"/>
                  <a:gd name="T39" fmla="*/ 606 h 606"/>
                  <a:gd name="T40" fmla="*/ 378 w 378"/>
                  <a:gd name="T41" fmla="*/ 0 h 606"/>
                  <a:gd name="T42" fmla="*/ 0 w 378"/>
                  <a:gd name="T43" fmla="*/ 0 h 60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606">
                    <a:moveTo>
                      <a:pt x="0" y="0"/>
                    </a:moveTo>
                    <a:cubicBezTo>
                      <a:pt x="0" y="23"/>
                      <a:pt x="0" y="47"/>
                      <a:pt x="0" y="70"/>
                    </a:cubicBezTo>
                    <a:cubicBezTo>
                      <a:pt x="4" y="69"/>
                      <a:pt x="16" y="68"/>
                      <a:pt x="26" y="67"/>
                    </a:cubicBezTo>
                    <a:cubicBezTo>
                      <a:pt x="37" y="66"/>
                      <a:pt x="47" y="65"/>
                      <a:pt x="51" y="65"/>
                    </a:cubicBezTo>
                    <a:cubicBezTo>
                      <a:pt x="51" y="113"/>
                      <a:pt x="51" y="160"/>
                      <a:pt x="51" y="208"/>
                    </a:cubicBezTo>
                    <a:cubicBezTo>
                      <a:pt x="100" y="208"/>
                      <a:pt x="149" y="208"/>
                      <a:pt x="198" y="208"/>
                    </a:cubicBezTo>
                    <a:cubicBezTo>
                      <a:pt x="198" y="221"/>
                      <a:pt x="197" y="255"/>
                      <a:pt x="173" y="289"/>
                    </a:cubicBezTo>
                    <a:cubicBezTo>
                      <a:pt x="170" y="293"/>
                      <a:pt x="146" y="326"/>
                      <a:pt x="101" y="340"/>
                    </a:cubicBezTo>
                    <a:cubicBezTo>
                      <a:pt x="78" y="347"/>
                      <a:pt x="57" y="347"/>
                      <a:pt x="41" y="347"/>
                    </a:cubicBezTo>
                    <a:cubicBezTo>
                      <a:pt x="24" y="346"/>
                      <a:pt x="10" y="344"/>
                      <a:pt x="0" y="342"/>
                    </a:cubicBezTo>
                    <a:cubicBezTo>
                      <a:pt x="0" y="360"/>
                      <a:pt x="0" y="377"/>
                      <a:pt x="0" y="395"/>
                    </a:cubicBezTo>
                    <a:cubicBezTo>
                      <a:pt x="87" y="395"/>
                      <a:pt x="175" y="395"/>
                      <a:pt x="262" y="395"/>
                    </a:cubicBezTo>
                    <a:cubicBezTo>
                      <a:pt x="262" y="412"/>
                      <a:pt x="262" y="428"/>
                      <a:pt x="262" y="445"/>
                    </a:cubicBezTo>
                    <a:cubicBezTo>
                      <a:pt x="175" y="445"/>
                      <a:pt x="87" y="445"/>
                      <a:pt x="0" y="445"/>
                    </a:cubicBezTo>
                    <a:cubicBezTo>
                      <a:pt x="0" y="461"/>
                      <a:pt x="0" y="476"/>
                      <a:pt x="0" y="492"/>
                    </a:cubicBezTo>
                    <a:cubicBezTo>
                      <a:pt x="87" y="492"/>
                      <a:pt x="174" y="492"/>
                      <a:pt x="261" y="492"/>
                    </a:cubicBezTo>
                    <a:cubicBezTo>
                      <a:pt x="261" y="509"/>
                      <a:pt x="261" y="527"/>
                      <a:pt x="261" y="545"/>
                    </a:cubicBezTo>
                    <a:cubicBezTo>
                      <a:pt x="174" y="545"/>
                      <a:pt x="87" y="545"/>
                      <a:pt x="0" y="545"/>
                    </a:cubicBezTo>
                    <a:cubicBezTo>
                      <a:pt x="0" y="565"/>
                      <a:pt x="0" y="586"/>
                      <a:pt x="0" y="606"/>
                    </a:cubicBezTo>
                    <a:cubicBezTo>
                      <a:pt x="126" y="606"/>
                      <a:pt x="252" y="606"/>
                      <a:pt x="378" y="606"/>
                    </a:cubicBezTo>
                    <a:cubicBezTo>
                      <a:pt x="378" y="404"/>
                      <a:pt x="378" y="202"/>
                      <a:pt x="378" y="0"/>
                    </a:cubicBezTo>
                    <a:cubicBezTo>
                      <a:pt x="252" y="0"/>
                      <a:pt x="126" y="0"/>
                      <a:pt x="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400"/>
              </a:p>
            </p:txBody>
          </p:sp>
        </p:grpSp>
      </p:grpSp>
      <p:sp>
        <p:nvSpPr>
          <p:cNvPr id="25" name="Rounded Rectangle 3"/>
          <p:cNvSpPr/>
          <p:nvPr userDrawn="1"/>
        </p:nvSpPr>
        <p:spPr>
          <a:xfrm rot="5400000">
            <a:off x="2598576" y="5216747"/>
            <a:ext cx="101647" cy="2224625"/>
          </a:xfrm>
          <a:prstGeom prst="roundRect">
            <a:avLst>
              <a:gd name="adj" fmla="val 50000"/>
            </a:avLst>
          </a:prstGeom>
          <a:solidFill>
            <a:srgbClr val="FFFFFF">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solidFill>
                <a:schemeClr val="bg1"/>
              </a:solidFill>
            </a:endParaRPr>
          </a:p>
        </p:txBody>
      </p:sp>
      <p:grpSp>
        <p:nvGrpSpPr>
          <p:cNvPr id="15" name="Grupo 14">
            <a:extLst>
              <a:ext uri="{FF2B5EF4-FFF2-40B4-BE49-F238E27FC236}">
                <a16:creationId xmlns:a16="http://schemas.microsoft.com/office/drawing/2014/main" id="{7EDC76E3-3725-C0E3-A193-518C5F245457}"/>
              </a:ext>
            </a:extLst>
          </p:cNvPr>
          <p:cNvGrpSpPr/>
          <p:nvPr userDrawn="1"/>
        </p:nvGrpSpPr>
        <p:grpSpPr>
          <a:xfrm>
            <a:off x="2855937" y="1296677"/>
            <a:ext cx="905777" cy="910369"/>
            <a:chOff x="2844390" y="1337313"/>
            <a:chExt cx="905777" cy="910369"/>
          </a:xfrm>
          <a:solidFill>
            <a:srgbClr val="FFFFFF">
              <a:alpha val="78000"/>
            </a:srgbClr>
          </a:solidFill>
        </p:grpSpPr>
        <p:sp>
          <p:nvSpPr>
            <p:cNvPr id="34" name="Rounded Rectangle 3"/>
            <p:cNvSpPr/>
            <p:nvPr userDrawn="1"/>
          </p:nvSpPr>
          <p:spPr>
            <a:xfrm rot="10800000">
              <a:off x="3620828" y="1341905"/>
              <a:ext cx="129339" cy="905777"/>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solidFill>
                  <a:schemeClr val="bg1"/>
                </a:solidFill>
              </a:endParaRPr>
            </a:p>
          </p:txBody>
        </p:sp>
        <p:sp>
          <p:nvSpPr>
            <p:cNvPr id="35" name="Rounded Rectangle 3"/>
            <p:cNvSpPr/>
            <p:nvPr userDrawn="1"/>
          </p:nvSpPr>
          <p:spPr>
            <a:xfrm rot="5400000">
              <a:off x="3232609" y="949094"/>
              <a:ext cx="129339" cy="905777"/>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solidFill>
                  <a:schemeClr val="bg1"/>
                </a:solidFill>
              </a:endParaRPr>
            </a:p>
          </p:txBody>
        </p:sp>
      </p:grpSp>
      <p:grpSp>
        <p:nvGrpSpPr>
          <p:cNvPr id="30" name="Gráfico 10">
            <a:extLst>
              <a:ext uri="{FF2B5EF4-FFF2-40B4-BE49-F238E27FC236}">
                <a16:creationId xmlns:a16="http://schemas.microsoft.com/office/drawing/2014/main" id="{82FAC501-FB66-3E3F-60D9-EA0A65847E86}"/>
              </a:ext>
            </a:extLst>
          </p:cNvPr>
          <p:cNvGrpSpPr/>
          <p:nvPr userDrawn="1"/>
        </p:nvGrpSpPr>
        <p:grpSpPr>
          <a:xfrm>
            <a:off x="627240" y="5458038"/>
            <a:ext cx="849367" cy="849367"/>
            <a:chOff x="627235" y="5458033"/>
            <a:chExt cx="849367" cy="849367"/>
          </a:xfrm>
          <a:solidFill>
            <a:srgbClr val="00BFF3"/>
          </a:solidFill>
        </p:grpSpPr>
        <p:sp>
          <p:nvSpPr>
            <p:cNvPr id="31" name="Forma libre: forma 30">
              <a:extLst>
                <a:ext uri="{FF2B5EF4-FFF2-40B4-BE49-F238E27FC236}">
                  <a16:creationId xmlns:a16="http://schemas.microsoft.com/office/drawing/2014/main" id="{7022B209-1E5D-0665-E040-D2BA4E84999B}"/>
                </a:ext>
              </a:extLst>
            </p:cNvPr>
            <p:cNvSpPr/>
            <p:nvPr userDrawn="1"/>
          </p:nvSpPr>
          <p:spPr>
            <a:xfrm>
              <a:off x="627235" y="5458033"/>
              <a:ext cx="849367" cy="849367"/>
            </a:xfrm>
            <a:custGeom>
              <a:gdLst>
                <a:gd name="connsiteX0" fmla="*/ 849367 w 849367"/>
                <a:gd name="connsiteY0" fmla="*/ 424684 h 849367"/>
                <a:gd name="connsiteX1" fmla="*/ 424684 w 849367"/>
                <a:gd name="connsiteY1" fmla="*/ 849367 h 849367"/>
                <a:gd name="connsiteX2" fmla="*/ 0 w 849367"/>
                <a:gd name="connsiteY2" fmla="*/ 424684 h 849367"/>
                <a:gd name="connsiteX3" fmla="*/ 424684 w 849367"/>
                <a:gd name="connsiteY3" fmla="*/ 0 h 849367"/>
                <a:gd name="connsiteX4" fmla="*/ 849367 w 849367"/>
                <a:gd name="connsiteY4" fmla="*/ 424684 h 849367"/>
              </a:gdLst>
              <a:cxnLst>
                <a:cxn ang="0">
                  <a:pos x="connsiteX0" y="connsiteY0"/>
                </a:cxn>
                <a:cxn ang="0">
                  <a:pos x="connsiteX1" y="connsiteY1"/>
                </a:cxn>
                <a:cxn ang="0">
                  <a:pos x="connsiteX2" y="connsiteY2"/>
                </a:cxn>
                <a:cxn ang="0">
                  <a:pos x="connsiteX3" y="connsiteY3"/>
                </a:cxn>
                <a:cxn ang="0">
                  <a:pos x="connsiteX4" y="connsiteY4"/>
                </a:cxn>
              </a:cxnLst>
              <a:rect l="l" t="t" r="r" b="b"/>
              <a:pathLst>
                <a:path w="849367" h="849367">
                  <a:moveTo>
                    <a:pt x="849367" y="424684"/>
                  </a:moveTo>
                  <a:cubicBezTo>
                    <a:pt x="849367" y="659230"/>
                    <a:pt x="659230" y="849367"/>
                    <a:pt x="424684" y="849367"/>
                  </a:cubicBezTo>
                  <a:cubicBezTo>
                    <a:pt x="190137" y="849367"/>
                    <a:pt x="0" y="659230"/>
                    <a:pt x="0" y="424684"/>
                  </a:cubicBezTo>
                  <a:cubicBezTo>
                    <a:pt x="0" y="190137"/>
                    <a:pt x="190137" y="0"/>
                    <a:pt x="424684" y="0"/>
                  </a:cubicBezTo>
                  <a:cubicBezTo>
                    <a:pt x="659230" y="0"/>
                    <a:pt x="849367" y="190137"/>
                    <a:pt x="849367" y="424684"/>
                  </a:cubicBezTo>
                  <a:close/>
                </a:path>
              </a:pathLst>
            </a:custGeom>
            <a:solidFill>
              <a:srgbClr val="02BAC8"/>
            </a:solidFill>
            <a:ln w="2285" cap="flat">
              <a:noFill/>
              <a:prstDash val="solid"/>
              <a:miter/>
            </a:ln>
          </p:spPr>
          <p:txBody>
            <a:bodyPr rtlCol="0" anchor="ctr"/>
            <a:lstStyle/>
            <a:p>
              <a:endParaRPr lang="es-PE" sz="1400"/>
            </a:p>
          </p:txBody>
        </p:sp>
        <p:sp>
          <p:nvSpPr>
            <p:cNvPr id="32" name="Forma libre: forma 31">
              <a:extLst>
                <a:ext uri="{FF2B5EF4-FFF2-40B4-BE49-F238E27FC236}">
                  <a16:creationId xmlns:a16="http://schemas.microsoft.com/office/drawing/2014/main" id="{8B0D07CF-E8E0-010A-8592-7A5C1AEE458B}"/>
                </a:ext>
              </a:extLst>
            </p:cNvPr>
            <p:cNvSpPr/>
            <p:nvPr/>
          </p:nvSpPr>
          <p:spPr>
            <a:xfrm>
              <a:off x="736500" y="5562370"/>
              <a:ext cx="662009" cy="640647"/>
            </a:xfrm>
            <a:custGeom>
              <a:gdLst>
                <a:gd name="connsiteX0" fmla="*/ 398577 w 662009"/>
                <a:gd name="connsiteY0" fmla="*/ 121941 h 640647"/>
                <a:gd name="connsiteX1" fmla="*/ 398577 w 662009"/>
                <a:gd name="connsiteY1" fmla="*/ 121941 h 640647"/>
                <a:gd name="connsiteX2" fmla="*/ 383196 w 662009"/>
                <a:gd name="connsiteY2" fmla="*/ 121941 h 640647"/>
                <a:gd name="connsiteX3" fmla="*/ 383219 w 662009"/>
                <a:gd name="connsiteY3" fmla="*/ 0 h 640647"/>
                <a:gd name="connsiteX4" fmla="*/ 0 w 662009"/>
                <a:gd name="connsiteY4" fmla="*/ 64133 h 640647"/>
                <a:gd name="connsiteX5" fmla="*/ 0 w 662009"/>
                <a:gd name="connsiteY5" fmla="*/ 576124 h 640647"/>
                <a:gd name="connsiteX6" fmla="*/ 383128 w 662009"/>
                <a:gd name="connsiteY6" fmla="*/ 640647 h 640647"/>
                <a:gd name="connsiteX7" fmla="*/ 383219 w 662009"/>
                <a:gd name="connsiteY7" fmla="*/ 122514 h 640647"/>
                <a:gd name="connsiteX8" fmla="*/ 398072 w 662009"/>
                <a:gd name="connsiteY8" fmla="*/ 122514 h 640647"/>
                <a:gd name="connsiteX9" fmla="*/ 398049 w 662009"/>
                <a:gd name="connsiteY9" fmla="*/ 152655 h 640647"/>
                <a:gd name="connsiteX10" fmla="*/ 630608 w 662009"/>
                <a:gd name="connsiteY10" fmla="*/ 152655 h 640647"/>
                <a:gd name="connsiteX11" fmla="*/ 630608 w 662009"/>
                <a:gd name="connsiteY11" fmla="*/ 440087 h 640647"/>
                <a:gd name="connsiteX12" fmla="*/ 614907 w 662009"/>
                <a:gd name="connsiteY12" fmla="*/ 440087 h 640647"/>
                <a:gd name="connsiteX13" fmla="*/ 614907 w 662009"/>
                <a:gd name="connsiteY13" fmla="*/ 168264 h 640647"/>
                <a:gd name="connsiteX14" fmla="*/ 397958 w 662009"/>
                <a:gd name="connsiteY14" fmla="*/ 168242 h 640647"/>
                <a:gd name="connsiteX15" fmla="*/ 397958 w 662009"/>
                <a:gd name="connsiteY15" fmla="*/ 208010 h 640647"/>
                <a:gd name="connsiteX16" fmla="*/ 413177 w 662009"/>
                <a:gd name="connsiteY16" fmla="*/ 206337 h 640647"/>
                <a:gd name="connsiteX17" fmla="*/ 427457 w 662009"/>
                <a:gd name="connsiteY17" fmla="*/ 205236 h 640647"/>
                <a:gd name="connsiteX18" fmla="*/ 427457 w 662009"/>
                <a:gd name="connsiteY18" fmla="*/ 287340 h 640647"/>
                <a:gd name="connsiteX19" fmla="*/ 511509 w 662009"/>
                <a:gd name="connsiteY19" fmla="*/ 287340 h 640647"/>
                <a:gd name="connsiteX20" fmla="*/ 497298 w 662009"/>
                <a:gd name="connsiteY20" fmla="*/ 333435 h 640647"/>
                <a:gd name="connsiteX21" fmla="*/ 455879 w 662009"/>
                <a:gd name="connsiteY21" fmla="*/ 363003 h 640647"/>
                <a:gd name="connsiteX22" fmla="*/ 421933 w 662009"/>
                <a:gd name="connsiteY22" fmla="*/ 366624 h 640647"/>
                <a:gd name="connsiteX23" fmla="*/ 397958 w 662009"/>
                <a:gd name="connsiteY23" fmla="*/ 363988 h 640647"/>
                <a:gd name="connsiteX24" fmla="*/ 397958 w 662009"/>
                <a:gd name="connsiteY24" fmla="*/ 394428 h 640647"/>
                <a:gd name="connsiteX25" fmla="*/ 548412 w 662009"/>
                <a:gd name="connsiteY25" fmla="*/ 394428 h 640647"/>
                <a:gd name="connsiteX26" fmla="*/ 548412 w 662009"/>
                <a:gd name="connsiteY26" fmla="*/ 423079 h 640647"/>
                <a:gd name="connsiteX27" fmla="*/ 397935 w 662009"/>
                <a:gd name="connsiteY27" fmla="*/ 423079 h 640647"/>
                <a:gd name="connsiteX28" fmla="*/ 397935 w 662009"/>
                <a:gd name="connsiteY28" fmla="*/ 449851 h 640647"/>
                <a:gd name="connsiteX29" fmla="*/ 547518 w 662009"/>
                <a:gd name="connsiteY29" fmla="*/ 449851 h 640647"/>
                <a:gd name="connsiteX30" fmla="*/ 547518 w 662009"/>
                <a:gd name="connsiteY30" fmla="*/ 480313 h 640647"/>
                <a:gd name="connsiteX31" fmla="*/ 397912 w 662009"/>
                <a:gd name="connsiteY31" fmla="*/ 480313 h 640647"/>
                <a:gd name="connsiteX32" fmla="*/ 397912 w 662009"/>
                <a:gd name="connsiteY32" fmla="*/ 515406 h 640647"/>
                <a:gd name="connsiteX33" fmla="*/ 614907 w 662009"/>
                <a:gd name="connsiteY33" fmla="*/ 515406 h 640647"/>
                <a:gd name="connsiteX34" fmla="*/ 614907 w 662009"/>
                <a:gd name="connsiteY34" fmla="*/ 440591 h 640647"/>
                <a:gd name="connsiteX35" fmla="*/ 630608 w 662009"/>
                <a:gd name="connsiteY35" fmla="*/ 440591 h 640647"/>
                <a:gd name="connsiteX36" fmla="*/ 630608 w 662009"/>
                <a:gd name="connsiteY36" fmla="*/ 440591 h 640647"/>
                <a:gd name="connsiteX37" fmla="*/ 662010 w 662009"/>
                <a:gd name="connsiteY37" fmla="*/ 440591 h 640647"/>
                <a:gd name="connsiteX38" fmla="*/ 662010 w 662009"/>
                <a:gd name="connsiteY38" fmla="*/ 122101 h 640647"/>
                <a:gd name="connsiteX39" fmla="*/ 398577 w 662009"/>
                <a:gd name="connsiteY39" fmla="*/ 121941 h 640647"/>
                <a:gd name="connsiteX40" fmla="*/ 267834 w 662009"/>
                <a:gd name="connsiteY40" fmla="*/ 452946 h 640647"/>
                <a:gd name="connsiteX41" fmla="*/ 177387 w 662009"/>
                <a:gd name="connsiteY41" fmla="*/ 482743 h 640647"/>
                <a:gd name="connsiteX42" fmla="*/ 90470 w 662009"/>
                <a:gd name="connsiteY42" fmla="*/ 460808 h 640647"/>
                <a:gd name="connsiteX43" fmla="*/ 86230 w 662009"/>
                <a:gd name="connsiteY43" fmla="*/ 457988 h 640647"/>
                <a:gd name="connsiteX44" fmla="*/ 100899 w 662009"/>
                <a:gd name="connsiteY44" fmla="*/ 409281 h 640647"/>
                <a:gd name="connsiteX45" fmla="*/ 108509 w 662009"/>
                <a:gd name="connsiteY45" fmla="*/ 413957 h 640647"/>
                <a:gd name="connsiteX46" fmla="*/ 180275 w 662009"/>
                <a:gd name="connsiteY46" fmla="*/ 434196 h 640647"/>
                <a:gd name="connsiteX47" fmla="*/ 241521 w 662009"/>
                <a:gd name="connsiteY47" fmla="*/ 385511 h 640647"/>
                <a:gd name="connsiteX48" fmla="*/ 184561 w 662009"/>
                <a:gd name="connsiteY48" fmla="*/ 327177 h 640647"/>
                <a:gd name="connsiteX49" fmla="*/ 94160 w 662009"/>
                <a:gd name="connsiteY49" fmla="*/ 228478 h 640647"/>
                <a:gd name="connsiteX50" fmla="*/ 206359 w 662009"/>
                <a:gd name="connsiteY50" fmla="*/ 133195 h 640647"/>
                <a:gd name="connsiteX51" fmla="*/ 281747 w 662009"/>
                <a:gd name="connsiteY51" fmla="*/ 150042 h 640647"/>
                <a:gd name="connsiteX52" fmla="*/ 286698 w 662009"/>
                <a:gd name="connsiteY52" fmla="*/ 152838 h 640647"/>
                <a:gd name="connsiteX53" fmla="*/ 270653 w 662009"/>
                <a:gd name="connsiteY53" fmla="*/ 200285 h 640647"/>
                <a:gd name="connsiteX54" fmla="*/ 263479 w 662009"/>
                <a:gd name="connsiteY54" fmla="*/ 196366 h 640647"/>
                <a:gd name="connsiteX55" fmla="*/ 204938 w 662009"/>
                <a:gd name="connsiteY55" fmla="*/ 181742 h 640647"/>
                <a:gd name="connsiteX56" fmla="*/ 150455 w 662009"/>
                <a:gd name="connsiteY56" fmla="*/ 223665 h 640647"/>
                <a:gd name="connsiteX57" fmla="*/ 210806 w 662009"/>
                <a:gd name="connsiteY57" fmla="*/ 280051 h 640647"/>
                <a:gd name="connsiteX58" fmla="*/ 298296 w 662009"/>
                <a:gd name="connsiteY58" fmla="*/ 382119 h 640647"/>
                <a:gd name="connsiteX59" fmla="*/ 267834 w 662009"/>
                <a:gd name="connsiteY59" fmla="*/ 452946 h 64064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662009" h="640647">
                  <a:moveTo>
                    <a:pt x="398577" y="121941"/>
                  </a:moveTo>
                  <a:lnTo>
                    <a:pt x="398577" y="121941"/>
                  </a:lnTo>
                  <a:lnTo>
                    <a:pt x="383196" y="121941"/>
                  </a:lnTo>
                  <a:cubicBezTo>
                    <a:pt x="383196" y="81301"/>
                    <a:pt x="383219" y="40662"/>
                    <a:pt x="383219" y="0"/>
                  </a:cubicBezTo>
                  <a:cubicBezTo>
                    <a:pt x="255480" y="21385"/>
                    <a:pt x="127740" y="42748"/>
                    <a:pt x="0" y="64133"/>
                  </a:cubicBezTo>
                  <a:cubicBezTo>
                    <a:pt x="0" y="234805"/>
                    <a:pt x="0" y="405476"/>
                    <a:pt x="0" y="576124"/>
                  </a:cubicBezTo>
                  <a:cubicBezTo>
                    <a:pt x="127717" y="597624"/>
                    <a:pt x="255411" y="619147"/>
                    <a:pt x="383128" y="640647"/>
                  </a:cubicBezTo>
                  <a:cubicBezTo>
                    <a:pt x="383151" y="467982"/>
                    <a:pt x="383196" y="295179"/>
                    <a:pt x="383219" y="122514"/>
                  </a:cubicBezTo>
                  <a:lnTo>
                    <a:pt x="398072" y="122514"/>
                  </a:lnTo>
                  <a:cubicBezTo>
                    <a:pt x="398072" y="132530"/>
                    <a:pt x="398049" y="142639"/>
                    <a:pt x="398049" y="152655"/>
                  </a:cubicBezTo>
                  <a:cubicBezTo>
                    <a:pt x="475569" y="152655"/>
                    <a:pt x="553088" y="152655"/>
                    <a:pt x="630608" y="152655"/>
                  </a:cubicBezTo>
                  <a:cubicBezTo>
                    <a:pt x="630608" y="248397"/>
                    <a:pt x="630608" y="344322"/>
                    <a:pt x="630608" y="440087"/>
                  </a:cubicBezTo>
                  <a:lnTo>
                    <a:pt x="614907" y="440087"/>
                  </a:lnTo>
                  <a:cubicBezTo>
                    <a:pt x="614907" y="349548"/>
                    <a:pt x="614907" y="258803"/>
                    <a:pt x="614907" y="168264"/>
                  </a:cubicBezTo>
                  <a:cubicBezTo>
                    <a:pt x="542590" y="168264"/>
                    <a:pt x="470274" y="168242"/>
                    <a:pt x="397958" y="168242"/>
                  </a:cubicBezTo>
                  <a:cubicBezTo>
                    <a:pt x="397958" y="181490"/>
                    <a:pt x="397958" y="194761"/>
                    <a:pt x="397958" y="208010"/>
                  </a:cubicBezTo>
                  <a:cubicBezTo>
                    <a:pt x="400296" y="207781"/>
                    <a:pt x="407149" y="206910"/>
                    <a:pt x="413177" y="206337"/>
                  </a:cubicBezTo>
                  <a:cubicBezTo>
                    <a:pt x="419435" y="205741"/>
                    <a:pt x="424890" y="205488"/>
                    <a:pt x="427457" y="205236"/>
                  </a:cubicBezTo>
                  <a:cubicBezTo>
                    <a:pt x="427457" y="232604"/>
                    <a:pt x="427457" y="259972"/>
                    <a:pt x="427457" y="287340"/>
                  </a:cubicBezTo>
                  <a:cubicBezTo>
                    <a:pt x="455467" y="287340"/>
                    <a:pt x="483499" y="287340"/>
                    <a:pt x="511509" y="287340"/>
                  </a:cubicBezTo>
                  <a:cubicBezTo>
                    <a:pt x="511601" y="294491"/>
                    <a:pt x="510867" y="314272"/>
                    <a:pt x="497298" y="333435"/>
                  </a:cubicBezTo>
                  <a:cubicBezTo>
                    <a:pt x="495648" y="335772"/>
                    <a:pt x="481551" y="355118"/>
                    <a:pt x="455879" y="363003"/>
                  </a:cubicBezTo>
                  <a:cubicBezTo>
                    <a:pt x="442677" y="367060"/>
                    <a:pt x="430597" y="366808"/>
                    <a:pt x="421933" y="366624"/>
                  </a:cubicBezTo>
                  <a:cubicBezTo>
                    <a:pt x="412100" y="366418"/>
                    <a:pt x="403894" y="365180"/>
                    <a:pt x="397958" y="363988"/>
                  </a:cubicBezTo>
                  <a:cubicBezTo>
                    <a:pt x="397958" y="374143"/>
                    <a:pt x="397958" y="384274"/>
                    <a:pt x="397958" y="394428"/>
                  </a:cubicBezTo>
                  <a:cubicBezTo>
                    <a:pt x="448109" y="394428"/>
                    <a:pt x="498261" y="394428"/>
                    <a:pt x="548412" y="394428"/>
                  </a:cubicBezTo>
                  <a:cubicBezTo>
                    <a:pt x="548412" y="403986"/>
                    <a:pt x="548412" y="413521"/>
                    <a:pt x="548412" y="423079"/>
                  </a:cubicBezTo>
                  <a:cubicBezTo>
                    <a:pt x="498261" y="423079"/>
                    <a:pt x="448086" y="423079"/>
                    <a:pt x="397935" y="423079"/>
                  </a:cubicBezTo>
                  <a:cubicBezTo>
                    <a:pt x="397935" y="431996"/>
                    <a:pt x="397935" y="440935"/>
                    <a:pt x="397935" y="449851"/>
                  </a:cubicBezTo>
                  <a:cubicBezTo>
                    <a:pt x="447788" y="449851"/>
                    <a:pt x="497665" y="449851"/>
                    <a:pt x="547518" y="449851"/>
                  </a:cubicBezTo>
                  <a:cubicBezTo>
                    <a:pt x="547518" y="460005"/>
                    <a:pt x="547518" y="470159"/>
                    <a:pt x="547518" y="480313"/>
                  </a:cubicBezTo>
                  <a:cubicBezTo>
                    <a:pt x="497642" y="480313"/>
                    <a:pt x="447765" y="480313"/>
                    <a:pt x="397912" y="480313"/>
                  </a:cubicBezTo>
                  <a:cubicBezTo>
                    <a:pt x="397912" y="492003"/>
                    <a:pt x="397912" y="503693"/>
                    <a:pt x="397912" y="515406"/>
                  </a:cubicBezTo>
                  <a:cubicBezTo>
                    <a:pt x="470251" y="515406"/>
                    <a:pt x="542567" y="515406"/>
                    <a:pt x="614907" y="515406"/>
                  </a:cubicBezTo>
                  <a:cubicBezTo>
                    <a:pt x="614907" y="490468"/>
                    <a:pt x="614907" y="465529"/>
                    <a:pt x="614907" y="440591"/>
                  </a:cubicBezTo>
                  <a:lnTo>
                    <a:pt x="630608" y="440591"/>
                  </a:lnTo>
                  <a:cubicBezTo>
                    <a:pt x="630608" y="440591"/>
                    <a:pt x="630608" y="440591"/>
                    <a:pt x="630608" y="440591"/>
                  </a:cubicBezTo>
                  <a:cubicBezTo>
                    <a:pt x="641083" y="440591"/>
                    <a:pt x="651535" y="440591"/>
                    <a:pt x="662010" y="440591"/>
                  </a:cubicBezTo>
                  <a:cubicBezTo>
                    <a:pt x="662010" y="334420"/>
                    <a:pt x="662010" y="228249"/>
                    <a:pt x="662010" y="122101"/>
                  </a:cubicBezTo>
                  <a:cubicBezTo>
                    <a:pt x="574199" y="122032"/>
                    <a:pt x="486388" y="121987"/>
                    <a:pt x="398577" y="121941"/>
                  </a:cubicBezTo>
                  <a:close/>
                  <a:moveTo>
                    <a:pt x="267834" y="452946"/>
                  </a:moveTo>
                  <a:cubicBezTo>
                    <a:pt x="246334" y="472451"/>
                    <a:pt x="215070" y="482743"/>
                    <a:pt x="177387" y="482743"/>
                  </a:cubicBezTo>
                  <a:cubicBezTo>
                    <a:pt x="145572" y="482743"/>
                    <a:pt x="109838" y="473735"/>
                    <a:pt x="90470" y="460808"/>
                  </a:cubicBezTo>
                  <a:lnTo>
                    <a:pt x="86230" y="457988"/>
                  </a:lnTo>
                  <a:lnTo>
                    <a:pt x="100899" y="409281"/>
                  </a:lnTo>
                  <a:lnTo>
                    <a:pt x="108509" y="413957"/>
                  </a:lnTo>
                  <a:cubicBezTo>
                    <a:pt x="129092" y="426632"/>
                    <a:pt x="155933" y="434196"/>
                    <a:pt x="180275" y="434196"/>
                  </a:cubicBezTo>
                  <a:cubicBezTo>
                    <a:pt x="218049" y="434196"/>
                    <a:pt x="241521" y="415538"/>
                    <a:pt x="241521" y="385511"/>
                  </a:cubicBezTo>
                  <a:cubicBezTo>
                    <a:pt x="241521" y="358625"/>
                    <a:pt x="226622" y="343359"/>
                    <a:pt x="184561" y="327177"/>
                  </a:cubicBezTo>
                  <a:cubicBezTo>
                    <a:pt x="122926" y="305333"/>
                    <a:pt x="94160" y="273954"/>
                    <a:pt x="94160" y="228478"/>
                  </a:cubicBezTo>
                  <a:cubicBezTo>
                    <a:pt x="94160" y="172367"/>
                    <a:pt x="140301" y="133195"/>
                    <a:pt x="206359" y="133195"/>
                  </a:cubicBezTo>
                  <a:cubicBezTo>
                    <a:pt x="246082" y="133195"/>
                    <a:pt x="270630" y="143739"/>
                    <a:pt x="281747" y="150042"/>
                  </a:cubicBezTo>
                  <a:lnTo>
                    <a:pt x="286698" y="152838"/>
                  </a:lnTo>
                  <a:lnTo>
                    <a:pt x="270653" y="200285"/>
                  </a:lnTo>
                  <a:lnTo>
                    <a:pt x="263479" y="196366"/>
                  </a:lnTo>
                  <a:cubicBezTo>
                    <a:pt x="251262" y="189696"/>
                    <a:pt x="231160" y="181742"/>
                    <a:pt x="204938" y="181742"/>
                  </a:cubicBezTo>
                  <a:cubicBezTo>
                    <a:pt x="167302" y="181742"/>
                    <a:pt x="150455" y="202807"/>
                    <a:pt x="150455" y="223665"/>
                  </a:cubicBezTo>
                  <a:cubicBezTo>
                    <a:pt x="150455" y="248672"/>
                    <a:pt x="165124" y="262379"/>
                    <a:pt x="210806" y="280051"/>
                  </a:cubicBezTo>
                  <a:cubicBezTo>
                    <a:pt x="272143" y="303729"/>
                    <a:pt x="298296" y="334260"/>
                    <a:pt x="298296" y="382119"/>
                  </a:cubicBezTo>
                  <a:cubicBezTo>
                    <a:pt x="298296" y="409968"/>
                    <a:pt x="287478" y="435113"/>
                    <a:pt x="267834" y="452946"/>
                  </a:cubicBezTo>
                  <a:close/>
                </a:path>
              </a:pathLst>
            </a:custGeom>
            <a:solidFill>
              <a:srgbClr val="FFFFFF"/>
            </a:solidFill>
            <a:ln w="2285" cap="flat">
              <a:noFill/>
              <a:prstDash val="solid"/>
              <a:miter/>
            </a:ln>
          </p:spPr>
          <p:txBody>
            <a:bodyPr rtlCol="0" anchor="ctr"/>
            <a:lstStyle/>
            <a:p>
              <a:endParaRPr lang="es-PE" sz="1400"/>
            </a:p>
          </p:txBody>
        </p:sp>
      </p:grpSp>
    </p:spTree>
    <p:extLst>
      <p:ext uri="{BB962C8B-B14F-4D97-AF65-F5344CB8AC3E}">
        <p14:creationId xmlns:p14="http://schemas.microsoft.com/office/powerpoint/2010/main" val="4230058634"/>
      </p:ext>
    </p:extLst>
  </p:cSld>
  <p:clrMapOvr>
    <a:masterClrMapping/>
  </p:clrMapOvr>
  <p:transition/>
  <p:timing/>
</p:sldLayout>
</file>

<file path=ppt/slideLayouts/slideLayout7.xml><?xml version="1.0" encoding="utf-8"?>
<p:sldLayout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userDrawn="1">
  <p:cSld name="18_Contents slide layout">
    <p:spTree>
      <p:nvGrpSpPr>
        <p:cNvPr id="1" name=""/>
        <p:cNvGrpSpPr/>
        <p:nvPr/>
      </p:nvGrpSpPr>
      <p:grpSpPr>
        <a:xfrm>
          <a:off x="0" y="0"/>
          <a:ext cx="0" cy="0"/>
        </a:xfrm>
      </p:grpSpPr>
    </p:spTree>
    <p:extLst>
      <p:ext uri="{BB962C8B-B14F-4D97-AF65-F5344CB8AC3E}">
        <p14:creationId xmlns:p14="http://schemas.microsoft.com/office/powerpoint/2010/main" val="4156690185"/>
      </p:ext>
    </p:extLst>
  </p:cSld>
  <p:clrMapOvr>
    <a:masterClrMapping/>
  </p:clrMapOvr>
  <p:transition/>
  <p:timing/>
</p:sldLayout>
</file>

<file path=ppt/slideMasters/_rels/slideMaster1.xml.rels>&#65279;<?xml version="1.0" encoding="utf-8" standalone="yes"?><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image" Target="../media/image2.jpeg" /><Relationship Id="rId11" Type="http://schemas.openxmlformats.org/officeDocument/2006/relationships/tags" Target="../tags/tag2.xml" /><Relationship Id="rId12" Type="http://schemas.openxmlformats.org/officeDocument/2006/relationships/vmlDrawing" Target="../drawings/vmlDrawing1.vml" /><Relationship Id="rId13" Type="http://schemas.openxmlformats.org/officeDocument/2006/relationships/theme" Target="../theme/theme1.xml"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slideLayout" Target="../slideLayouts/slideLayout6.xml" /><Relationship Id="rId7" Type="http://schemas.openxmlformats.org/officeDocument/2006/relationships/slideLayout" Target="../slideLayouts/slideLayout7.xml" /><Relationship Id="rId8" Type="http://schemas.openxmlformats.org/officeDocument/2006/relationships/tags" Target="../tags/tag1.xml" /><Relationship Id="rId9" Type="http://schemas.openxmlformats.org/officeDocument/2006/relationships/oleObject" Target="../embeddings/oleObject1.bin" TargetMode="Internal" /></Relationships>
</file>

<file path=ppt/slideMasters/slideMaster1.xml><?xml version="1.0" encoding="utf-8"?>
<p:sldMaster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graphicFrame>
        <p:nvGraphicFramePr>
          <p:cNvPr id="5" name="Object 4" hidden="1">
            <a:extLst>
              <a:ext uri="{FF2B5EF4-FFF2-40B4-BE49-F238E27FC236}">
                <a16:creationId xmlns:a16="http://schemas.microsoft.com/office/drawing/2014/main" id="{926A468B-75FD-447C-A98D-924DA44CADD6}"/>
              </a:ext>
            </a:extLst>
          </p:cNvPr>
          <p:cNvGraphicFramePr>
            <a:graphicFrameLocks noChangeAspect="1"/>
          </p:cNvGraphicFramePr>
          <p:nvPr userDrawn="1">
            <p:custDataLst>
              <p:tags r:id="rId8"/>
            </p:custDataLst>
            <p:extLst>
              <p:ext uri="{D42A27DB-BD31-4B8C-83A1-F6EECF244321}">
                <p14:modId xmlns:p14="http://schemas.microsoft.com/office/powerpoint/2010/main" val="3902072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 name="think-cell Slide" r:id="rId9" imgW="383" imgH="384" progId="TCLayout.ActiveDocument.1">
                  <p:embed/>
                </p:oleObj>
              </mc:Choice>
              <mc:Fallback>
                <p:oleObj name="think-cell Slide" r:id="rId9" imgW="383" imgH="384" progId="TCLayout.ActiveDocument.1">
                  <p:embed/>
                  <p:pic>
                    <p:nvPicPr>
                      <p:cNvPr id="0" name="OLE substitute imag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ECB9EA-7CB4-48FC-95B4-2F138DEA56FD}"/>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Placeholder 1">
            <a:extLst>
              <a:ext uri="{FF2B5EF4-FFF2-40B4-BE49-F238E27FC236}">
                <a16:creationId xmlns:a16="http://schemas.microsoft.com/office/drawing/2014/main" id="{21DE9C95-668D-4C97-99D8-074E1701B424}"/>
              </a:ext>
            </a:extLst>
          </p:cNvPr>
          <p:cNvSpPr>
            <a:spLocks noGrp="1"/>
          </p:cNvSpPr>
          <p:nvPr>
            <p:ph type="title"/>
          </p:nvPr>
        </p:nvSpPr>
        <p:spPr>
          <a:xfrm>
            <a:off x="533400" y="406400"/>
            <a:ext cx="11125200" cy="889000"/>
          </a:xfrm>
          <a:prstGeom prst="rect">
            <a:avLst/>
          </a:prstGeom>
        </p:spPr>
        <p:txBody>
          <a:bodyPr vert="horz" lIns="91440" tIns="45720" rIns="91440" bIns="45720" rtlCol="0" anchor="ctr">
            <a:normAutofit/>
          </a:bodyPr>
          <a:lstStyle/>
          <a:p>
            <a:r>
              <a:rPr lang="en-US"/>
              <a:t>Click to edit Master title style</a:t>
            </a:r>
            <a:endParaRPr lang="en-ID"/>
          </a:p>
        </p:txBody>
      </p:sp>
      <p:sp>
        <p:nvSpPr>
          <p:cNvPr id="3" name="Text Placeholder 2">
            <a:extLst>
              <a:ext uri="{FF2B5EF4-FFF2-40B4-BE49-F238E27FC236}">
                <a16:creationId xmlns:a16="http://schemas.microsoft.com/office/drawing/2014/main" id="{A2F9BE55-B1B7-4BDF-8E9F-D05E93906AC4}"/>
              </a:ext>
            </a:extLst>
          </p:cNvPr>
          <p:cNvSpPr>
            <a:spLocks noGrp="1"/>
          </p:cNvSpPr>
          <p:nvPr>
            <p:ph type="body" idx="1"/>
          </p:nvPr>
        </p:nvSpPr>
        <p:spPr>
          <a:xfrm>
            <a:off x="533400" y="1524000"/>
            <a:ext cx="11125200" cy="4652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Tree>
    <p:extLst>
      <p:ext uri="{BB962C8B-B14F-4D97-AF65-F5344CB8AC3E}">
        <p14:creationId xmlns:p14="http://schemas.microsoft.com/office/powerpoint/2010/main" val="2836658683"/>
      </p:ext>
    </p:extLst>
  </p:cSld>
  <p:clrMap bg1="lt1" tx1="dk1" bg2="lt2" tx2="dk2" accent1="accent1" accent2="accent2" accent3="accent3" accent4="accent4" accent5="accent5" accent6="accent6" hlink="hlink" folHlink="folHlink"/>
  <p:sldLayoutIdLst>
    <p:sldLayoutId id="2147483654" r:id="rId1"/>
    <p:sldLayoutId id="2147483669" r:id="rId2"/>
    <p:sldLayoutId id="2147483655" r:id="rId3"/>
    <p:sldLayoutId id="2147483663" r:id="rId4"/>
    <p:sldLayoutId id="2147483665" r:id="rId5"/>
    <p:sldLayoutId id="2147483667" r:id="rId6"/>
    <p:sldLayoutId id="2147483668" r:id="rId7"/>
  </p:sldLayoutIdLst>
  <p:transition/>
  <p:timing/>
  <p:hf sldNum="0" hdr="0" dt="0"/>
  <p:txStyles>
    <p:title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 userDrawn="1">
          <p15:clr>
            <a:srgbClr val="F26B43"/>
          </p15:clr>
        </p15:guide>
        <p15:guide id="2" pos="7344" userDrawn="1">
          <p15:clr>
            <a:srgbClr val="F26B43"/>
          </p15:clr>
        </p15:guide>
        <p15:guide id="3" orient="horz" pos="3936" userDrawn="1">
          <p15:clr>
            <a:srgbClr val="F26B43"/>
          </p15:clr>
        </p15:guide>
        <p15:guide id="5" orient="horz" pos="960" userDrawn="1">
          <p15:clr>
            <a:srgbClr val="F26B43"/>
          </p15:clr>
        </p15:guide>
        <p15:guide id="6" orient="horz" pos="816" userDrawn="1">
          <p15:clr>
            <a:srgbClr val="F26B43"/>
          </p15:clr>
        </p15:guide>
      </p15:sldGuideLst>
    </p:ext>
  </p:extLst>
</p:sldMaster>
</file>

<file path=ppt/slides/_rels/slide1.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notesSlide" Target="../notesSlides/notesSlide1.xml" /><Relationship Id="rId3" Type="http://schemas.openxmlformats.org/officeDocument/2006/relationships/image" Target="../media/image3.png" /></Relationships>
</file>

<file path=ppt/slides/_rels/slide10.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image" Target="../media/image7.png" /><Relationship Id="rId3" Type="http://schemas.openxmlformats.org/officeDocument/2006/relationships/image" Target="../media/image14.png" /><Relationship Id="rId4" Type="http://schemas.openxmlformats.org/officeDocument/2006/relationships/image" Target="../media/image15.png" /></Relationships>
</file>

<file path=ppt/slides/_rels/slide1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6.jpeg" /><Relationship Id="rId3" Type="http://schemas.microsoft.com/office/2007/relationships/hdphoto" Target="../media/image17.wdp" /><Relationship Id="rId4" Type="http://schemas.openxmlformats.org/officeDocument/2006/relationships/image" Target="../media/image7.png" /><Relationship Id="rId5" Type="http://schemas.openxmlformats.org/officeDocument/2006/relationships/image" Target="../media/image18.png" /></Relationships>
</file>

<file path=ppt/slides/_rels/slide12.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image" Target="../media/image19.png" /></Relationships>
</file>

<file path=ppt/slides/_rels/slide13.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image" Target="../media/image20.png" /><Relationship Id="rId3" Type="http://schemas.openxmlformats.org/officeDocument/2006/relationships/image" Target="../media/image7.png" /></Relationships>
</file>

<file path=ppt/slides/_rels/slide14.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7.xml" /><Relationship Id="rId3" Type="http://schemas.openxmlformats.org/officeDocument/2006/relationships/image" Target="../media/image21.jpeg" /><Relationship Id="rId4" Type="http://schemas.openxmlformats.org/officeDocument/2006/relationships/chart" Target="../charts/chart1.xml" /><Relationship Id="rId5" Type="http://schemas.openxmlformats.org/officeDocument/2006/relationships/image" Target="../media/image7.png" /></Relationships>
</file>

<file path=ppt/slides/_rels/slide15.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8.xml" /><Relationship Id="rId3" Type="http://schemas.openxmlformats.org/officeDocument/2006/relationships/image" Target="../media/image22.png" /></Relationships>
</file>

<file path=ppt/slides/_rels/slide16.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image" Target="../media/image11.jpeg" /><Relationship Id="rId3" Type="http://schemas.openxmlformats.org/officeDocument/2006/relationships/image" Target="../media/image23.png" /></Relationships>
</file>

<file path=ppt/slides/_rels/slide17.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image" Target="../media/image24.png" /></Relationships>
</file>

<file path=ppt/slides/_rels/slide18.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notesSlide" Target="../notesSlides/notesSlide9.xml" /></Relationships>
</file>

<file path=ppt/slides/_rels/slide19.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hyperlink" Target="https://www.slidesppt.net/what-you-can-and-cannot-do-with-our-templates/" TargetMode="External" /><Relationship Id="rId3" Type="http://schemas.openxmlformats.org/officeDocument/2006/relationships/hyperlink" Target="https://www.slidesppt.net/frequently-asked-questions/" TargetMode="External" /><Relationship Id="rId4" Type="http://schemas.openxmlformats.org/officeDocument/2006/relationships/hyperlink" Target="https://www.slidesppt.net/tutorials-and-tips/" TargetMode="External" /></Relationships>
</file>

<file path=ppt/slides/_rels/slide2.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image" Target="../media/image3.png" /><Relationship Id="rId3" Type="http://schemas.openxmlformats.org/officeDocument/2006/relationships/image" Target="../media/image4.png" /></Relationships>
</file>

<file path=ppt/slides/_rels/slide20.xml.rels>&#65279;<?xml version="1.0" encoding="utf-8" standalone="yes"?><Relationships xmlns="http://schemas.openxmlformats.org/package/2006/relationships"><Relationship Id="rId1" Type="http://schemas.openxmlformats.org/officeDocument/2006/relationships/slideLayout" Target="../slideLayouts/slideLayout5.xml" /><Relationship Id="rId2" Type="http://schemas.openxmlformats.org/officeDocument/2006/relationships/notesSlide" Target="../notesSlides/notesSlide10.xml" /><Relationship Id="rId3" Type="http://schemas.openxmlformats.org/officeDocument/2006/relationships/image" Target="../media/image25.png" /></Relationships>
</file>

<file path=ppt/slides/_rels/slide21.xml.rels>&#65279;<?xml version="1.0" encoding="utf-8" standalone="yes"?><Relationships xmlns="http://schemas.openxmlformats.org/package/2006/relationships"><Relationship Id="rId1" Type="http://schemas.openxmlformats.org/officeDocument/2006/relationships/slideLayout" Target="../slideLayouts/slideLayout6.xml" /><Relationship Id="rId2" Type="http://schemas.openxmlformats.org/officeDocument/2006/relationships/notesSlide" Target="../notesSlides/notesSlide11.xml" /></Relationships>
</file>

<file path=ppt/slides/_rels/slide22.xml.rels>&#65279;<?xml version="1.0" encoding="utf-8" standalone="yes"?><Relationships xmlns="http://schemas.openxmlformats.org/package/2006/relationships"><Relationship Id="rId1" Type="http://schemas.openxmlformats.org/officeDocument/2006/relationships/slideLayout" Target="../slideLayouts/slideLayout6.xml" /><Relationship Id="rId2" Type="http://schemas.openxmlformats.org/officeDocument/2006/relationships/notesSlide" Target="../notesSlides/notesSlide12.xml" /></Relationships>
</file>

<file path=ppt/slides/_rels/slide23.xml.rels>&#65279;<?xml version="1.0" encoding="utf-8" standalone="yes"?><Relationships xmlns="http://schemas.openxmlformats.org/package/2006/relationships"><Relationship Id="rId1" Type="http://schemas.openxmlformats.org/officeDocument/2006/relationships/slideLayout" Target="../slideLayouts/slideLayout6.xml" /><Relationship Id="rId2" Type="http://schemas.openxmlformats.org/officeDocument/2006/relationships/notesSlide" Target="../notesSlides/notesSlide13.xml" /></Relationships>
</file>

<file path=ppt/slides/_rels/slide24.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hyperlink" Target="https://www.slidesppt.net/" TargetMode="External" /></Relationships>
</file>

<file path=ppt/slides/_rels/slide3.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2.xml" /><Relationship Id="rId3" Type="http://schemas.openxmlformats.org/officeDocument/2006/relationships/image" Target="../media/image5.jpeg" /></Relationships>
</file>

<file path=ppt/slides/_rels/slide4.xml.rels>&#65279;<?xml version="1.0" encoding="utf-8" standalone="yes"?><Relationships xmlns="http://schemas.openxmlformats.org/package/2006/relationships"><Relationship Id="rId1" Type="http://schemas.openxmlformats.org/officeDocument/2006/relationships/slideLayout" Target="../slideLayouts/slideLayout7.xml" /><Relationship Id="rId2" Type="http://schemas.openxmlformats.org/officeDocument/2006/relationships/image" Target="../media/image6.jpeg" /><Relationship Id="rId3" Type="http://schemas.openxmlformats.org/officeDocument/2006/relationships/image" Target="../media/image7.png" /></Relationships>
</file>

<file path=ppt/slides/_rels/slide5.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image" Target="../media/image8.jpeg" /><Relationship Id="rId3" Type="http://schemas.openxmlformats.org/officeDocument/2006/relationships/image" Target="../media/image9.jpeg" /><Relationship Id="rId4" Type="http://schemas.openxmlformats.org/officeDocument/2006/relationships/image" Target="../media/image7.png" /></Relationships>
</file>

<file path=ppt/slides/_rels/slide6.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notesSlide" Target="../notesSlides/notesSlide3.xml" /><Relationship Id="rId3" Type="http://schemas.openxmlformats.org/officeDocument/2006/relationships/image" Target="../media/image10.jpeg" /><Relationship Id="rId4" Type="http://schemas.openxmlformats.org/officeDocument/2006/relationships/image" Target="../media/image3.png" /></Relationships>
</file>

<file path=ppt/slides/_rels/slide7.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4.xml" /><Relationship Id="rId3" Type="http://schemas.openxmlformats.org/officeDocument/2006/relationships/image" Target="../media/image11.jpeg" /><Relationship Id="rId4" Type="http://schemas.openxmlformats.org/officeDocument/2006/relationships/image" Target="../media/image7.png" /></Relationships>
</file>

<file path=ppt/slides/_rels/slide8.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5.xml" /><Relationship Id="rId3" Type="http://schemas.openxmlformats.org/officeDocument/2006/relationships/image" Target="../media/image12.jpeg" /></Relationships>
</file>

<file path=ppt/slides/_rels/slide9.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6.xml" /><Relationship Id="rId3" Type="http://schemas.openxmlformats.org/officeDocument/2006/relationships/image" Target="../media/image7.png" /><Relationship Id="rId4" Type="http://schemas.openxmlformats.org/officeDocument/2006/relationships/image" Target="../media/image13.png" /></Relationships>
</file>

<file path=ppt/slides/slide1.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bg>
      <p:bgPr>
        <a:solidFill>
          <a:srgbClr val="02BAC8"/>
        </a:solidFill>
        <a:effectLst/>
      </p:bgPr>
    </p:bg>
    <p:spTree>
      <p:nvGrpSpPr>
        <p:cNvPr id="1" name=""/>
        <p:cNvGrpSpPr/>
        <p:nvPr/>
      </p:nvGrpSpPr>
      <p:grpSpPr>
        <a:xfrm>
          <a:off x="0" y="0"/>
          <a:ext cx="0" cy="0"/>
        </a:xfrm>
      </p:grpSpPr>
      <p:sp>
        <p:nvSpPr>
          <p:cNvPr id="6" name="Freeform 13">
            <a:extLst>
              <a:ext uri="{FF2B5EF4-FFF2-40B4-BE49-F238E27FC236}">
                <a16:creationId xmlns:a16="http://schemas.microsoft.com/office/drawing/2014/main" id="{9F6DA408-D323-2833-C8D0-3B0698CBB055}"/>
              </a:ext>
            </a:extLst>
          </p:cNvPr>
          <p:cNvSpPr/>
          <p:nvPr/>
        </p:nvSpPr>
        <p:spPr bwMode="auto">
          <a:xfrm>
            <a:off x="0" y="4227308"/>
            <a:ext cx="1175604" cy="2630691"/>
          </a:xfrm>
          <a:custGeom>
            <a:gdLst>
              <a:gd name="T0" fmla="*/ 444 w 444"/>
              <a:gd name="T1" fmla="*/ 997 h 997"/>
              <a:gd name="T2" fmla="*/ 254 w 444"/>
              <a:gd name="T3" fmla="*/ 874 h 997"/>
              <a:gd name="T4" fmla="*/ 140 w 444"/>
              <a:gd name="T5" fmla="*/ 487 h 997"/>
              <a:gd name="T6" fmla="*/ 0 w 444"/>
              <a:gd name="T7" fmla="*/ 0 h 997"/>
              <a:gd name="T8" fmla="*/ 0 w 444"/>
              <a:gd name="T9" fmla="*/ 997 h 997"/>
              <a:gd name="T10" fmla="*/ 444 w 444"/>
              <a:gd name="T11" fmla="*/ 997 h 997"/>
            </a:gdLst>
            <a:cxnLst>
              <a:cxn ang="0">
                <a:pos x="T0" y="T1"/>
              </a:cxn>
              <a:cxn ang="0">
                <a:pos x="T2" y="T3"/>
              </a:cxn>
              <a:cxn ang="0">
                <a:pos x="T4" y="T5"/>
              </a:cxn>
              <a:cxn ang="0">
                <a:pos x="T6" y="T7"/>
              </a:cxn>
              <a:cxn ang="0">
                <a:pos x="T8" y="T9"/>
              </a:cxn>
              <a:cxn ang="0">
                <a:pos x="T10" y="T11"/>
              </a:cxn>
            </a:cxnLst>
            <a:rect l="0" t="0" r="r" b="b"/>
            <a:pathLst>
              <a:path w="443" h="997">
                <a:moveTo>
                  <a:pt x="444" y="997"/>
                </a:moveTo>
                <a:cubicBezTo>
                  <a:pt x="444" y="997"/>
                  <a:pt x="441" y="877"/>
                  <a:pt x="254" y="874"/>
                </a:cubicBezTo>
                <a:cubicBezTo>
                  <a:pt x="68" y="871"/>
                  <a:pt x="100" y="695"/>
                  <a:pt x="140" y="487"/>
                </a:cubicBezTo>
                <a:cubicBezTo>
                  <a:pt x="180" y="279"/>
                  <a:pt x="218" y="11"/>
                  <a:pt x="0" y="0"/>
                </a:cubicBezTo>
                <a:cubicBezTo>
                  <a:pt x="0" y="997"/>
                  <a:pt x="0" y="997"/>
                  <a:pt x="0" y="997"/>
                </a:cubicBezTo>
                <a:lnTo>
                  <a:pt x="444" y="9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s-PE"/>
          </a:p>
        </p:txBody>
      </p:sp>
      <p:grpSp>
        <p:nvGrpSpPr>
          <p:cNvPr id="297" name="Grupo 296">
            <a:extLst>
              <a:ext uri="{FF2B5EF4-FFF2-40B4-BE49-F238E27FC236}">
                <a16:creationId xmlns:a16="http://schemas.microsoft.com/office/drawing/2014/main" id="{95DA6CF8-A12A-857F-B3D3-C82D198845E7}"/>
              </a:ext>
            </a:extLst>
          </p:cNvPr>
          <p:cNvGrpSpPr/>
          <p:nvPr/>
        </p:nvGrpSpPr>
        <p:grpSpPr>
          <a:xfrm>
            <a:off x="-84510" y="-1"/>
            <a:ext cx="7372632" cy="6858001"/>
            <a:chOff x="-275010" y="-235758"/>
            <a:chExt cx="7655094" cy="7120747"/>
          </a:xfrm>
        </p:grpSpPr>
        <p:sp>
          <p:nvSpPr>
            <p:cNvPr id="7" name="Freeform 5">
              <a:extLst>
                <a:ext uri="{FF2B5EF4-FFF2-40B4-BE49-F238E27FC236}">
                  <a16:creationId xmlns:a16="http://schemas.microsoft.com/office/drawing/2014/main" id="{18F08EB5-80F2-97AC-0A10-FDD98149C38B}"/>
                </a:ext>
              </a:extLst>
            </p:cNvPr>
            <p:cNvSpPr/>
            <p:nvPr/>
          </p:nvSpPr>
          <p:spPr bwMode="auto">
            <a:xfrm>
              <a:off x="591344" y="1241801"/>
              <a:ext cx="6090653" cy="5295900"/>
            </a:xfrm>
            <a:custGeom>
              <a:gdLst>
                <a:gd name="T0" fmla="*/ 3736 w 4966"/>
                <a:gd name="T1" fmla="*/ 4305 h 4318"/>
                <a:gd name="T2" fmla="*/ 2489 w 4966"/>
                <a:gd name="T3" fmla="*/ 3401 h 4318"/>
                <a:gd name="T4" fmla="*/ 1253 w 4966"/>
                <a:gd name="T5" fmla="*/ 4318 h 4318"/>
                <a:gd name="T6" fmla="*/ 1411 w 4966"/>
                <a:gd name="T7" fmla="*/ 2786 h 4318"/>
                <a:gd name="T8" fmla="*/ 0 w 4966"/>
                <a:gd name="T9" fmla="*/ 2173 h 4318"/>
                <a:gd name="T10" fmla="*/ 1404 w 4966"/>
                <a:gd name="T11" fmla="*/ 1543 h 4318"/>
                <a:gd name="T12" fmla="*/ 1229 w 4966"/>
                <a:gd name="T13" fmla="*/ 13 h 4318"/>
                <a:gd name="T14" fmla="*/ 2476 w 4966"/>
                <a:gd name="T15" fmla="*/ 917 h 4318"/>
                <a:gd name="T16" fmla="*/ 3712 w 4966"/>
                <a:gd name="T17" fmla="*/ 0 h 4318"/>
                <a:gd name="T18" fmla="*/ 3555 w 4966"/>
                <a:gd name="T19" fmla="*/ 1532 h 4318"/>
                <a:gd name="T20" fmla="*/ 4966 w 4966"/>
                <a:gd name="T21" fmla="*/ 2145 h 4318"/>
                <a:gd name="T22" fmla="*/ 3561 w 4966"/>
                <a:gd name="T23" fmla="*/ 2775 h 4318"/>
                <a:gd name="T24" fmla="*/ 3736 w 4966"/>
                <a:gd name="T25" fmla="*/ 4305 h 43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66" h="4318">
                  <a:moveTo>
                    <a:pt x="3736" y="4305"/>
                  </a:moveTo>
                  <a:lnTo>
                    <a:pt x="2489" y="3401"/>
                  </a:lnTo>
                  <a:lnTo>
                    <a:pt x="1253" y="4318"/>
                  </a:lnTo>
                  <a:lnTo>
                    <a:pt x="1411" y="2786"/>
                  </a:lnTo>
                  <a:lnTo>
                    <a:pt x="0" y="2173"/>
                  </a:lnTo>
                  <a:lnTo>
                    <a:pt x="1404" y="1543"/>
                  </a:lnTo>
                  <a:lnTo>
                    <a:pt x="1229" y="13"/>
                  </a:lnTo>
                  <a:lnTo>
                    <a:pt x="2476" y="917"/>
                  </a:lnTo>
                  <a:lnTo>
                    <a:pt x="3712" y="0"/>
                  </a:lnTo>
                  <a:lnTo>
                    <a:pt x="3555" y="1532"/>
                  </a:lnTo>
                  <a:lnTo>
                    <a:pt x="4966" y="2145"/>
                  </a:lnTo>
                  <a:lnTo>
                    <a:pt x="3561" y="2775"/>
                  </a:lnTo>
                  <a:lnTo>
                    <a:pt x="3736" y="4305"/>
                  </a:lnTo>
                  <a:close/>
                </a:path>
              </a:pathLst>
            </a:custGeom>
            <a:solidFill>
              <a:srgbClr val="006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grpSp>
          <p:nvGrpSpPr>
            <p:cNvPr id="8" name="Group 64">
              <a:extLst>
                <a:ext uri="{FF2B5EF4-FFF2-40B4-BE49-F238E27FC236}">
                  <a16:creationId xmlns:a16="http://schemas.microsoft.com/office/drawing/2014/main" id="{19216639-0704-C6D0-0D79-C3CFD25454E2}"/>
                </a:ext>
              </a:extLst>
            </p:cNvPr>
            <p:cNvGrpSpPr>
              <a:grpSpLocks noChangeAspect="1"/>
            </p:cNvGrpSpPr>
            <p:nvPr/>
          </p:nvGrpSpPr>
          <p:grpSpPr>
            <a:xfrm>
              <a:off x="-106745" y="506413"/>
              <a:ext cx="7486829" cy="6378576"/>
              <a:chOff x="1279" y="201"/>
              <a:chExt cx="5195" cy="4426"/>
            </a:xfrm>
          </p:grpSpPr>
          <p:grpSp>
            <p:nvGrpSpPr>
              <p:cNvPr id="9" name="Group 265">
                <a:extLst>
                  <a:ext uri="{FF2B5EF4-FFF2-40B4-BE49-F238E27FC236}">
                    <a16:creationId xmlns:a16="http://schemas.microsoft.com/office/drawing/2014/main" id="{9C040C2A-73A1-D9D5-D37E-B264F112E3FF}"/>
                  </a:ext>
                </a:extLst>
              </p:cNvPr>
              <p:cNvGrpSpPr/>
              <p:nvPr/>
            </p:nvGrpSpPr>
            <p:grpSpPr>
              <a:xfrm>
                <a:off x="1279" y="201"/>
                <a:ext cx="4861" cy="4426"/>
                <a:chOff x="1279" y="201"/>
                <a:chExt cx="4861" cy="4426"/>
              </a:xfrm>
            </p:grpSpPr>
            <p:sp>
              <p:nvSpPr>
                <p:cNvPr id="46" name="Freeform 65">
                  <a:extLst>
                    <a:ext uri="{FF2B5EF4-FFF2-40B4-BE49-F238E27FC236}">
                      <a16:creationId xmlns:a16="http://schemas.microsoft.com/office/drawing/2014/main" id="{090BD215-DF01-0530-C305-B2343676D441}"/>
                    </a:ext>
                  </a:extLst>
                </p:cNvPr>
                <p:cNvSpPr/>
                <p:nvPr/>
              </p:nvSpPr>
              <p:spPr bwMode="auto">
                <a:xfrm>
                  <a:off x="5293" y="2276"/>
                  <a:ext cx="345" cy="303"/>
                </a:xfrm>
                <a:custGeom>
                  <a:gdLst>
                    <a:gd name="T0" fmla="*/ 189 w 189"/>
                    <a:gd name="T1" fmla="*/ 144 h 166"/>
                    <a:gd name="T2" fmla="*/ 0 w 189"/>
                    <a:gd name="T3" fmla="*/ 0 h 166"/>
                    <a:gd name="T4" fmla="*/ 189 w 189"/>
                    <a:gd name="T5" fmla="*/ 144 h 166"/>
                  </a:gdLst>
                  <a:cxnLst>
                    <a:cxn ang="0">
                      <a:pos x="T0" y="T1"/>
                    </a:cxn>
                    <a:cxn ang="0">
                      <a:pos x="T2" y="T3"/>
                    </a:cxn>
                    <a:cxn ang="0">
                      <a:pos x="T4" y="T5"/>
                    </a:cxn>
                  </a:cxnLst>
                  <a:rect l="0" t="0" r="r" b="b"/>
                  <a:pathLst>
                    <a:path w="189" h="166">
                      <a:moveTo>
                        <a:pt x="189" y="144"/>
                      </a:moveTo>
                      <a:cubicBezTo>
                        <a:pt x="189" y="144"/>
                        <a:pt x="176" y="37"/>
                        <a:pt x="0" y="0"/>
                      </a:cubicBezTo>
                      <a:cubicBezTo>
                        <a:pt x="23" y="135"/>
                        <a:pt x="115" y="166"/>
                        <a:pt x="189" y="144"/>
                      </a:cubicBezTo>
                      <a:close/>
                    </a:path>
                  </a:pathLst>
                </a:custGeom>
                <a:solidFill>
                  <a:srgbClr val="9187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47" name="Freeform 66">
                  <a:extLst>
                    <a:ext uri="{FF2B5EF4-FFF2-40B4-BE49-F238E27FC236}">
                      <a16:creationId xmlns:a16="http://schemas.microsoft.com/office/drawing/2014/main" id="{EE4FD2F6-7232-736F-551E-36F0D7877957}"/>
                    </a:ext>
                  </a:extLst>
                </p:cNvPr>
                <p:cNvSpPr/>
                <p:nvPr/>
              </p:nvSpPr>
              <p:spPr bwMode="auto">
                <a:xfrm>
                  <a:off x="2175" y="2276"/>
                  <a:ext cx="345" cy="303"/>
                </a:xfrm>
                <a:custGeom>
                  <a:gdLst>
                    <a:gd name="T0" fmla="*/ 0 w 189"/>
                    <a:gd name="T1" fmla="*/ 144 h 166"/>
                    <a:gd name="T2" fmla="*/ 189 w 189"/>
                    <a:gd name="T3" fmla="*/ 0 h 166"/>
                    <a:gd name="T4" fmla="*/ 0 w 189"/>
                    <a:gd name="T5" fmla="*/ 144 h 166"/>
                  </a:gdLst>
                  <a:cxnLst>
                    <a:cxn ang="0">
                      <a:pos x="T0" y="T1"/>
                    </a:cxn>
                    <a:cxn ang="0">
                      <a:pos x="T2" y="T3"/>
                    </a:cxn>
                    <a:cxn ang="0">
                      <a:pos x="T4" y="T5"/>
                    </a:cxn>
                  </a:cxnLst>
                  <a:rect l="0" t="0" r="r" b="b"/>
                  <a:pathLst>
                    <a:path w="189" h="166">
                      <a:moveTo>
                        <a:pt x="0" y="144"/>
                      </a:moveTo>
                      <a:cubicBezTo>
                        <a:pt x="0" y="144"/>
                        <a:pt x="13" y="37"/>
                        <a:pt x="189" y="0"/>
                      </a:cubicBezTo>
                      <a:cubicBezTo>
                        <a:pt x="166" y="135"/>
                        <a:pt x="74" y="166"/>
                        <a:pt x="0" y="144"/>
                      </a:cubicBezTo>
                      <a:close/>
                    </a:path>
                  </a:pathLst>
                </a:custGeom>
                <a:solidFill>
                  <a:srgbClr val="9187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48" name="Freeform 67">
                  <a:extLst>
                    <a:ext uri="{FF2B5EF4-FFF2-40B4-BE49-F238E27FC236}">
                      <a16:creationId xmlns:a16="http://schemas.microsoft.com/office/drawing/2014/main" id="{3433849B-C5E0-349D-4B4E-2ABAE1B00E55}"/>
                    </a:ext>
                  </a:extLst>
                </p:cNvPr>
                <p:cNvSpPr/>
                <p:nvPr/>
              </p:nvSpPr>
              <p:spPr bwMode="auto">
                <a:xfrm>
                  <a:off x="1991" y="1079"/>
                  <a:ext cx="150" cy="562"/>
                </a:xfrm>
                <a:custGeom>
                  <a:gdLst>
                    <a:gd name="T0" fmla="*/ 33 w 82"/>
                    <a:gd name="T1" fmla="*/ 308 h 308"/>
                    <a:gd name="T2" fmla="*/ 42 w 82"/>
                    <a:gd name="T3" fmla="*/ 188 h 308"/>
                    <a:gd name="T4" fmla="*/ 37 w 82"/>
                    <a:gd name="T5" fmla="*/ 179 h 308"/>
                    <a:gd name="T6" fmla="*/ 51 w 82"/>
                    <a:gd name="T7" fmla="*/ 0 h 308"/>
                    <a:gd name="T8" fmla="*/ 37 w 82"/>
                    <a:gd name="T9" fmla="*/ 133 h 308"/>
                    <a:gd name="T10" fmla="*/ 64 w 82"/>
                    <a:gd name="T11" fmla="*/ 188 h 308"/>
                    <a:gd name="T12" fmla="*/ 33 w 82"/>
                    <a:gd name="T13" fmla="*/ 308 h 308"/>
                  </a:gdLst>
                  <a:cxnLst>
                    <a:cxn ang="0">
                      <a:pos x="T0" y="T1"/>
                    </a:cxn>
                    <a:cxn ang="0">
                      <a:pos x="T2" y="T3"/>
                    </a:cxn>
                    <a:cxn ang="0">
                      <a:pos x="T4" y="T5"/>
                    </a:cxn>
                    <a:cxn ang="0">
                      <a:pos x="T6" y="T7"/>
                    </a:cxn>
                    <a:cxn ang="0">
                      <a:pos x="T8" y="T9"/>
                    </a:cxn>
                    <a:cxn ang="0">
                      <a:pos x="T10" y="T11"/>
                    </a:cxn>
                    <a:cxn ang="0">
                      <a:pos x="T12" y="T13"/>
                    </a:cxn>
                  </a:cxnLst>
                  <a:rect l="0" t="0" r="r" b="b"/>
                  <a:pathLst>
                    <a:path w="82" h="308">
                      <a:moveTo>
                        <a:pt x="33" y="308"/>
                      </a:moveTo>
                      <a:cubicBezTo>
                        <a:pt x="54" y="272"/>
                        <a:pt x="67" y="225"/>
                        <a:pt x="42" y="188"/>
                      </a:cubicBezTo>
                      <a:cubicBezTo>
                        <a:pt x="37" y="179"/>
                        <a:pt x="37" y="179"/>
                        <a:pt x="37" y="179"/>
                      </a:cubicBezTo>
                      <a:cubicBezTo>
                        <a:pt x="1" y="119"/>
                        <a:pt x="0" y="51"/>
                        <a:pt x="51" y="0"/>
                      </a:cubicBezTo>
                      <a:cubicBezTo>
                        <a:pt x="27" y="44"/>
                        <a:pt x="19" y="87"/>
                        <a:pt x="37" y="133"/>
                      </a:cubicBezTo>
                      <a:cubicBezTo>
                        <a:pt x="44" y="153"/>
                        <a:pt x="55" y="170"/>
                        <a:pt x="64" y="188"/>
                      </a:cubicBezTo>
                      <a:cubicBezTo>
                        <a:pt x="82" y="229"/>
                        <a:pt x="64" y="278"/>
                        <a:pt x="33" y="308"/>
                      </a:cubicBezTo>
                      <a:close/>
                    </a:path>
                  </a:pathLst>
                </a:cu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49" name="Freeform 68">
                  <a:extLst>
                    <a:ext uri="{FF2B5EF4-FFF2-40B4-BE49-F238E27FC236}">
                      <a16:creationId xmlns:a16="http://schemas.microsoft.com/office/drawing/2014/main" id="{644A47EA-1B61-697A-EABA-E9028042E9FD}"/>
                    </a:ext>
                  </a:extLst>
                </p:cNvPr>
                <p:cNvSpPr/>
                <p:nvPr/>
              </p:nvSpPr>
              <p:spPr bwMode="auto">
                <a:xfrm>
                  <a:off x="1885" y="1152"/>
                  <a:ext cx="100" cy="408"/>
                </a:xfrm>
                <a:custGeom>
                  <a:gdLst>
                    <a:gd name="T0" fmla="*/ 19 w 55"/>
                    <a:gd name="T1" fmla="*/ 224 h 224"/>
                    <a:gd name="T2" fmla="*/ 26 w 55"/>
                    <a:gd name="T3" fmla="*/ 137 h 224"/>
                    <a:gd name="T4" fmla="*/ 22 w 55"/>
                    <a:gd name="T5" fmla="*/ 130 h 224"/>
                    <a:gd name="T6" fmla="*/ 4 w 55"/>
                    <a:gd name="T7" fmla="*/ 55 h 224"/>
                    <a:gd name="T8" fmla="*/ 32 w 55"/>
                    <a:gd name="T9" fmla="*/ 0 h 224"/>
                    <a:gd name="T10" fmla="*/ 15 w 55"/>
                    <a:gd name="T11" fmla="*/ 56 h 224"/>
                    <a:gd name="T12" fmla="*/ 34 w 55"/>
                    <a:gd name="T13" fmla="*/ 123 h 224"/>
                    <a:gd name="T14" fmla="*/ 41 w 55"/>
                    <a:gd name="T15" fmla="*/ 137 h 224"/>
                    <a:gd name="T16" fmla="*/ 19 w 55"/>
                    <a:gd name="T17" fmla="*/ 224 h 2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224">
                      <a:moveTo>
                        <a:pt x="19" y="224"/>
                      </a:moveTo>
                      <a:cubicBezTo>
                        <a:pt x="34" y="198"/>
                        <a:pt x="44" y="164"/>
                        <a:pt x="26" y="137"/>
                      </a:cubicBezTo>
                      <a:cubicBezTo>
                        <a:pt x="22" y="130"/>
                        <a:pt x="22" y="130"/>
                        <a:pt x="22" y="130"/>
                      </a:cubicBezTo>
                      <a:cubicBezTo>
                        <a:pt x="9" y="108"/>
                        <a:pt x="0" y="81"/>
                        <a:pt x="4" y="55"/>
                      </a:cubicBezTo>
                      <a:cubicBezTo>
                        <a:pt x="7" y="34"/>
                        <a:pt x="18" y="15"/>
                        <a:pt x="32" y="0"/>
                      </a:cubicBezTo>
                      <a:cubicBezTo>
                        <a:pt x="23" y="18"/>
                        <a:pt x="16" y="36"/>
                        <a:pt x="15" y="56"/>
                      </a:cubicBezTo>
                      <a:cubicBezTo>
                        <a:pt x="14" y="79"/>
                        <a:pt x="23" y="102"/>
                        <a:pt x="34" y="123"/>
                      </a:cubicBezTo>
                      <a:cubicBezTo>
                        <a:pt x="37" y="127"/>
                        <a:pt x="40" y="133"/>
                        <a:pt x="41" y="137"/>
                      </a:cubicBezTo>
                      <a:cubicBezTo>
                        <a:pt x="55" y="167"/>
                        <a:pt x="42" y="202"/>
                        <a:pt x="19" y="224"/>
                      </a:cubicBezTo>
                      <a:close/>
                    </a:path>
                  </a:pathLst>
                </a:cu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50" name="Freeform 69">
                  <a:extLst>
                    <a:ext uri="{FF2B5EF4-FFF2-40B4-BE49-F238E27FC236}">
                      <a16:creationId xmlns:a16="http://schemas.microsoft.com/office/drawing/2014/main" id="{79864116-B0D8-25A7-27AE-219A35326256}"/>
                    </a:ext>
                  </a:extLst>
                </p:cNvPr>
                <p:cNvSpPr/>
                <p:nvPr/>
              </p:nvSpPr>
              <p:spPr bwMode="auto">
                <a:xfrm>
                  <a:off x="2201" y="1869"/>
                  <a:ext cx="423" cy="159"/>
                </a:xfrm>
                <a:custGeom>
                  <a:gdLst>
                    <a:gd name="T0" fmla="*/ 232 w 232"/>
                    <a:gd name="T1" fmla="*/ 4 h 87"/>
                    <a:gd name="T2" fmla="*/ 9 w 232"/>
                    <a:gd name="T3" fmla="*/ 86 h 87"/>
                    <a:gd name="T4" fmla="*/ 3 w 232"/>
                    <a:gd name="T5" fmla="*/ 86 h 87"/>
                    <a:gd name="T6" fmla="*/ 3 w 232"/>
                    <a:gd name="T7" fmla="*/ 86 h 87"/>
                    <a:gd name="T8" fmla="*/ 3 w 232"/>
                    <a:gd name="T9" fmla="*/ 78 h 87"/>
                    <a:gd name="T10" fmla="*/ 232 w 232"/>
                    <a:gd name="T11" fmla="*/ 4 h 87"/>
                  </a:gdLst>
                  <a:cxnLst>
                    <a:cxn ang="0">
                      <a:pos x="T0" y="T1"/>
                    </a:cxn>
                    <a:cxn ang="0">
                      <a:pos x="T2" y="T3"/>
                    </a:cxn>
                    <a:cxn ang="0">
                      <a:pos x="T4" y="T5"/>
                    </a:cxn>
                    <a:cxn ang="0">
                      <a:pos x="T6" y="T7"/>
                    </a:cxn>
                    <a:cxn ang="0">
                      <a:pos x="T8" y="T9"/>
                    </a:cxn>
                    <a:cxn ang="0">
                      <a:pos x="T10" y="T11"/>
                    </a:cxn>
                  </a:cxnLst>
                  <a:rect l="0" t="0" r="r" b="b"/>
                  <a:pathLst>
                    <a:path w="231" h="87">
                      <a:moveTo>
                        <a:pt x="232" y="4"/>
                      </a:moveTo>
                      <a:cubicBezTo>
                        <a:pt x="232" y="4"/>
                        <a:pt x="123" y="2"/>
                        <a:pt x="9" y="86"/>
                      </a:cubicBezTo>
                      <a:cubicBezTo>
                        <a:pt x="7" y="87"/>
                        <a:pt x="5" y="87"/>
                        <a:pt x="3" y="86"/>
                      </a:cubicBezTo>
                      <a:cubicBezTo>
                        <a:pt x="3" y="86"/>
                        <a:pt x="3" y="86"/>
                        <a:pt x="3" y="86"/>
                      </a:cubicBezTo>
                      <a:cubicBezTo>
                        <a:pt x="0" y="84"/>
                        <a:pt x="0" y="80"/>
                        <a:pt x="3" y="78"/>
                      </a:cubicBezTo>
                      <a:cubicBezTo>
                        <a:pt x="27" y="62"/>
                        <a:pt x="124" y="0"/>
                        <a:pt x="232" y="4"/>
                      </a:cubicBezTo>
                      <a:close/>
                    </a:path>
                  </a:pathLst>
                </a:custGeom>
                <a:solidFill>
                  <a:srgbClr val="BEB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51" name="Freeform 70">
                  <a:extLst>
                    <a:ext uri="{FF2B5EF4-FFF2-40B4-BE49-F238E27FC236}">
                      <a16:creationId xmlns:a16="http://schemas.microsoft.com/office/drawing/2014/main" id="{5AB625AD-6CB6-7E73-D3F2-52322B98BEC4}"/>
                    </a:ext>
                  </a:extLst>
                </p:cNvPr>
                <p:cNvSpPr/>
                <p:nvPr/>
              </p:nvSpPr>
              <p:spPr bwMode="auto">
                <a:xfrm>
                  <a:off x="2259" y="1971"/>
                  <a:ext cx="157" cy="91"/>
                </a:xfrm>
                <a:custGeom>
                  <a:gdLst>
                    <a:gd name="T0" fmla="*/ 0 w 86"/>
                    <a:gd name="T1" fmla="*/ 13 h 50"/>
                    <a:gd name="T2" fmla="*/ 86 w 86"/>
                    <a:gd name="T3" fmla="*/ 50 h 50"/>
                    <a:gd name="T4" fmla="*/ 0 w 86"/>
                    <a:gd name="T5" fmla="*/ 13 h 50"/>
                  </a:gdLst>
                  <a:cxnLst>
                    <a:cxn ang="0">
                      <a:pos x="T0" y="T1"/>
                    </a:cxn>
                    <a:cxn ang="0">
                      <a:pos x="T2" y="T3"/>
                    </a:cxn>
                    <a:cxn ang="0">
                      <a:pos x="T4" y="T5"/>
                    </a:cxn>
                  </a:cxnLst>
                  <a:rect l="0" t="0" r="r" b="b"/>
                  <a:pathLst>
                    <a:path w="86" h="50">
                      <a:moveTo>
                        <a:pt x="0" y="13"/>
                      </a:moveTo>
                      <a:cubicBezTo>
                        <a:pt x="0" y="13"/>
                        <a:pt x="58" y="0"/>
                        <a:pt x="86" y="50"/>
                      </a:cubicBezTo>
                      <a:cubicBezTo>
                        <a:pt x="46" y="49"/>
                        <a:pt x="0" y="13"/>
                        <a:pt x="0" y="13"/>
                      </a:cubicBezTo>
                      <a:close/>
                    </a:path>
                  </a:pathLst>
                </a:custGeom>
                <a:solidFill>
                  <a:srgbClr val="BEB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52" name="Freeform 71">
                  <a:extLst>
                    <a:ext uri="{FF2B5EF4-FFF2-40B4-BE49-F238E27FC236}">
                      <a16:creationId xmlns:a16="http://schemas.microsoft.com/office/drawing/2014/main" id="{7E869BE9-4020-40E1-420A-8FD4F1F8914E}"/>
                    </a:ext>
                  </a:extLst>
                </p:cNvPr>
                <p:cNvSpPr/>
                <p:nvPr/>
              </p:nvSpPr>
              <p:spPr bwMode="auto">
                <a:xfrm>
                  <a:off x="2259" y="1995"/>
                  <a:ext cx="124" cy="45"/>
                </a:xfrm>
                <a:custGeom>
                  <a:gdLst>
                    <a:gd name="T0" fmla="*/ 0 w 68"/>
                    <a:gd name="T1" fmla="*/ 0 h 25"/>
                    <a:gd name="T2" fmla="*/ 68 w 68"/>
                    <a:gd name="T3" fmla="*/ 25 h 25"/>
                    <a:gd name="T4" fmla="*/ 0 w 68"/>
                    <a:gd name="T5" fmla="*/ 0 h 25"/>
                  </a:gdLst>
                  <a:cxnLst>
                    <a:cxn ang="0">
                      <a:pos x="T0" y="T1"/>
                    </a:cxn>
                    <a:cxn ang="0">
                      <a:pos x="T2" y="T3"/>
                    </a:cxn>
                    <a:cxn ang="0">
                      <a:pos x="T4" y="T5"/>
                    </a:cxn>
                  </a:cxnLst>
                  <a:rect l="0" t="0" r="r" b="b"/>
                  <a:pathLst>
                    <a:path w="68" h="25">
                      <a:moveTo>
                        <a:pt x="0" y="0"/>
                      </a:moveTo>
                      <a:cubicBezTo>
                        <a:pt x="0" y="0"/>
                        <a:pt x="38" y="1"/>
                        <a:pt x="68" y="25"/>
                      </a:cubicBezTo>
                      <a:cubicBezTo>
                        <a:pt x="50" y="17"/>
                        <a:pt x="31" y="8"/>
                        <a:pt x="0" y="0"/>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53" name="Freeform 72">
                  <a:extLst>
                    <a:ext uri="{FF2B5EF4-FFF2-40B4-BE49-F238E27FC236}">
                      <a16:creationId xmlns:a16="http://schemas.microsoft.com/office/drawing/2014/main" id="{90FD61DB-FD10-BD69-5439-A6B43C4FD0B4}"/>
                    </a:ext>
                  </a:extLst>
                </p:cNvPr>
                <p:cNvSpPr/>
                <p:nvPr/>
              </p:nvSpPr>
              <p:spPr bwMode="auto">
                <a:xfrm>
                  <a:off x="2254" y="1827"/>
                  <a:ext cx="95" cy="155"/>
                </a:xfrm>
                <a:custGeom>
                  <a:gdLst>
                    <a:gd name="T0" fmla="*/ 0 w 52"/>
                    <a:gd name="T1" fmla="*/ 85 h 85"/>
                    <a:gd name="T2" fmla="*/ 39 w 52"/>
                    <a:gd name="T3" fmla="*/ 0 h 85"/>
                    <a:gd name="T4" fmla="*/ 0 w 52"/>
                    <a:gd name="T5" fmla="*/ 85 h 85"/>
                  </a:gdLst>
                  <a:cxnLst>
                    <a:cxn ang="0">
                      <a:pos x="T0" y="T1"/>
                    </a:cxn>
                    <a:cxn ang="0">
                      <a:pos x="T2" y="T3"/>
                    </a:cxn>
                    <a:cxn ang="0">
                      <a:pos x="T4" y="T5"/>
                    </a:cxn>
                  </a:cxnLst>
                  <a:rect l="0" t="0" r="r" b="b"/>
                  <a:pathLst>
                    <a:path w="52" h="85">
                      <a:moveTo>
                        <a:pt x="0" y="85"/>
                      </a:moveTo>
                      <a:cubicBezTo>
                        <a:pt x="0" y="85"/>
                        <a:pt x="52" y="57"/>
                        <a:pt x="39" y="0"/>
                      </a:cubicBezTo>
                      <a:cubicBezTo>
                        <a:pt x="11" y="28"/>
                        <a:pt x="0" y="85"/>
                        <a:pt x="0" y="85"/>
                      </a:cubicBezTo>
                      <a:close/>
                    </a:path>
                  </a:pathLst>
                </a:custGeom>
                <a:solidFill>
                  <a:srgbClr val="BEB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54" name="Freeform 73">
                  <a:extLst>
                    <a:ext uri="{FF2B5EF4-FFF2-40B4-BE49-F238E27FC236}">
                      <a16:creationId xmlns:a16="http://schemas.microsoft.com/office/drawing/2014/main" id="{AF0ED481-B4CB-DD0A-556F-F2BAD8AED8C8}"/>
                    </a:ext>
                  </a:extLst>
                </p:cNvPr>
                <p:cNvSpPr/>
                <p:nvPr/>
              </p:nvSpPr>
              <p:spPr bwMode="auto">
                <a:xfrm>
                  <a:off x="2254" y="1865"/>
                  <a:ext cx="62" cy="117"/>
                </a:xfrm>
                <a:custGeom>
                  <a:gdLst>
                    <a:gd name="T0" fmla="*/ 0 w 34"/>
                    <a:gd name="T1" fmla="*/ 64 h 64"/>
                    <a:gd name="T2" fmla="*/ 34 w 34"/>
                    <a:gd name="T3" fmla="*/ 0 h 64"/>
                    <a:gd name="T4" fmla="*/ 0 w 34"/>
                    <a:gd name="T5" fmla="*/ 64 h 64"/>
                  </a:gdLst>
                  <a:cxnLst>
                    <a:cxn ang="0">
                      <a:pos x="T0" y="T1"/>
                    </a:cxn>
                    <a:cxn ang="0">
                      <a:pos x="T2" y="T3"/>
                    </a:cxn>
                    <a:cxn ang="0">
                      <a:pos x="T4" y="T5"/>
                    </a:cxn>
                  </a:cxnLst>
                  <a:rect l="0" t="0" r="r" b="b"/>
                  <a:pathLst>
                    <a:path w="34" h="64">
                      <a:moveTo>
                        <a:pt x="0" y="64"/>
                      </a:moveTo>
                      <a:cubicBezTo>
                        <a:pt x="0" y="64"/>
                        <a:pt x="28" y="39"/>
                        <a:pt x="34" y="0"/>
                      </a:cubicBezTo>
                      <a:cubicBezTo>
                        <a:pt x="26" y="18"/>
                        <a:pt x="18" y="38"/>
                        <a:pt x="0" y="64"/>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55" name="Freeform 74">
                  <a:extLst>
                    <a:ext uri="{FF2B5EF4-FFF2-40B4-BE49-F238E27FC236}">
                      <a16:creationId xmlns:a16="http://schemas.microsoft.com/office/drawing/2014/main" id="{F55CCFFD-5144-6F9C-6047-A60BD344E047}"/>
                    </a:ext>
                  </a:extLst>
                </p:cNvPr>
                <p:cNvSpPr/>
                <p:nvPr/>
              </p:nvSpPr>
              <p:spPr bwMode="auto">
                <a:xfrm>
                  <a:off x="2339" y="1927"/>
                  <a:ext cx="152" cy="97"/>
                </a:xfrm>
                <a:custGeom>
                  <a:gdLst>
                    <a:gd name="T0" fmla="*/ 0 w 83"/>
                    <a:gd name="T1" fmla="*/ 9 h 53"/>
                    <a:gd name="T2" fmla="*/ 83 w 83"/>
                    <a:gd name="T3" fmla="*/ 53 h 53"/>
                    <a:gd name="T4" fmla="*/ 0 w 83"/>
                    <a:gd name="T5" fmla="*/ 9 h 53"/>
                  </a:gdLst>
                  <a:cxnLst>
                    <a:cxn ang="0">
                      <a:pos x="T0" y="T1"/>
                    </a:cxn>
                    <a:cxn ang="0">
                      <a:pos x="T2" y="T3"/>
                    </a:cxn>
                    <a:cxn ang="0">
                      <a:pos x="T4" y="T5"/>
                    </a:cxn>
                  </a:cxnLst>
                  <a:rect l="0" t="0" r="r" b="b"/>
                  <a:pathLst>
                    <a:path w="83" h="52">
                      <a:moveTo>
                        <a:pt x="0" y="9"/>
                      </a:moveTo>
                      <a:cubicBezTo>
                        <a:pt x="0" y="9"/>
                        <a:pt x="58" y="0"/>
                        <a:pt x="83" y="53"/>
                      </a:cubicBezTo>
                      <a:cubicBezTo>
                        <a:pt x="43" y="48"/>
                        <a:pt x="0" y="9"/>
                        <a:pt x="0" y="9"/>
                      </a:cubicBezTo>
                      <a:close/>
                    </a:path>
                  </a:pathLst>
                </a:custGeom>
                <a:solidFill>
                  <a:srgbClr val="BEB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56" name="Freeform 75">
                  <a:extLst>
                    <a:ext uri="{FF2B5EF4-FFF2-40B4-BE49-F238E27FC236}">
                      <a16:creationId xmlns:a16="http://schemas.microsoft.com/office/drawing/2014/main" id="{1349C508-BA03-D85B-452A-0F0D087F29F3}"/>
                    </a:ext>
                  </a:extLst>
                </p:cNvPr>
                <p:cNvSpPr/>
                <p:nvPr/>
              </p:nvSpPr>
              <p:spPr bwMode="auto">
                <a:xfrm>
                  <a:off x="2339" y="1944"/>
                  <a:ext cx="121" cy="56"/>
                </a:xfrm>
                <a:custGeom>
                  <a:gdLst>
                    <a:gd name="T0" fmla="*/ 0 w 66"/>
                    <a:gd name="T1" fmla="*/ 0 h 31"/>
                    <a:gd name="T2" fmla="*/ 66 w 66"/>
                    <a:gd name="T3" fmla="*/ 31 h 31"/>
                    <a:gd name="T4" fmla="*/ 0 w 66"/>
                    <a:gd name="T5" fmla="*/ 0 h 31"/>
                  </a:gdLst>
                  <a:cxnLst>
                    <a:cxn ang="0">
                      <a:pos x="T0" y="T1"/>
                    </a:cxn>
                    <a:cxn ang="0">
                      <a:pos x="T2" y="T3"/>
                    </a:cxn>
                    <a:cxn ang="0">
                      <a:pos x="T4" y="T5"/>
                    </a:cxn>
                  </a:cxnLst>
                  <a:rect l="0" t="0" r="r" b="b"/>
                  <a:pathLst>
                    <a:path w="66" h="31">
                      <a:moveTo>
                        <a:pt x="0" y="0"/>
                      </a:moveTo>
                      <a:cubicBezTo>
                        <a:pt x="0" y="0"/>
                        <a:pt x="38" y="4"/>
                        <a:pt x="66" y="31"/>
                      </a:cubicBezTo>
                      <a:cubicBezTo>
                        <a:pt x="49" y="21"/>
                        <a:pt x="30" y="10"/>
                        <a:pt x="0" y="0"/>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57" name="Freeform 76">
                  <a:extLst>
                    <a:ext uri="{FF2B5EF4-FFF2-40B4-BE49-F238E27FC236}">
                      <a16:creationId xmlns:a16="http://schemas.microsoft.com/office/drawing/2014/main" id="{5AFBFC29-CDFA-A80D-0497-D3E20D489C6B}"/>
                    </a:ext>
                  </a:extLst>
                </p:cNvPr>
                <p:cNvSpPr/>
                <p:nvPr/>
              </p:nvSpPr>
              <p:spPr bwMode="auto">
                <a:xfrm>
                  <a:off x="2529" y="1827"/>
                  <a:ext cx="170" cy="91"/>
                </a:xfrm>
                <a:custGeom>
                  <a:gdLst>
                    <a:gd name="T0" fmla="*/ 0 w 93"/>
                    <a:gd name="T1" fmla="*/ 30 h 50"/>
                    <a:gd name="T2" fmla="*/ 93 w 93"/>
                    <a:gd name="T3" fmla="*/ 40 h 50"/>
                    <a:gd name="T4" fmla="*/ 0 w 93"/>
                    <a:gd name="T5" fmla="*/ 30 h 50"/>
                  </a:gdLst>
                  <a:cxnLst>
                    <a:cxn ang="0">
                      <a:pos x="T0" y="T1"/>
                    </a:cxn>
                    <a:cxn ang="0">
                      <a:pos x="T2" y="T3"/>
                    </a:cxn>
                    <a:cxn ang="0">
                      <a:pos x="T4" y="T5"/>
                    </a:cxn>
                  </a:cxnLst>
                  <a:rect l="0" t="0" r="r" b="b"/>
                  <a:pathLst>
                    <a:path w="93" h="50">
                      <a:moveTo>
                        <a:pt x="0" y="30"/>
                      </a:moveTo>
                      <a:cubicBezTo>
                        <a:pt x="0" y="30"/>
                        <a:pt x="51" y="0"/>
                        <a:pt x="93" y="40"/>
                      </a:cubicBezTo>
                      <a:cubicBezTo>
                        <a:pt x="55" y="50"/>
                        <a:pt x="0" y="30"/>
                        <a:pt x="0" y="30"/>
                      </a:cubicBezTo>
                      <a:close/>
                    </a:path>
                  </a:pathLst>
                </a:custGeom>
                <a:solidFill>
                  <a:srgbClr val="BEB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58" name="Freeform 77">
                  <a:extLst>
                    <a:ext uri="{FF2B5EF4-FFF2-40B4-BE49-F238E27FC236}">
                      <a16:creationId xmlns:a16="http://schemas.microsoft.com/office/drawing/2014/main" id="{2213D035-E337-E103-4E77-E87F55459070}"/>
                    </a:ext>
                  </a:extLst>
                </p:cNvPr>
                <p:cNvSpPr/>
                <p:nvPr/>
              </p:nvSpPr>
              <p:spPr bwMode="auto">
                <a:xfrm>
                  <a:off x="2529" y="1862"/>
                  <a:ext cx="133" cy="25"/>
                </a:xfrm>
                <a:custGeom>
                  <a:gdLst>
                    <a:gd name="T0" fmla="*/ 0 w 73"/>
                    <a:gd name="T1" fmla="*/ 11 h 14"/>
                    <a:gd name="T2" fmla="*/ 73 w 73"/>
                    <a:gd name="T3" fmla="*/ 14 h 14"/>
                    <a:gd name="T4" fmla="*/ 0 w 73"/>
                    <a:gd name="T5" fmla="*/ 11 h 14"/>
                  </a:gdLst>
                  <a:cxnLst>
                    <a:cxn ang="0">
                      <a:pos x="T0" y="T1"/>
                    </a:cxn>
                    <a:cxn ang="0">
                      <a:pos x="T2" y="T3"/>
                    </a:cxn>
                    <a:cxn ang="0">
                      <a:pos x="T4" y="T5"/>
                    </a:cxn>
                  </a:cxnLst>
                  <a:rect l="0" t="0" r="r" b="b"/>
                  <a:pathLst>
                    <a:path w="73" h="14">
                      <a:moveTo>
                        <a:pt x="0" y="11"/>
                      </a:moveTo>
                      <a:cubicBezTo>
                        <a:pt x="0" y="11"/>
                        <a:pt x="36" y="0"/>
                        <a:pt x="73" y="14"/>
                      </a:cubicBezTo>
                      <a:cubicBezTo>
                        <a:pt x="53" y="12"/>
                        <a:pt x="31" y="9"/>
                        <a:pt x="0" y="11"/>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59" name="Freeform 78">
                  <a:extLst>
                    <a:ext uri="{FF2B5EF4-FFF2-40B4-BE49-F238E27FC236}">
                      <a16:creationId xmlns:a16="http://schemas.microsoft.com/office/drawing/2014/main" id="{61651EB5-0959-1C8C-DA1C-AC8EC66C68E6}"/>
                    </a:ext>
                  </a:extLst>
                </p:cNvPr>
                <p:cNvSpPr/>
                <p:nvPr/>
              </p:nvSpPr>
              <p:spPr bwMode="auto">
                <a:xfrm>
                  <a:off x="2341" y="1790"/>
                  <a:ext cx="101" cy="150"/>
                </a:xfrm>
                <a:custGeom>
                  <a:gdLst>
                    <a:gd name="T0" fmla="*/ 0 w 55"/>
                    <a:gd name="T1" fmla="*/ 82 h 82"/>
                    <a:gd name="T2" fmla="*/ 47 w 55"/>
                    <a:gd name="T3" fmla="*/ 0 h 82"/>
                    <a:gd name="T4" fmla="*/ 0 w 55"/>
                    <a:gd name="T5" fmla="*/ 82 h 82"/>
                  </a:gdLst>
                  <a:cxnLst>
                    <a:cxn ang="0">
                      <a:pos x="T0" y="T1"/>
                    </a:cxn>
                    <a:cxn ang="0">
                      <a:pos x="T2" y="T3"/>
                    </a:cxn>
                    <a:cxn ang="0">
                      <a:pos x="T4" y="T5"/>
                    </a:cxn>
                  </a:cxnLst>
                  <a:rect l="0" t="0" r="r" b="b"/>
                  <a:pathLst>
                    <a:path w="55" h="82">
                      <a:moveTo>
                        <a:pt x="0" y="82"/>
                      </a:moveTo>
                      <a:cubicBezTo>
                        <a:pt x="0" y="82"/>
                        <a:pt x="55" y="57"/>
                        <a:pt x="47" y="0"/>
                      </a:cubicBezTo>
                      <a:cubicBezTo>
                        <a:pt x="16" y="25"/>
                        <a:pt x="0" y="82"/>
                        <a:pt x="0" y="82"/>
                      </a:cubicBezTo>
                      <a:close/>
                    </a:path>
                  </a:pathLst>
                </a:custGeom>
                <a:solidFill>
                  <a:srgbClr val="BEB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60" name="Freeform 79">
                  <a:extLst>
                    <a:ext uri="{FF2B5EF4-FFF2-40B4-BE49-F238E27FC236}">
                      <a16:creationId xmlns:a16="http://schemas.microsoft.com/office/drawing/2014/main" id="{44D9AADC-896D-FA24-7EEA-F16B3B8B38BA}"/>
                    </a:ext>
                  </a:extLst>
                </p:cNvPr>
                <p:cNvSpPr/>
                <p:nvPr/>
              </p:nvSpPr>
              <p:spPr bwMode="auto">
                <a:xfrm>
                  <a:off x="2341" y="1827"/>
                  <a:ext cx="73" cy="113"/>
                </a:xfrm>
                <a:custGeom>
                  <a:gdLst>
                    <a:gd name="T0" fmla="*/ 0 w 40"/>
                    <a:gd name="T1" fmla="*/ 62 h 62"/>
                    <a:gd name="T2" fmla="*/ 40 w 40"/>
                    <a:gd name="T3" fmla="*/ 0 h 62"/>
                    <a:gd name="T4" fmla="*/ 0 w 40"/>
                    <a:gd name="T5" fmla="*/ 62 h 62"/>
                  </a:gdLst>
                  <a:cxnLst>
                    <a:cxn ang="0">
                      <a:pos x="T0" y="T1"/>
                    </a:cxn>
                    <a:cxn ang="0">
                      <a:pos x="T2" y="T3"/>
                    </a:cxn>
                    <a:cxn ang="0">
                      <a:pos x="T4" y="T5"/>
                    </a:cxn>
                  </a:cxnLst>
                  <a:rect l="0" t="0" r="r" b="b"/>
                  <a:pathLst>
                    <a:path w="40" h="62">
                      <a:moveTo>
                        <a:pt x="0" y="62"/>
                      </a:moveTo>
                      <a:cubicBezTo>
                        <a:pt x="0" y="62"/>
                        <a:pt x="31" y="38"/>
                        <a:pt x="40" y="0"/>
                      </a:cubicBezTo>
                      <a:cubicBezTo>
                        <a:pt x="31" y="18"/>
                        <a:pt x="20" y="37"/>
                        <a:pt x="0" y="62"/>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61" name="Freeform 80">
                  <a:extLst>
                    <a:ext uri="{FF2B5EF4-FFF2-40B4-BE49-F238E27FC236}">
                      <a16:creationId xmlns:a16="http://schemas.microsoft.com/office/drawing/2014/main" id="{AA29D7BF-1964-C676-6F73-3FDB833AF1CA}"/>
                    </a:ext>
                  </a:extLst>
                </p:cNvPr>
                <p:cNvSpPr/>
                <p:nvPr/>
              </p:nvSpPr>
              <p:spPr bwMode="auto">
                <a:xfrm>
                  <a:off x="2440" y="1891"/>
                  <a:ext cx="151" cy="96"/>
                </a:xfrm>
                <a:custGeom>
                  <a:gdLst>
                    <a:gd name="T0" fmla="*/ 0 w 83"/>
                    <a:gd name="T1" fmla="*/ 9 h 53"/>
                    <a:gd name="T2" fmla="*/ 83 w 83"/>
                    <a:gd name="T3" fmla="*/ 53 h 53"/>
                    <a:gd name="T4" fmla="*/ 0 w 83"/>
                    <a:gd name="T5" fmla="*/ 9 h 53"/>
                  </a:gdLst>
                  <a:cxnLst>
                    <a:cxn ang="0">
                      <a:pos x="T0" y="T1"/>
                    </a:cxn>
                    <a:cxn ang="0">
                      <a:pos x="T2" y="T3"/>
                    </a:cxn>
                    <a:cxn ang="0">
                      <a:pos x="T4" y="T5"/>
                    </a:cxn>
                  </a:cxnLst>
                  <a:rect l="0" t="0" r="r" b="b"/>
                  <a:pathLst>
                    <a:path w="83" h="52">
                      <a:moveTo>
                        <a:pt x="0" y="9"/>
                      </a:moveTo>
                      <a:cubicBezTo>
                        <a:pt x="0" y="9"/>
                        <a:pt x="59" y="0"/>
                        <a:pt x="83" y="53"/>
                      </a:cubicBezTo>
                      <a:cubicBezTo>
                        <a:pt x="43" y="48"/>
                        <a:pt x="0" y="9"/>
                        <a:pt x="0" y="9"/>
                      </a:cubicBezTo>
                      <a:close/>
                    </a:path>
                  </a:pathLst>
                </a:custGeom>
                <a:solidFill>
                  <a:srgbClr val="BEB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62" name="Freeform 81">
                  <a:extLst>
                    <a:ext uri="{FF2B5EF4-FFF2-40B4-BE49-F238E27FC236}">
                      <a16:creationId xmlns:a16="http://schemas.microsoft.com/office/drawing/2014/main" id="{EFF237AD-3CE3-6918-AD9A-C3D788F18BCA}"/>
                    </a:ext>
                  </a:extLst>
                </p:cNvPr>
                <p:cNvSpPr/>
                <p:nvPr/>
              </p:nvSpPr>
              <p:spPr bwMode="auto">
                <a:xfrm>
                  <a:off x="2440" y="1907"/>
                  <a:ext cx="120" cy="55"/>
                </a:xfrm>
                <a:custGeom>
                  <a:gdLst>
                    <a:gd name="T0" fmla="*/ 0 w 66"/>
                    <a:gd name="T1" fmla="*/ 0 h 30"/>
                    <a:gd name="T2" fmla="*/ 66 w 66"/>
                    <a:gd name="T3" fmla="*/ 30 h 30"/>
                    <a:gd name="T4" fmla="*/ 0 w 66"/>
                    <a:gd name="T5" fmla="*/ 0 h 30"/>
                  </a:gdLst>
                  <a:cxnLst>
                    <a:cxn ang="0">
                      <a:pos x="T0" y="T1"/>
                    </a:cxn>
                    <a:cxn ang="0">
                      <a:pos x="T2" y="T3"/>
                    </a:cxn>
                    <a:cxn ang="0">
                      <a:pos x="T4" y="T5"/>
                    </a:cxn>
                  </a:cxnLst>
                  <a:rect l="0" t="0" r="r" b="b"/>
                  <a:pathLst>
                    <a:path w="66" h="30">
                      <a:moveTo>
                        <a:pt x="0" y="0"/>
                      </a:moveTo>
                      <a:cubicBezTo>
                        <a:pt x="0" y="0"/>
                        <a:pt x="38" y="3"/>
                        <a:pt x="66" y="30"/>
                      </a:cubicBezTo>
                      <a:cubicBezTo>
                        <a:pt x="49" y="20"/>
                        <a:pt x="30" y="10"/>
                        <a:pt x="0" y="0"/>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63" name="Freeform 82">
                  <a:extLst>
                    <a:ext uri="{FF2B5EF4-FFF2-40B4-BE49-F238E27FC236}">
                      <a16:creationId xmlns:a16="http://schemas.microsoft.com/office/drawing/2014/main" id="{42477DD1-01FA-7513-1327-BED8C105AE5C}"/>
                    </a:ext>
                  </a:extLst>
                </p:cNvPr>
                <p:cNvSpPr/>
                <p:nvPr/>
              </p:nvSpPr>
              <p:spPr bwMode="auto">
                <a:xfrm>
                  <a:off x="2442" y="1752"/>
                  <a:ext cx="100" cy="150"/>
                </a:xfrm>
                <a:custGeom>
                  <a:gdLst>
                    <a:gd name="T0" fmla="*/ 0 w 55"/>
                    <a:gd name="T1" fmla="*/ 82 h 82"/>
                    <a:gd name="T2" fmla="*/ 47 w 55"/>
                    <a:gd name="T3" fmla="*/ 0 h 82"/>
                    <a:gd name="T4" fmla="*/ 0 w 55"/>
                    <a:gd name="T5" fmla="*/ 82 h 82"/>
                  </a:gdLst>
                  <a:cxnLst>
                    <a:cxn ang="0">
                      <a:pos x="T0" y="T1"/>
                    </a:cxn>
                    <a:cxn ang="0">
                      <a:pos x="T2" y="T3"/>
                    </a:cxn>
                    <a:cxn ang="0">
                      <a:pos x="T4" y="T5"/>
                    </a:cxn>
                  </a:cxnLst>
                  <a:rect l="0" t="0" r="r" b="b"/>
                  <a:pathLst>
                    <a:path w="55" h="82">
                      <a:moveTo>
                        <a:pt x="0" y="82"/>
                      </a:moveTo>
                      <a:cubicBezTo>
                        <a:pt x="0" y="82"/>
                        <a:pt x="55" y="58"/>
                        <a:pt x="47" y="0"/>
                      </a:cubicBezTo>
                      <a:cubicBezTo>
                        <a:pt x="16" y="26"/>
                        <a:pt x="0" y="82"/>
                        <a:pt x="0" y="82"/>
                      </a:cubicBezTo>
                      <a:close/>
                    </a:path>
                  </a:pathLst>
                </a:custGeom>
                <a:solidFill>
                  <a:srgbClr val="BEB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64" name="Freeform 83">
                  <a:extLst>
                    <a:ext uri="{FF2B5EF4-FFF2-40B4-BE49-F238E27FC236}">
                      <a16:creationId xmlns:a16="http://schemas.microsoft.com/office/drawing/2014/main" id="{01723B02-DE44-006C-A571-1967F2C07F29}"/>
                    </a:ext>
                  </a:extLst>
                </p:cNvPr>
                <p:cNvSpPr/>
                <p:nvPr/>
              </p:nvSpPr>
              <p:spPr bwMode="auto">
                <a:xfrm>
                  <a:off x="2442" y="1790"/>
                  <a:ext cx="73" cy="112"/>
                </a:xfrm>
                <a:custGeom>
                  <a:gdLst>
                    <a:gd name="T0" fmla="*/ 0 w 40"/>
                    <a:gd name="T1" fmla="*/ 61 h 61"/>
                    <a:gd name="T2" fmla="*/ 40 w 40"/>
                    <a:gd name="T3" fmla="*/ 0 h 61"/>
                    <a:gd name="T4" fmla="*/ 0 w 40"/>
                    <a:gd name="T5" fmla="*/ 61 h 61"/>
                  </a:gdLst>
                  <a:cxnLst>
                    <a:cxn ang="0">
                      <a:pos x="T0" y="T1"/>
                    </a:cxn>
                    <a:cxn ang="0">
                      <a:pos x="T2" y="T3"/>
                    </a:cxn>
                    <a:cxn ang="0">
                      <a:pos x="T4" y="T5"/>
                    </a:cxn>
                  </a:cxnLst>
                  <a:rect l="0" t="0" r="r" b="b"/>
                  <a:pathLst>
                    <a:path w="40" h="61">
                      <a:moveTo>
                        <a:pt x="0" y="61"/>
                      </a:moveTo>
                      <a:cubicBezTo>
                        <a:pt x="0" y="61"/>
                        <a:pt x="31" y="38"/>
                        <a:pt x="40" y="0"/>
                      </a:cubicBezTo>
                      <a:cubicBezTo>
                        <a:pt x="31" y="17"/>
                        <a:pt x="20" y="36"/>
                        <a:pt x="0" y="61"/>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65" name="Freeform 84">
                  <a:extLst>
                    <a:ext uri="{FF2B5EF4-FFF2-40B4-BE49-F238E27FC236}">
                      <a16:creationId xmlns:a16="http://schemas.microsoft.com/office/drawing/2014/main" id="{9C0545B2-5E9D-6CCF-497C-CD11004D928A}"/>
                    </a:ext>
                  </a:extLst>
                </p:cNvPr>
                <p:cNvSpPr/>
                <p:nvPr/>
              </p:nvSpPr>
              <p:spPr bwMode="auto">
                <a:xfrm>
                  <a:off x="1356" y="1869"/>
                  <a:ext cx="421" cy="159"/>
                </a:xfrm>
                <a:custGeom>
                  <a:gdLst>
                    <a:gd name="T0" fmla="*/ 0 w 231"/>
                    <a:gd name="T1" fmla="*/ 4 h 87"/>
                    <a:gd name="T2" fmla="*/ 223 w 231"/>
                    <a:gd name="T3" fmla="*/ 86 h 87"/>
                    <a:gd name="T4" fmla="*/ 229 w 231"/>
                    <a:gd name="T5" fmla="*/ 86 h 87"/>
                    <a:gd name="T6" fmla="*/ 229 w 231"/>
                    <a:gd name="T7" fmla="*/ 86 h 87"/>
                    <a:gd name="T8" fmla="*/ 228 w 231"/>
                    <a:gd name="T9" fmla="*/ 78 h 87"/>
                    <a:gd name="T10" fmla="*/ 0 w 231"/>
                    <a:gd name="T11" fmla="*/ 4 h 87"/>
                  </a:gdLst>
                  <a:cxnLst>
                    <a:cxn ang="0">
                      <a:pos x="T0" y="T1"/>
                    </a:cxn>
                    <a:cxn ang="0">
                      <a:pos x="T2" y="T3"/>
                    </a:cxn>
                    <a:cxn ang="0">
                      <a:pos x="T4" y="T5"/>
                    </a:cxn>
                    <a:cxn ang="0">
                      <a:pos x="T6" y="T7"/>
                    </a:cxn>
                    <a:cxn ang="0">
                      <a:pos x="T8" y="T9"/>
                    </a:cxn>
                    <a:cxn ang="0">
                      <a:pos x="T10" y="T11"/>
                    </a:cxn>
                  </a:cxnLst>
                  <a:rect l="0" t="0" r="r" b="b"/>
                  <a:pathLst>
                    <a:path w="231" h="87">
                      <a:moveTo>
                        <a:pt x="0" y="4"/>
                      </a:moveTo>
                      <a:cubicBezTo>
                        <a:pt x="0" y="4"/>
                        <a:pt x="108" y="2"/>
                        <a:pt x="223" y="86"/>
                      </a:cubicBezTo>
                      <a:cubicBezTo>
                        <a:pt x="224" y="87"/>
                        <a:pt x="227" y="87"/>
                        <a:pt x="229" y="86"/>
                      </a:cubicBezTo>
                      <a:cubicBezTo>
                        <a:pt x="229" y="86"/>
                        <a:pt x="229" y="86"/>
                        <a:pt x="229" y="86"/>
                      </a:cubicBezTo>
                      <a:cubicBezTo>
                        <a:pt x="231" y="84"/>
                        <a:pt x="231" y="80"/>
                        <a:pt x="228" y="78"/>
                      </a:cubicBezTo>
                      <a:cubicBezTo>
                        <a:pt x="205" y="62"/>
                        <a:pt x="107" y="0"/>
                        <a:pt x="0" y="4"/>
                      </a:cubicBezTo>
                      <a:close/>
                    </a:path>
                  </a:pathLst>
                </a:custGeom>
                <a:solidFill>
                  <a:srgbClr val="BEB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66" name="Freeform 85">
                  <a:extLst>
                    <a:ext uri="{FF2B5EF4-FFF2-40B4-BE49-F238E27FC236}">
                      <a16:creationId xmlns:a16="http://schemas.microsoft.com/office/drawing/2014/main" id="{0D99557F-1876-873F-38D8-EC72B860F1B4}"/>
                    </a:ext>
                  </a:extLst>
                </p:cNvPr>
                <p:cNvSpPr/>
                <p:nvPr/>
              </p:nvSpPr>
              <p:spPr bwMode="auto">
                <a:xfrm>
                  <a:off x="1564" y="1971"/>
                  <a:ext cx="157" cy="91"/>
                </a:xfrm>
                <a:custGeom>
                  <a:gdLst>
                    <a:gd name="T0" fmla="*/ 86 w 86"/>
                    <a:gd name="T1" fmla="*/ 13 h 50"/>
                    <a:gd name="T2" fmla="*/ 0 w 86"/>
                    <a:gd name="T3" fmla="*/ 50 h 50"/>
                    <a:gd name="T4" fmla="*/ 86 w 86"/>
                    <a:gd name="T5" fmla="*/ 13 h 50"/>
                  </a:gdLst>
                  <a:cxnLst>
                    <a:cxn ang="0">
                      <a:pos x="T0" y="T1"/>
                    </a:cxn>
                    <a:cxn ang="0">
                      <a:pos x="T2" y="T3"/>
                    </a:cxn>
                    <a:cxn ang="0">
                      <a:pos x="T4" y="T5"/>
                    </a:cxn>
                  </a:cxnLst>
                  <a:rect l="0" t="0" r="r" b="b"/>
                  <a:pathLst>
                    <a:path w="86" h="50">
                      <a:moveTo>
                        <a:pt x="86" y="13"/>
                      </a:moveTo>
                      <a:cubicBezTo>
                        <a:pt x="86" y="13"/>
                        <a:pt x="28" y="0"/>
                        <a:pt x="0" y="50"/>
                      </a:cubicBezTo>
                      <a:cubicBezTo>
                        <a:pt x="39" y="49"/>
                        <a:pt x="86" y="13"/>
                        <a:pt x="86" y="13"/>
                      </a:cubicBezTo>
                      <a:close/>
                    </a:path>
                  </a:pathLst>
                </a:custGeom>
                <a:solidFill>
                  <a:srgbClr val="BEB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67" name="Freeform 86">
                  <a:extLst>
                    <a:ext uri="{FF2B5EF4-FFF2-40B4-BE49-F238E27FC236}">
                      <a16:creationId xmlns:a16="http://schemas.microsoft.com/office/drawing/2014/main" id="{F2854A30-8125-FB38-7921-C6C819AA9C6C}"/>
                    </a:ext>
                  </a:extLst>
                </p:cNvPr>
                <p:cNvSpPr/>
                <p:nvPr/>
              </p:nvSpPr>
              <p:spPr bwMode="auto">
                <a:xfrm>
                  <a:off x="1595" y="1995"/>
                  <a:ext cx="126" cy="45"/>
                </a:xfrm>
                <a:custGeom>
                  <a:gdLst>
                    <a:gd name="T0" fmla="*/ 69 w 69"/>
                    <a:gd name="T1" fmla="*/ 0 h 25"/>
                    <a:gd name="T2" fmla="*/ 0 w 69"/>
                    <a:gd name="T3" fmla="*/ 25 h 25"/>
                    <a:gd name="T4" fmla="*/ 69 w 69"/>
                    <a:gd name="T5" fmla="*/ 0 h 25"/>
                  </a:gdLst>
                  <a:cxnLst>
                    <a:cxn ang="0">
                      <a:pos x="T0" y="T1"/>
                    </a:cxn>
                    <a:cxn ang="0">
                      <a:pos x="T2" y="T3"/>
                    </a:cxn>
                    <a:cxn ang="0">
                      <a:pos x="T4" y="T5"/>
                    </a:cxn>
                  </a:cxnLst>
                  <a:rect l="0" t="0" r="r" b="b"/>
                  <a:pathLst>
                    <a:path w="69" h="25">
                      <a:moveTo>
                        <a:pt x="69" y="0"/>
                      </a:moveTo>
                      <a:cubicBezTo>
                        <a:pt x="69" y="0"/>
                        <a:pt x="31" y="1"/>
                        <a:pt x="0" y="25"/>
                      </a:cubicBezTo>
                      <a:cubicBezTo>
                        <a:pt x="18" y="17"/>
                        <a:pt x="38" y="8"/>
                        <a:pt x="69" y="0"/>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68" name="Freeform 87">
                  <a:extLst>
                    <a:ext uri="{FF2B5EF4-FFF2-40B4-BE49-F238E27FC236}">
                      <a16:creationId xmlns:a16="http://schemas.microsoft.com/office/drawing/2014/main" id="{0A37643D-0C36-0C14-09CB-CADE9FF0E50B}"/>
                    </a:ext>
                  </a:extLst>
                </p:cNvPr>
                <p:cNvSpPr/>
                <p:nvPr/>
              </p:nvSpPr>
              <p:spPr bwMode="auto">
                <a:xfrm>
                  <a:off x="1631" y="1827"/>
                  <a:ext cx="95" cy="155"/>
                </a:xfrm>
                <a:custGeom>
                  <a:gdLst>
                    <a:gd name="T0" fmla="*/ 52 w 52"/>
                    <a:gd name="T1" fmla="*/ 85 h 85"/>
                    <a:gd name="T2" fmla="*/ 12 w 52"/>
                    <a:gd name="T3" fmla="*/ 0 h 85"/>
                    <a:gd name="T4" fmla="*/ 52 w 52"/>
                    <a:gd name="T5" fmla="*/ 85 h 85"/>
                  </a:gdLst>
                  <a:cxnLst>
                    <a:cxn ang="0">
                      <a:pos x="T0" y="T1"/>
                    </a:cxn>
                    <a:cxn ang="0">
                      <a:pos x="T2" y="T3"/>
                    </a:cxn>
                    <a:cxn ang="0">
                      <a:pos x="T4" y="T5"/>
                    </a:cxn>
                  </a:cxnLst>
                  <a:rect l="0" t="0" r="r" b="b"/>
                  <a:pathLst>
                    <a:path w="52" h="85">
                      <a:moveTo>
                        <a:pt x="52" y="85"/>
                      </a:moveTo>
                      <a:cubicBezTo>
                        <a:pt x="52" y="85"/>
                        <a:pt x="0" y="57"/>
                        <a:pt x="12" y="0"/>
                      </a:cubicBezTo>
                      <a:cubicBezTo>
                        <a:pt x="41" y="28"/>
                        <a:pt x="52" y="85"/>
                        <a:pt x="52" y="85"/>
                      </a:cubicBezTo>
                      <a:close/>
                    </a:path>
                  </a:pathLst>
                </a:custGeom>
                <a:solidFill>
                  <a:srgbClr val="BEB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69" name="Freeform 88">
                  <a:extLst>
                    <a:ext uri="{FF2B5EF4-FFF2-40B4-BE49-F238E27FC236}">
                      <a16:creationId xmlns:a16="http://schemas.microsoft.com/office/drawing/2014/main" id="{4BA12D1D-BF1E-68F7-79DA-48F62C4207F7}"/>
                    </a:ext>
                  </a:extLst>
                </p:cNvPr>
                <p:cNvSpPr/>
                <p:nvPr/>
              </p:nvSpPr>
              <p:spPr bwMode="auto">
                <a:xfrm>
                  <a:off x="1663" y="1865"/>
                  <a:ext cx="63" cy="117"/>
                </a:xfrm>
                <a:custGeom>
                  <a:gdLst>
                    <a:gd name="T0" fmla="*/ 35 w 35"/>
                    <a:gd name="T1" fmla="*/ 64 h 64"/>
                    <a:gd name="T2" fmla="*/ 0 w 35"/>
                    <a:gd name="T3" fmla="*/ 0 h 64"/>
                    <a:gd name="T4" fmla="*/ 35 w 35"/>
                    <a:gd name="T5" fmla="*/ 64 h 64"/>
                  </a:gdLst>
                  <a:cxnLst>
                    <a:cxn ang="0">
                      <a:pos x="T0" y="T1"/>
                    </a:cxn>
                    <a:cxn ang="0">
                      <a:pos x="T2" y="T3"/>
                    </a:cxn>
                    <a:cxn ang="0">
                      <a:pos x="T4" y="T5"/>
                    </a:cxn>
                  </a:cxnLst>
                  <a:rect l="0" t="0" r="r" b="b"/>
                  <a:pathLst>
                    <a:path w="35" h="64">
                      <a:moveTo>
                        <a:pt x="35" y="64"/>
                      </a:moveTo>
                      <a:cubicBezTo>
                        <a:pt x="35" y="64"/>
                        <a:pt x="6" y="39"/>
                        <a:pt x="0" y="0"/>
                      </a:cubicBezTo>
                      <a:cubicBezTo>
                        <a:pt x="8" y="18"/>
                        <a:pt x="17" y="38"/>
                        <a:pt x="35" y="64"/>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70" name="Freeform 89">
                  <a:extLst>
                    <a:ext uri="{FF2B5EF4-FFF2-40B4-BE49-F238E27FC236}">
                      <a16:creationId xmlns:a16="http://schemas.microsoft.com/office/drawing/2014/main" id="{052C89B2-ED00-5573-602C-3FA9B8EBD57A}"/>
                    </a:ext>
                  </a:extLst>
                </p:cNvPr>
                <p:cNvSpPr/>
                <p:nvPr/>
              </p:nvSpPr>
              <p:spPr bwMode="auto">
                <a:xfrm>
                  <a:off x="1489" y="1927"/>
                  <a:ext cx="152" cy="97"/>
                </a:xfrm>
                <a:custGeom>
                  <a:gdLst>
                    <a:gd name="T0" fmla="*/ 83 w 83"/>
                    <a:gd name="T1" fmla="*/ 9 h 53"/>
                    <a:gd name="T2" fmla="*/ 0 w 83"/>
                    <a:gd name="T3" fmla="*/ 53 h 53"/>
                    <a:gd name="T4" fmla="*/ 83 w 83"/>
                    <a:gd name="T5" fmla="*/ 9 h 53"/>
                  </a:gdLst>
                  <a:cxnLst>
                    <a:cxn ang="0">
                      <a:pos x="T0" y="T1"/>
                    </a:cxn>
                    <a:cxn ang="0">
                      <a:pos x="T2" y="T3"/>
                    </a:cxn>
                    <a:cxn ang="0">
                      <a:pos x="T4" y="T5"/>
                    </a:cxn>
                  </a:cxnLst>
                  <a:rect l="0" t="0" r="r" b="b"/>
                  <a:pathLst>
                    <a:path w="83" h="52">
                      <a:moveTo>
                        <a:pt x="83" y="9"/>
                      </a:moveTo>
                      <a:cubicBezTo>
                        <a:pt x="83" y="9"/>
                        <a:pt x="24" y="0"/>
                        <a:pt x="0" y="53"/>
                      </a:cubicBezTo>
                      <a:cubicBezTo>
                        <a:pt x="39" y="48"/>
                        <a:pt x="83" y="9"/>
                        <a:pt x="83" y="9"/>
                      </a:cubicBezTo>
                      <a:close/>
                    </a:path>
                  </a:pathLst>
                </a:custGeom>
                <a:solidFill>
                  <a:srgbClr val="BEB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71" name="Freeform 90">
                  <a:extLst>
                    <a:ext uri="{FF2B5EF4-FFF2-40B4-BE49-F238E27FC236}">
                      <a16:creationId xmlns:a16="http://schemas.microsoft.com/office/drawing/2014/main" id="{41002F88-06D7-8063-CE47-67833D49148C}"/>
                    </a:ext>
                  </a:extLst>
                </p:cNvPr>
                <p:cNvSpPr/>
                <p:nvPr/>
              </p:nvSpPr>
              <p:spPr bwMode="auto">
                <a:xfrm>
                  <a:off x="1520" y="1944"/>
                  <a:ext cx="121" cy="56"/>
                </a:xfrm>
                <a:custGeom>
                  <a:gdLst>
                    <a:gd name="T0" fmla="*/ 66 w 66"/>
                    <a:gd name="T1" fmla="*/ 0 h 31"/>
                    <a:gd name="T2" fmla="*/ 0 w 66"/>
                    <a:gd name="T3" fmla="*/ 31 h 31"/>
                    <a:gd name="T4" fmla="*/ 66 w 66"/>
                    <a:gd name="T5" fmla="*/ 0 h 31"/>
                  </a:gdLst>
                  <a:cxnLst>
                    <a:cxn ang="0">
                      <a:pos x="T0" y="T1"/>
                    </a:cxn>
                    <a:cxn ang="0">
                      <a:pos x="T2" y="T3"/>
                    </a:cxn>
                    <a:cxn ang="0">
                      <a:pos x="T4" y="T5"/>
                    </a:cxn>
                  </a:cxnLst>
                  <a:rect l="0" t="0" r="r" b="b"/>
                  <a:pathLst>
                    <a:path w="66" h="31">
                      <a:moveTo>
                        <a:pt x="66" y="0"/>
                      </a:moveTo>
                      <a:cubicBezTo>
                        <a:pt x="66" y="0"/>
                        <a:pt x="28" y="4"/>
                        <a:pt x="0" y="31"/>
                      </a:cubicBezTo>
                      <a:cubicBezTo>
                        <a:pt x="17" y="21"/>
                        <a:pt x="36" y="10"/>
                        <a:pt x="66" y="0"/>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72" name="Freeform 91">
                  <a:extLst>
                    <a:ext uri="{FF2B5EF4-FFF2-40B4-BE49-F238E27FC236}">
                      <a16:creationId xmlns:a16="http://schemas.microsoft.com/office/drawing/2014/main" id="{0C7F50B5-A939-C8F6-23A6-BA4FADE55341}"/>
                    </a:ext>
                  </a:extLst>
                </p:cNvPr>
                <p:cNvSpPr/>
                <p:nvPr/>
              </p:nvSpPr>
              <p:spPr bwMode="auto">
                <a:xfrm>
                  <a:off x="1279" y="1827"/>
                  <a:ext cx="172" cy="91"/>
                </a:xfrm>
                <a:custGeom>
                  <a:gdLst>
                    <a:gd name="T0" fmla="*/ 94 w 94"/>
                    <a:gd name="T1" fmla="*/ 30 h 50"/>
                    <a:gd name="T2" fmla="*/ 0 w 94"/>
                    <a:gd name="T3" fmla="*/ 40 h 50"/>
                    <a:gd name="T4" fmla="*/ 94 w 94"/>
                    <a:gd name="T5" fmla="*/ 30 h 50"/>
                  </a:gdLst>
                  <a:cxnLst>
                    <a:cxn ang="0">
                      <a:pos x="T0" y="T1"/>
                    </a:cxn>
                    <a:cxn ang="0">
                      <a:pos x="T2" y="T3"/>
                    </a:cxn>
                    <a:cxn ang="0">
                      <a:pos x="T4" y="T5"/>
                    </a:cxn>
                  </a:cxnLst>
                  <a:rect l="0" t="0" r="r" b="b"/>
                  <a:pathLst>
                    <a:path w="94" h="50">
                      <a:moveTo>
                        <a:pt x="94" y="30"/>
                      </a:moveTo>
                      <a:cubicBezTo>
                        <a:pt x="94" y="30"/>
                        <a:pt x="43" y="0"/>
                        <a:pt x="0" y="40"/>
                      </a:cubicBezTo>
                      <a:cubicBezTo>
                        <a:pt x="39" y="50"/>
                        <a:pt x="94" y="30"/>
                        <a:pt x="94" y="30"/>
                      </a:cubicBezTo>
                      <a:close/>
                    </a:path>
                  </a:pathLst>
                </a:custGeom>
                <a:solidFill>
                  <a:srgbClr val="BEB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73" name="Freeform 92">
                  <a:extLst>
                    <a:ext uri="{FF2B5EF4-FFF2-40B4-BE49-F238E27FC236}">
                      <a16:creationId xmlns:a16="http://schemas.microsoft.com/office/drawing/2014/main" id="{B0598BB3-884B-69FB-DB98-9EA2C64E7C61}"/>
                    </a:ext>
                  </a:extLst>
                </p:cNvPr>
                <p:cNvSpPr/>
                <p:nvPr/>
              </p:nvSpPr>
              <p:spPr bwMode="auto">
                <a:xfrm>
                  <a:off x="1318" y="1862"/>
                  <a:ext cx="133" cy="25"/>
                </a:xfrm>
                <a:custGeom>
                  <a:gdLst>
                    <a:gd name="T0" fmla="*/ 73 w 73"/>
                    <a:gd name="T1" fmla="*/ 11 h 14"/>
                    <a:gd name="T2" fmla="*/ 0 w 73"/>
                    <a:gd name="T3" fmla="*/ 14 h 14"/>
                    <a:gd name="T4" fmla="*/ 73 w 73"/>
                    <a:gd name="T5" fmla="*/ 11 h 14"/>
                  </a:gdLst>
                  <a:cxnLst>
                    <a:cxn ang="0">
                      <a:pos x="T0" y="T1"/>
                    </a:cxn>
                    <a:cxn ang="0">
                      <a:pos x="T2" y="T3"/>
                    </a:cxn>
                    <a:cxn ang="0">
                      <a:pos x="T4" y="T5"/>
                    </a:cxn>
                  </a:cxnLst>
                  <a:rect l="0" t="0" r="r" b="b"/>
                  <a:pathLst>
                    <a:path w="73" h="14">
                      <a:moveTo>
                        <a:pt x="73" y="11"/>
                      </a:moveTo>
                      <a:cubicBezTo>
                        <a:pt x="73" y="11"/>
                        <a:pt x="36" y="0"/>
                        <a:pt x="0" y="14"/>
                      </a:cubicBezTo>
                      <a:cubicBezTo>
                        <a:pt x="20" y="12"/>
                        <a:pt x="41" y="9"/>
                        <a:pt x="73" y="11"/>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74" name="Freeform 93">
                  <a:extLst>
                    <a:ext uri="{FF2B5EF4-FFF2-40B4-BE49-F238E27FC236}">
                      <a16:creationId xmlns:a16="http://schemas.microsoft.com/office/drawing/2014/main" id="{4A0C385A-71E7-50E5-AE95-FD4257B1A535}"/>
                    </a:ext>
                  </a:extLst>
                </p:cNvPr>
                <p:cNvSpPr/>
                <p:nvPr/>
              </p:nvSpPr>
              <p:spPr bwMode="auto">
                <a:xfrm>
                  <a:off x="1538" y="1790"/>
                  <a:ext cx="99" cy="150"/>
                </a:xfrm>
                <a:custGeom>
                  <a:gdLst>
                    <a:gd name="T0" fmla="*/ 54 w 54"/>
                    <a:gd name="T1" fmla="*/ 82 h 82"/>
                    <a:gd name="T2" fmla="*/ 8 w 54"/>
                    <a:gd name="T3" fmla="*/ 0 h 82"/>
                    <a:gd name="T4" fmla="*/ 54 w 54"/>
                    <a:gd name="T5" fmla="*/ 82 h 82"/>
                  </a:gdLst>
                  <a:cxnLst>
                    <a:cxn ang="0">
                      <a:pos x="T0" y="T1"/>
                    </a:cxn>
                    <a:cxn ang="0">
                      <a:pos x="T2" y="T3"/>
                    </a:cxn>
                    <a:cxn ang="0">
                      <a:pos x="T4" y="T5"/>
                    </a:cxn>
                  </a:cxnLst>
                  <a:rect l="0" t="0" r="r" b="b"/>
                  <a:pathLst>
                    <a:path w="54" h="82">
                      <a:moveTo>
                        <a:pt x="54" y="82"/>
                      </a:moveTo>
                      <a:cubicBezTo>
                        <a:pt x="54" y="82"/>
                        <a:pt x="0" y="57"/>
                        <a:pt x="8" y="0"/>
                      </a:cubicBezTo>
                      <a:cubicBezTo>
                        <a:pt x="39" y="25"/>
                        <a:pt x="54" y="82"/>
                        <a:pt x="54" y="82"/>
                      </a:cubicBezTo>
                    </a:path>
                  </a:pathLst>
                </a:custGeom>
                <a:solidFill>
                  <a:srgbClr val="BEB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75" name="Freeform 94">
                  <a:extLst>
                    <a:ext uri="{FF2B5EF4-FFF2-40B4-BE49-F238E27FC236}">
                      <a16:creationId xmlns:a16="http://schemas.microsoft.com/office/drawing/2014/main" id="{69D5CE72-1052-97B9-66B3-F1DE6EC83ADF}"/>
                    </a:ext>
                  </a:extLst>
                </p:cNvPr>
                <p:cNvSpPr/>
                <p:nvPr/>
              </p:nvSpPr>
              <p:spPr bwMode="auto">
                <a:xfrm>
                  <a:off x="1566" y="1827"/>
                  <a:ext cx="71" cy="113"/>
                </a:xfrm>
                <a:custGeom>
                  <a:gdLst>
                    <a:gd name="T0" fmla="*/ 39 w 39"/>
                    <a:gd name="T1" fmla="*/ 62 h 62"/>
                    <a:gd name="T2" fmla="*/ 0 w 39"/>
                    <a:gd name="T3" fmla="*/ 0 h 62"/>
                    <a:gd name="T4" fmla="*/ 39 w 39"/>
                    <a:gd name="T5" fmla="*/ 62 h 62"/>
                  </a:gdLst>
                  <a:cxnLst>
                    <a:cxn ang="0">
                      <a:pos x="T0" y="T1"/>
                    </a:cxn>
                    <a:cxn ang="0">
                      <a:pos x="T2" y="T3"/>
                    </a:cxn>
                    <a:cxn ang="0">
                      <a:pos x="T4" y="T5"/>
                    </a:cxn>
                  </a:cxnLst>
                  <a:rect l="0" t="0" r="r" b="b"/>
                  <a:pathLst>
                    <a:path w="39" h="62">
                      <a:moveTo>
                        <a:pt x="39" y="62"/>
                      </a:moveTo>
                      <a:cubicBezTo>
                        <a:pt x="39" y="62"/>
                        <a:pt x="9" y="38"/>
                        <a:pt x="0" y="0"/>
                      </a:cubicBezTo>
                      <a:cubicBezTo>
                        <a:pt x="9" y="18"/>
                        <a:pt x="19" y="37"/>
                        <a:pt x="39" y="62"/>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76" name="Freeform 95">
                  <a:extLst>
                    <a:ext uri="{FF2B5EF4-FFF2-40B4-BE49-F238E27FC236}">
                      <a16:creationId xmlns:a16="http://schemas.microsoft.com/office/drawing/2014/main" id="{156129A3-ACDA-1F4D-85F9-78F76B350A9D}"/>
                    </a:ext>
                  </a:extLst>
                </p:cNvPr>
                <p:cNvSpPr/>
                <p:nvPr/>
              </p:nvSpPr>
              <p:spPr bwMode="auto">
                <a:xfrm>
                  <a:off x="1389" y="1891"/>
                  <a:ext cx="151" cy="96"/>
                </a:xfrm>
                <a:custGeom>
                  <a:gdLst>
                    <a:gd name="T0" fmla="*/ 83 w 83"/>
                    <a:gd name="T1" fmla="*/ 9 h 53"/>
                    <a:gd name="T2" fmla="*/ 0 w 83"/>
                    <a:gd name="T3" fmla="*/ 53 h 53"/>
                    <a:gd name="T4" fmla="*/ 83 w 83"/>
                    <a:gd name="T5" fmla="*/ 9 h 53"/>
                  </a:gdLst>
                  <a:cxnLst>
                    <a:cxn ang="0">
                      <a:pos x="T0" y="T1"/>
                    </a:cxn>
                    <a:cxn ang="0">
                      <a:pos x="T2" y="T3"/>
                    </a:cxn>
                    <a:cxn ang="0">
                      <a:pos x="T4" y="T5"/>
                    </a:cxn>
                  </a:cxnLst>
                  <a:rect l="0" t="0" r="r" b="b"/>
                  <a:pathLst>
                    <a:path w="83" h="52">
                      <a:moveTo>
                        <a:pt x="83" y="9"/>
                      </a:moveTo>
                      <a:cubicBezTo>
                        <a:pt x="83" y="9"/>
                        <a:pt x="24" y="0"/>
                        <a:pt x="0" y="53"/>
                      </a:cubicBezTo>
                      <a:cubicBezTo>
                        <a:pt x="39" y="48"/>
                        <a:pt x="83" y="9"/>
                        <a:pt x="83" y="9"/>
                      </a:cubicBezTo>
                      <a:close/>
                    </a:path>
                  </a:pathLst>
                </a:custGeom>
                <a:solidFill>
                  <a:srgbClr val="BEB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77" name="Freeform 96">
                  <a:extLst>
                    <a:ext uri="{FF2B5EF4-FFF2-40B4-BE49-F238E27FC236}">
                      <a16:creationId xmlns:a16="http://schemas.microsoft.com/office/drawing/2014/main" id="{DE9AAB87-3DE9-C10C-E358-BEDA4964DD29}"/>
                    </a:ext>
                  </a:extLst>
                </p:cNvPr>
                <p:cNvSpPr/>
                <p:nvPr/>
              </p:nvSpPr>
              <p:spPr bwMode="auto">
                <a:xfrm>
                  <a:off x="1420" y="1907"/>
                  <a:ext cx="120" cy="55"/>
                </a:xfrm>
                <a:custGeom>
                  <a:gdLst>
                    <a:gd name="T0" fmla="*/ 66 w 66"/>
                    <a:gd name="T1" fmla="*/ 0 h 30"/>
                    <a:gd name="T2" fmla="*/ 0 w 66"/>
                    <a:gd name="T3" fmla="*/ 30 h 30"/>
                    <a:gd name="T4" fmla="*/ 66 w 66"/>
                    <a:gd name="T5" fmla="*/ 0 h 30"/>
                  </a:gdLst>
                  <a:cxnLst>
                    <a:cxn ang="0">
                      <a:pos x="T0" y="T1"/>
                    </a:cxn>
                    <a:cxn ang="0">
                      <a:pos x="T2" y="T3"/>
                    </a:cxn>
                    <a:cxn ang="0">
                      <a:pos x="T4" y="T5"/>
                    </a:cxn>
                  </a:cxnLst>
                  <a:rect l="0" t="0" r="r" b="b"/>
                  <a:pathLst>
                    <a:path w="66" h="30">
                      <a:moveTo>
                        <a:pt x="66" y="0"/>
                      </a:moveTo>
                      <a:cubicBezTo>
                        <a:pt x="66" y="0"/>
                        <a:pt x="28" y="3"/>
                        <a:pt x="0" y="30"/>
                      </a:cubicBezTo>
                      <a:cubicBezTo>
                        <a:pt x="17" y="20"/>
                        <a:pt x="36" y="10"/>
                        <a:pt x="66" y="0"/>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78" name="Freeform 97">
                  <a:extLst>
                    <a:ext uri="{FF2B5EF4-FFF2-40B4-BE49-F238E27FC236}">
                      <a16:creationId xmlns:a16="http://schemas.microsoft.com/office/drawing/2014/main" id="{D29A46EA-0D79-AD7C-0B4C-52BA1AA101F8}"/>
                    </a:ext>
                  </a:extLst>
                </p:cNvPr>
                <p:cNvSpPr/>
                <p:nvPr/>
              </p:nvSpPr>
              <p:spPr bwMode="auto">
                <a:xfrm>
                  <a:off x="1438" y="1752"/>
                  <a:ext cx="99" cy="150"/>
                </a:xfrm>
                <a:custGeom>
                  <a:gdLst>
                    <a:gd name="T0" fmla="*/ 54 w 54"/>
                    <a:gd name="T1" fmla="*/ 82 h 82"/>
                    <a:gd name="T2" fmla="*/ 8 w 54"/>
                    <a:gd name="T3" fmla="*/ 0 h 82"/>
                    <a:gd name="T4" fmla="*/ 54 w 54"/>
                    <a:gd name="T5" fmla="*/ 82 h 82"/>
                  </a:gdLst>
                  <a:cxnLst>
                    <a:cxn ang="0">
                      <a:pos x="T0" y="T1"/>
                    </a:cxn>
                    <a:cxn ang="0">
                      <a:pos x="T2" y="T3"/>
                    </a:cxn>
                    <a:cxn ang="0">
                      <a:pos x="T4" y="T5"/>
                    </a:cxn>
                  </a:cxnLst>
                  <a:rect l="0" t="0" r="r" b="b"/>
                  <a:pathLst>
                    <a:path w="54" h="82">
                      <a:moveTo>
                        <a:pt x="54" y="82"/>
                      </a:moveTo>
                      <a:cubicBezTo>
                        <a:pt x="54" y="82"/>
                        <a:pt x="0" y="58"/>
                        <a:pt x="8" y="0"/>
                      </a:cubicBezTo>
                      <a:cubicBezTo>
                        <a:pt x="39" y="26"/>
                        <a:pt x="54" y="82"/>
                        <a:pt x="54" y="82"/>
                      </a:cubicBezTo>
                      <a:close/>
                    </a:path>
                  </a:pathLst>
                </a:custGeom>
                <a:solidFill>
                  <a:srgbClr val="BEB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79" name="Freeform 98">
                  <a:extLst>
                    <a:ext uri="{FF2B5EF4-FFF2-40B4-BE49-F238E27FC236}">
                      <a16:creationId xmlns:a16="http://schemas.microsoft.com/office/drawing/2014/main" id="{888F0AA1-DEDC-5735-1E6F-9CC0EE21F169}"/>
                    </a:ext>
                  </a:extLst>
                </p:cNvPr>
                <p:cNvSpPr/>
                <p:nvPr/>
              </p:nvSpPr>
              <p:spPr bwMode="auto">
                <a:xfrm>
                  <a:off x="1465" y="1790"/>
                  <a:ext cx="72" cy="112"/>
                </a:xfrm>
                <a:custGeom>
                  <a:gdLst>
                    <a:gd name="T0" fmla="*/ 39 w 39"/>
                    <a:gd name="T1" fmla="*/ 61 h 61"/>
                    <a:gd name="T2" fmla="*/ 0 w 39"/>
                    <a:gd name="T3" fmla="*/ 0 h 61"/>
                    <a:gd name="T4" fmla="*/ 39 w 39"/>
                    <a:gd name="T5" fmla="*/ 61 h 61"/>
                  </a:gdLst>
                  <a:cxnLst>
                    <a:cxn ang="0">
                      <a:pos x="T0" y="T1"/>
                    </a:cxn>
                    <a:cxn ang="0">
                      <a:pos x="T2" y="T3"/>
                    </a:cxn>
                    <a:cxn ang="0">
                      <a:pos x="T4" y="T5"/>
                    </a:cxn>
                  </a:cxnLst>
                  <a:rect l="0" t="0" r="r" b="b"/>
                  <a:pathLst>
                    <a:path w="39" h="61">
                      <a:moveTo>
                        <a:pt x="39" y="61"/>
                      </a:moveTo>
                      <a:cubicBezTo>
                        <a:pt x="39" y="61"/>
                        <a:pt x="9" y="38"/>
                        <a:pt x="0" y="0"/>
                      </a:cubicBezTo>
                      <a:cubicBezTo>
                        <a:pt x="9" y="17"/>
                        <a:pt x="19" y="36"/>
                        <a:pt x="39" y="61"/>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80" name="Freeform 99">
                  <a:extLst>
                    <a:ext uri="{FF2B5EF4-FFF2-40B4-BE49-F238E27FC236}">
                      <a16:creationId xmlns:a16="http://schemas.microsoft.com/office/drawing/2014/main" id="{FCAAAEE0-DF53-296C-4868-AA1CF83CE076}"/>
                    </a:ext>
                  </a:extLst>
                </p:cNvPr>
                <p:cNvSpPr/>
                <p:nvPr/>
              </p:nvSpPr>
              <p:spPr bwMode="auto">
                <a:xfrm>
                  <a:off x="1526" y="1759"/>
                  <a:ext cx="175" cy="261"/>
                </a:xfrm>
                <a:custGeom>
                  <a:gdLst>
                    <a:gd name="T0" fmla="*/ 29 w 96"/>
                    <a:gd name="T1" fmla="*/ 0 h 143"/>
                    <a:gd name="T2" fmla="*/ 0 w 96"/>
                    <a:gd name="T3" fmla="*/ 72 h 143"/>
                    <a:gd name="T4" fmla="*/ 29 w 96"/>
                    <a:gd name="T5" fmla="*/ 143 h 143"/>
                    <a:gd name="T6" fmla="*/ 96 w 96"/>
                    <a:gd name="T7" fmla="*/ 143 h 143"/>
                    <a:gd name="T8" fmla="*/ 96 w 96"/>
                    <a:gd name="T9" fmla="*/ 0 h 143"/>
                    <a:gd name="T10" fmla="*/ 29 w 96"/>
                    <a:gd name="T11" fmla="*/ 0 h 143"/>
                  </a:gdLst>
                  <a:cxnLst>
                    <a:cxn ang="0">
                      <a:pos x="T0" y="T1"/>
                    </a:cxn>
                    <a:cxn ang="0">
                      <a:pos x="T2" y="T3"/>
                    </a:cxn>
                    <a:cxn ang="0">
                      <a:pos x="T4" y="T5"/>
                    </a:cxn>
                    <a:cxn ang="0">
                      <a:pos x="T6" y="T7"/>
                    </a:cxn>
                    <a:cxn ang="0">
                      <a:pos x="T8" y="T9"/>
                    </a:cxn>
                    <a:cxn ang="0">
                      <a:pos x="T10" y="T11"/>
                    </a:cxn>
                  </a:cxnLst>
                  <a:rect l="0" t="0" r="r" b="b"/>
                  <a:pathLst>
                    <a:path w="96" h="143">
                      <a:moveTo>
                        <a:pt x="29" y="0"/>
                      </a:moveTo>
                      <a:cubicBezTo>
                        <a:pt x="13" y="0"/>
                        <a:pt x="0" y="32"/>
                        <a:pt x="0" y="72"/>
                      </a:cubicBezTo>
                      <a:cubicBezTo>
                        <a:pt x="0" y="111"/>
                        <a:pt x="13" y="143"/>
                        <a:pt x="29" y="143"/>
                      </a:cubicBezTo>
                      <a:cubicBezTo>
                        <a:pt x="96" y="143"/>
                        <a:pt x="96" y="143"/>
                        <a:pt x="96" y="143"/>
                      </a:cubicBezTo>
                      <a:cubicBezTo>
                        <a:pt x="96" y="0"/>
                        <a:pt x="96" y="0"/>
                        <a:pt x="96" y="0"/>
                      </a:cubicBezTo>
                      <a:cubicBezTo>
                        <a:pt x="29" y="0"/>
                        <a:pt x="29" y="0"/>
                        <a:pt x="29" y="0"/>
                      </a:cubicBezTo>
                    </a:path>
                  </a:pathLst>
                </a:custGeom>
                <a:solidFill>
                  <a:srgbClr val="59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81" name="Freeform 100">
                  <a:extLst>
                    <a:ext uri="{FF2B5EF4-FFF2-40B4-BE49-F238E27FC236}">
                      <a16:creationId xmlns:a16="http://schemas.microsoft.com/office/drawing/2014/main" id="{02000743-C72B-5012-322D-6BD3788C3810}"/>
                    </a:ext>
                  </a:extLst>
                </p:cNvPr>
                <p:cNvSpPr/>
                <p:nvPr/>
              </p:nvSpPr>
              <p:spPr bwMode="auto">
                <a:xfrm>
                  <a:off x="1526" y="1898"/>
                  <a:ext cx="175" cy="122"/>
                </a:xfrm>
                <a:custGeom>
                  <a:gdLst>
                    <a:gd name="T0" fmla="*/ 96 w 96"/>
                    <a:gd name="T1" fmla="*/ 42 h 67"/>
                    <a:gd name="T2" fmla="*/ 75 w 96"/>
                    <a:gd name="T3" fmla="*/ 43 h 67"/>
                    <a:gd name="T4" fmla="*/ 0 w 96"/>
                    <a:gd name="T5" fmla="*/ 0 h 67"/>
                    <a:gd name="T6" fmla="*/ 29 w 96"/>
                    <a:gd name="T7" fmla="*/ 67 h 67"/>
                    <a:gd name="T8" fmla="*/ 96 w 96"/>
                    <a:gd name="T9" fmla="*/ 67 h 67"/>
                    <a:gd name="T10" fmla="*/ 96 w 96"/>
                    <a:gd name="T11" fmla="*/ 42 h 67"/>
                  </a:gdLst>
                  <a:cxnLst>
                    <a:cxn ang="0">
                      <a:pos x="T0" y="T1"/>
                    </a:cxn>
                    <a:cxn ang="0">
                      <a:pos x="T2" y="T3"/>
                    </a:cxn>
                    <a:cxn ang="0">
                      <a:pos x="T4" y="T5"/>
                    </a:cxn>
                    <a:cxn ang="0">
                      <a:pos x="T6" y="T7"/>
                    </a:cxn>
                    <a:cxn ang="0">
                      <a:pos x="T8" y="T9"/>
                    </a:cxn>
                    <a:cxn ang="0">
                      <a:pos x="T10" y="T11"/>
                    </a:cxn>
                  </a:cxnLst>
                  <a:rect l="0" t="0" r="r" b="b"/>
                  <a:pathLst>
                    <a:path w="96" h="67">
                      <a:moveTo>
                        <a:pt x="96" y="42"/>
                      </a:moveTo>
                      <a:cubicBezTo>
                        <a:pt x="89" y="42"/>
                        <a:pt x="82" y="42"/>
                        <a:pt x="75" y="43"/>
                      </a:cubicBezTo>
                      <a:cubicBezTo>
                        <a:pt x="17" y="49"/>
                        <a:pt x="0" y="0"/>
                        <a:pt x="0" y="0"/>
                      </a:cubicBezTo>
                      <a:cubicBezTo>
                        <a:pt x="1" y="38"/>
                        <a:pt x="14" y="67"/>
                        <a:pt x="29" y="67"/>
                      </a:cubicBezTo>
                      <a:cubicBezTo>
                        <a:pt x="96" y="67"/>
                        <a:pt x="96" y="67"/>
                        <a:pt x="96" y="67"/>
                      </a:cubicBezTo>
                      <a:lnTo>
                        <a:pt x="96" y="42"/>
                      </a:lnTo>
                      <a:close/>
                    </a:path>
                  </a:pathLst>
                </a:custGeom>
                <a:solidFill>
                  <a:srgbClr val="350F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82" name="Oval 101">
                  <a:extLst>
                    <a:ext uri="{FF2B5EF4-FFF2-40B4-BE49-F238E27FC236}">
                      <a16:creationId xmlns:a16="http://schemas.microsoft.com/office/drawing/2014/main" id="{AFC0DF20-5563-F98C-C002-DD6BDD3AD955}"/>
                    </a:ext>
                  </a:extLst>
                </p:cNvPr>
                <p:cNvSpPr>
                  <a:spLocks noChangeArrowheads="1"/>
                </p:cNvSpPr>
                <p:nvPr/>
              </p:nvSpPr>
              <p:spPr bwMode="auto">
                <a:xfrm>
                  <a:off x="1650" y="1759"/>
                  <a:ext cx="104" cy="261"/>
                </a:xfrm>
                <a:prstGeom prst="ellipse">
                  <a:avLst/>
                </a:prstGeom>
                <a:solidFill>
                  <a:srgbClr val="350F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83" name="Oval 102">
                  <a:extLst>
                    <a:ext uri="{FF2B5EF4-FFF2-40B4-BE49-F238E27FC236}">
                      <a16:creationId xmlns:a16="http://schemas.microsoft.com/office/drawing/2014/main" id="{B327EE07-9E74-DC5E-91E0-3758F7D1B4AD}"/>
                    </a:ext>
                  </a:extLst>
                </p:cNvPr>
                <p:cNvSpPr>
                  <a:spLocks noChangeArrowheads="1"/>
                </p:cNvSpPr>
                <p:nvPr/>
              </p:nvSpPr>
              <p:spPr bwMode="auto">
                <a:xfrm>
                  <a:off x="1657" y="1768"/>
                  <a:ext cx="93" cy="245"/>
                </a:xfrm>
                <a:prstGeom prst="ellipse">
                  <a:avLst/>
                </a:prstGeom>
                <a:solidFill>
                  <a:srgbClr val="FFFE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84" name="Freeform 103">
                  <a:extLst>
                    <a:ext uri="{FF2B5EF4-FFF2-40B4-BE49-F238E27FC236}">
                      <a16:creationId xmlns:a16="http://schemas.microsoft.com/office/drawing/2014/main" id="{6B78546A-6F04-15F9-D1C9-93A612D96ECE}"/>
                    </a:ext>
                  </a:extLst>
                </p:cNvPr>
                <p:cNvSpPr/>
                <p:nvPr/>
              </p:nvSpPr>
              <p:spPr bwMode="auto">
                <a:xfrm>
                  <a:off x="1688" y="1810"/>
                  <a:ext cx="44" cy="66"/>
                </a:xfrm>
                <a:custGeom>
                  <a:gdLst>
                    <a:gd name="T0" fmla="*/ 0 w 24"/>
                    <a:gd name="T1" fmla="*/ 16 h 36"/>
                    <a:gd name="T2" fmla="*/ 9 w 24"/>
                    <a:gd name="T3" fmla="*/ 34 h 36"/>
                    <a:gd name="T4" fmla="*/ 24 w 24"/>
                    <a:gd name="T5" fmla="*/ 24 h 36"/>
                    <a:gd name="T6" fmla="*/ 15 w 24"/>
                    <a:gd name="T7" fmla="*/ 2 h 36"/>
                    <a:gd name="T8" fmla="*/ 0 w 24"/>
                    <a:gd name="T9" fmla="*/ 16 h 36"/>
                  </a:gdLst>
                  <a:cxnLst>
                    <a:cxn ang="0">
                      <a:pos x="T0" y="T1"/>
                    </a:cxn>
                    <a:cxn ang="0">
                      <a:pos x="T2" y="T3"/>
                    </a:cxn>
                    <a:cxn ang="0">
                      <a:pos x="T4" y="T5"/>
                    </a:cxn>
                    <a:cxn ang="0">
                      <a:pos x="T6" y="T7"/>
                    </a:cxn>
                    <a:cxn ang="0">
                      <a:pos x="T8" y="T9"/>
                    </a:cxn>
                  </a:cxnLst>
                  <a:rect l="0" t="0" r="r" b="b"/>
                  <a:pathLst>
                    <a:path w="24" h="36">
                      <a:moveTo>
                        <a:pt x="0" y="16"/>
                      </a:moveTo>
                      <a:cubicBezTo>
                        <a:pt x="0" y="16"/>
                        <a:pt x="2" y="31"/>
                        <a:pt x="9" y="34"/>
                      </a:cubicBezTo>
                      <a:cubicBezTo>
                        <a:pt x="16" y="36"/>
                        <a:pt x="24" y="27"/>
                        <a:pt x="24" y="24"/>
                      </a:cubicBezTo>
                      <a:cubicBezTo>
                        <a:pt x="24" y="20"/>
                        <a:pt x="20" y="5"/>
                        <a:pt x="15" y="2"/>
                      </a:cubicBezTo>
                      <a:cubicBezTo>
                        <a:pt x="11" y="0"/>
                        <a:pt x="0" y="16"/>
                        <a:pt x="0" y="16"/>
                      </a:cubicBezTo>
                      <a:close/>
                    </a:path>
                  </a:pathLst>
                </a:custGeom>
                <a:solidFill>
                  <a:srgbClr val="E05B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85" name="Freeform 104">
                  <a:extLst>
                    <a:ext uri="{FF2B5EF4-FFF2-40B4-BE49-F238E27FC236}">
                      <a16:creationId xmlns:a16="http://schemas.microsoft.com/office/drawing/2014/main" id="{16EB836B-644F-2CCE-E7B2-52310FE378BF}"/>
                    </a:ext>
                  </a:extLst>
                </p:cNvPr>
                <p:cNvSpPr/>
                <p:nvPr/>
              </p:nvSpPr>
              <p:spPr bwMode="auto">
                <a:xfrm>
                  <a:off x="1699" y="1854"/>
                  <a:ext cx="36" cy="51"/>
                </a:xfrm>
                <a:custGeom>
                  <a:gdLst>
                    <a:gd name="T0" fmla="*/ 18 w 20"/>
                    <a:gd name="T1" fmla="*/ 0 h 28"/>
                    <a:gd name="T2" fmla="*/ 18 w 20"/>
                    <a:gd name="T3" fmla="*/ 17 h 28"/>
                    <a:gd name="T4" fmla="*/ 3 w 20"/>
                    <a:gd name="T5" fmla="*/ 27 h 28"/>
                    <a:gd name="T6" fmla="*/ 1 w 20"/>
                    <a:gd name="T7" fmla="*/ 4 h 28"/>
                    <a:gd name="T8" fmla="*/ 18 w 20"/>
                    <a:gd name="T9" fmla="*/ 0 h 28"/>
                  </a:gdLst>
                  <a:cxnLst>
                    <a:cxn ang="0">
                      <a:pos x="T0" y="T1"/>
                    </a:cxn>
                    <a:cxn ang="0">
                      <a:pos x="T2" y="T3"/>
                    </a:cxn>
                    <a:cxn ang="0">
                      <a:pos x="T4" y="T5"/>
                    </a:cxn>
                    <a:cxn ang="0">
                      <a:pos x="T6" y="T7"/>
                    </a:cxn>
                    <a:cxn ang="0">
                      <a:pos x="T8" y="T9"/>
                    </a:cxn>
                  </a:cxnLst>
                  <a:rect l="0" t="0" r="r" b="b"/>
                  <a:pathLst>
                    <a:path w="20" h="28">
                      <a:moveTo>
                        <a:pt x="18" y="0"/>
                      </a:moveTo>
                      <a:cubicBezTo>
                        <a:pt x="18" y="0"/>
                        <a:pt x="20" y="11"/>
                        <a:pt x="18" y="17"/>
                      </a:cubicBezTo>
                      <a:cubicBezTo>
                        <a:pt x="16" y="22"/>
                        <a:pt x="6" y="27"/>
                        <a:pt x="3" y="27"/>
                      </a:cubicBezTo>
                      <a:cubicBezTo>
                        <a:pt x="0" y="28"/>
                        <a:pt x="1" y="4"/>
                        <a:pt x="1" y="4"/>
                      </a:cubicBezTo>
                      <a:lnTo>
                        <a:pt x="18" y="0"/>
                      </a:lnTo>
                      <a:close/>
                    </a:path>
                  </a:pathLst>
                </a:custGeom>
                <a:solidFill>
                  <a:srgbClr val="FE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86" name="Freeform 105">
                  <a:extLst>
                    <a:ext uri="{FF2B5EF4-FFF2-40B4-BE49-F238E27FC236}">
                      <a16:creationId xmlns:a16="http://schemas.microsoft.com/office/drawing/2014/main" id="{6C616301-F22B-372A-B4C3-180A209F4F3B}"/>
                    </a:ext>
                  </a:extLst>
                </p:cNvPr>
                <p:cNvSpPr/>
                <p:nvPr/>
              </p:nvSpPr>
              <p:spPr bwMode="auto">
                <a:xfrm>
                  <a:off x="1677" y="1840"/>
                  <a:ext cx="40" cy="64"/>
                </a:xfrm>
                <a:custGeom>
                  <a:gdLst>
                    <a:gd name="T0" fmla="*/ 6 w 22"/>
                    <a:gd name="T1" fmla="*/ 0 h 35"/>
                    <a:gd name="T2" fmla="*/ 0 w 22"/>
                    <a:gd name="T3" fmla="*/ 20 h 35"/>
                    <a:gd name="T4" fmla="*/ 0 w 22"/>
                    <a:gd name="T5" fmla="*/ 26 h 35"/>
                    <a:gd name="T6" fmla="*/ 8 w 22"/>
                    <a:gd name="T7" fmla="*/ 35 h 35"/>
                    <a:gd name="T8" fmla="*/ 22 w 22"/>
                    <a:gd name="T9" fmla="*/ 27 h 35"/>
                    <a:gd name="T10" fmla="*/ 6 w 22"/>
                    <a:gd name="T11" fmla="*/ 0 h 35"/>
                  </a:gdLst>
                  <a:cxnLst>
                    <a:cxn ang="0">
                      <a:pos x="T0" y="T1"/>
                    </a:cxn>
                    <a:cxn ang="0">
                      <a:pos x="T2" y="T3"/>
                    </a:cxn>
                    <a:cxn ang="0">
                      <a:pos x="T4" y="T5"/>
                    </a:cxn>
                    <a:cxn ang="0">
                      <a:pos x="T6" y="T7"/>
                    </a:cxn>
                    <a:cxn ang="0">
                      <a:pos x="T8" y="T9"/>
                    </a:cxn>
                    <a:cxn ang="0">
                      <a:pos x="T10" y="T11"/>
                    </a:cxn>
                  </a:cxnLst>
                  <a:rect l="0" t="0" r="r" b="b"/>
                  <a:pathLst>
                    <a:path w="22" h="35">
                      <a:moveTo>
                        <a:pt x="6" y="0"/>
                      </a:moveTo>
                      <a:cubicBezTo>
                        <a:pt x="6" y="0"/>
                        <a:pt x="1" y="12"/>
                        <a:pt x="0" y="20"/>
                      </a:cubicBezTo>
                      <a:cubicBezTo>
                        <a:pt x="0" y="22"/>
                        <a:pt x="0" y="24"/>
                        <a:pt x="0" y="26"/>
                      </a:cubicBezTo>
                      <a:cubicBezTo>
                        <a:pt x="1" y="31"/>
                        <a:pt x="3" y="35"/>
                        <a:pt x="8" y="35"/>
                      </a:cubicBezTo>
                      <a:cubicBezTo>
                        <a:pt x="15" y="35"/>
                        <a:pt x="22" y="27"/>
                        <a:pt x="22" y="27"/>
                      </a:cubicBezTo>
                      <a:cubicBezTo>
                        <a:pt x="22" y="27"/>
                        <a:pt x="12" y="5"/>
                        <a:pt x="6" y="0"/>
                      </a:cubicBezTo>
                      <a:close/>
                    </a:path>
                  </a:pathLst>
                </a:custGeom>
                <a:solidFill>
                  <a:srgbClr val="5653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87" name="Freeform 106">
                  <a:extLst>
                    <a:ext uri="{FF2B5EF4-FFF2-40B4-BE49-F238E27FC236}">
                      <a16:creationId xmlns:a16="http://schemas.microsoft.com/office/drawing/2014/main" id="{ABCD4EB7-D656-6CE5-7272-B615F78600F8}"/>
                    </a:ext>
                  </a:extLst>
                </p:cNvPr>
                <p:cNvSpPr/>
                <p:nvPr/>
              </p:nvSpPr>
              <p:spPr bwMode="auto">
                <a:xfrm>
                  <a:off x="1684" y="1885"/>
                  <a:ext cx="48" cy="57"/>
                </a:xfrm>
                <a:custGeom>
                  <a:gdLst>
                    <a:gd name="T0" fmla="*/ 26 w 26"/>
                    <a:gd name="T1" fmla="*/ 0 h 31"/>
                    <a:gd name="T2" fmla="*/ 20 w 26"/>
                    <a:gd name="T3" fmla="*/ 26 h 31"/>
                    <a:gd name="T4" fmla="*/ 4 w 26"/>
                    <a:gd name="T5" fmla="*/ 31 h 31"/>
                    <a:gd name="T6" fmla="*/ 0 w 26"/>
                    <a:gd name="T7" fmla="*/ 4 h 31"/>
                    <a:gd name="T8" fmla="*/ 26 w 26"/>
                    <a:gd name="T9" fmla="*/ 0 h 31"/>
                  </a:gdLst>
                  <a:cxnLst>
                    <a:cxn ang="0">
                      <a:pos x="T0" y="T1"/>
                    </a:cxn>
                    <a:cxn ang="0">
                      <a:pos x="T2" y="T3"/>
                    </a:cxn>
                    <a:cxn ang="0">
                      <a:pos x="T4" y="T5"/>
                    </a:cxn>
                    <a:cxn ang="0">
                      <a:pos x="T6" y="T7"/>
                    </a:cxn>
                    <a:cxn ang="0">
                      <a:pos x="T8" y="T9"/>
                    </a:cxn>
                  </a:cxnLst>
                  <a:rect l="0" t="0" r="r" b="b"/>
                  <a:pathLst>
                    <a:path w="26" h="31">
                      <a:moveTo>
                        <a:pt x="26" y="0"/>
                      </a:moveTo>
                      <a:cubicBezTo>
                        <a:pt x="26" y="0"/>
                        <a:pt x="23" y="22"/>
                        <a:pt x="20" y="26"/>
                      </a:cubicBezTo>
                      <a:cubicBezTo>
                        <a:pt x="17" y="31"/>
                        <a:pt x="7" y="31"/>
                        <a:pt x="4" y="31"/>
                      </a:cubicBezTo>
                      <a:cubicBezTo>
                        <a:pt x="0" y="30"/>
                        <a:pt x="0" y="4"/>
                        <a:pt x="0" y="4"/>
                      </a:cubicBezTo>
                      <a:lnTo>
                        <a:pt x="26" y="0"/>
                      </a:lnTo>
                      <a:close/>
                    </a:path>
                  </a:pathLst>
                </a:custGeom>
                <a:solidFill>
                  <a:srgbClr val="8C2A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88" name="Freeform 107">
                  <a:extLst>
                    <a:ext uri="{FF2B5EF4-FFF2-40B4-BE49-F238E27FC236}">
                      <a16:creationId xmlns:a16="http://schemas.microsoft.com/office/drawing/2014/main" id="{25F1E19E-ED4C-96AA-A8A1-A8B9B9B2A082}"/>
                    </a:ext>
                  </a:extLst>
                </p:cNvPr>
                <p:cNvSpPr/>
                <p:nvPr/>
              </p:nvSpPr>
              <p:spPr bwMode="auto">
                <a:xfrm>
                  <a:off x="1681" y="1924"/>
                  <a:ext cx="45" cy="56"/>
                </a:xfrm>
                <a:custGeom>
                  <a:gdLst>
                    <a:gd name="T0" fmla="*/ 24 w 25"/>
                    <a:gd name="T1" fmla="*/ 0 h 31"/>
                    <a:gd name="T2" fmla="*/ 20 w 25"/>
                    <a:gd name="T3" fmla="*/ 23 h 31"/>
                    <a:gd name="T4" fmla="*/ 11 w 25"/>
                    <a:gd name="T5" fmla="*/ 28 h 31"/>
                    <a:gd name="T6" fmla="*/ 2 w 25"/>
                    <a:gd name="T7" fmla="*/ 10 h 31"/>
                    <a:gd name="T8" fmla="*/ 24 w 25"/>
                    <a:gd name="T9" fmla="*/ 0 h 31"/>
                  </a:gdLst>
                  <a:cxnLst>
                    <a:cxn ang="0">
                      <a:pos x="T0" y="T1"/>
                    </a:cxn>
                    <a:cxn ang="0">
                      <a:pos x="T2" y="T3"/>
                    </a:cxn>
                    <a:cxn ang="0">
                      <a:pos x="T4" y="T5"/>
                    </a:cxn>
                    <a:cxn ang="0">
                      <a:pos x="T6" y="T7"/>
                    </a:cxn>
                    <a:cxn ang="0">
                      <a:pos x="T8" y="T9"/>
                    </a:cxn>
                  </a:cxnLst>
                  <a:rect l="0" t="0" r="r" b="b"/>
                  <a:pathLst>
                    <a:path w="25" h="31">
                      <a:moveTo>
                        <a:pt x="24" y="0"/>
                      </a:moveTo>
                      <a:cubicBezTo>
                        <a:pt x="24" y="0"/>
                        <a:pt x="25" y="18"/>
                        <a:pt x="20" y="23"/>
                      </a:cubicBezTo>
                      <a:cubicBezTo>
                        <a:pt x="16" y="29"/>
                        <a:pt x="15" y="31"/>
                        <a:pt x="11" y="28"/>
                      </a:cubicBezTo>
                      <a:cubicBezTo>
                        <a:pt x="7" y="25"/>
                        <a:pt x="3" y="19"/>
                        <a:pt x="2" y="10"/>
                      </a:cubicBezTo>
                      <a:cubicBezTo>
                        <a:pt x="0" y="1"/>
                        <a:pt x="24" y="0"/>
                        <a:pt x="24" y="0"/>
                      </a:cubicBezTo>
                      <a:close/>
                    </a:path>
                  </a:pathLst>
                </a:custGeom>
                <a:solidFill>
                  <a:srgbClr val="F7C3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89" name="Freeform 108">
                  <a:extLst>
                    <a:ext uri="{FF2B5EF4-FFF2-40B4-BE49-F238E27FC236}">
                      <a16:creationId xmlns:a16="http://schemas.microsoft.com/office/drawing/2014/main" id="{DA88FC8C-786F-4CC2-5C1E-3FE550274880}"/>
                    </a:ext>
                  </a:extLst>
                </p:cNvPr>
                <p:cNvSpPr/>
                <p:nvPr/>
              </p:nvSpPr>
              <p:spPr bwMode="auto">
                <a:xfrm>
                  <a:off x="1675" y="1878"/>
                  <a:ext cx="22" cy="73"/>
                </a:xfrm>
                <a:custGeom>
                  <a:gdLst>
                    <a:gd name="T0" fmla="*/ 10 w 12"/>
                    <a:gd name="T1" fmla="*/ 6 h 40"/>
                    <a:gd name="T2" fmla="*/ 10 w 12"/>
                    <a:gd name="T3" fmla="*/ 34 h 40"/>
                    <a:gd name="T4" fmla="*/ 6 w 12"/>
                    <a:gd name="T5" fmla="*/ 38 h 40"/>
                    <a:gd name="T6" fmla="*/ 1 w 12"/>
                    <a:gd name="T7" fmla="*/ 5 h 40"/>
                    <a:gd name="T8" fmla="*/ 10 w 12"/>
                    <a:gd name="T9" fmla="*/ 6 h 40"/>
                  </a:gdLst>
                  <a:cxnLst>
                    <a:cxn ang="0">
                      <a:pos x="T0" y="T1"/>
                    </a:cxn>
                    <a:cxn ang="0">
                      <a:pos x="T2" y="T3"/>
                    </a:cxn>
                    <a:cxn ang="0">
                      <a:pos x="T4" y="T5"/>
                    </a:cxn>
                    <a:cxn ang="0">
                      <a:pos x="T6" y="T7"/>
                    </a:cxn>
                    <a:cxn ang="0">
                      <a:pos x="T8" y="T9"/>
                    </a:cxn>
                  </a:cxnLst>
                  <a:rect l="0" t="0" r="r" b="b"/>
                  <a:pathLst>
                    <a:path w="12" h="40">
                      <a:moveTo>
                        <a:pt x="10" y="6"/>
                      </a:moveTo>
                      <a:cubicBezTo>
                        <a:pt x="10" y="6"/>
                        <a:pt x="12" y="28"/>
                        <a:pt x="10" y="34"/>
                      </a:cubicBezTo>
                      <a:cubicBezTo>
                        <a:pt x="9" y="40"/>
                        <a:pt x="8" y="40"/>
                        <a:pt x="6" y="38"/>
                      </a:cubicBezTo>
                      <a:cubicBezTo>
                        <a:pt x="4" y="36"/>
                        <a:pt x="0" y="9"/>
                        <a:pt x="1" y="5"/>
                      </a:cubicBezTo>
                      <a:cubicBezTo>
                        <a:pt x="2" y="0"/>
                        <a:pt x="10" y="6"/>
                        <a:pt x="10" y="6"/>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90" name="Freeform 109">
                  <a:extLst>
                    <a:ext uri="{FF2B5EF4-FFF2-40B4-BE49-F238E27FC236}">
                      <a16:creationId xmlns:a16="http://schemas.microsoft.com/office/drawing/2014/main" id="{0844D161-BAFB-DACD-5D28-1D7E9BDF1722}"/>
                    </a:ext>
                  </a:extLst>
                </p:cNvPr>
                <p:cNvSpPr/>
                <p:nvPr/>
              </p:nvSpPr>
              <p:spPr bwMode="auto">
                <a:xfrm>
                  <a:off x="1683" y="1790"/>
                  <a:ext cx="14" cy="19"/>
                </a:xfrm>
                <a:custGeom>
                  <a:gdLst>
                    <a:gd name="T0" fmla="*/ 6 w 8"/>
                    <a:gd name="T1" fmla="*/ 6 h 10"/>
                    <a:gd name="T2" fmla="*/ 1 w 8"/>
                    <a:gd name="T3" fmla="*/ 10 h 10"/>
                    <a:gd name="T4" fmla="*/ 2 w 8"/>
                    <a:gd name="T5" fmla="*/ 4 h 10"/>
                    <a:gd name="T6" fmla="*/ 7 w 8"/>
                    <a:gd name="T7" fmla="*/ 0 h 10"/>
                    <a:gd name="T8" fmla="*/ 6 w 8"/>
                    <a:gd name="T9" fmla="*/ 6 h 10"/>
                  </a:gdLst>
                  <a:cxnLst>
                    <a:cxn ang="0">
                      <a:pos x="T0" y="T1"/>
                    </a:cxn>
                    <a:cxn ang="0">
                      <a:pos x="T2" y="T3"/>
                    </a:cxn>
                    <a:cxn ang="0">
                      <a:pos x="T4" y="T5"/>
                    </a:cxn>
                    <a:cxn ang="0">
                      <a:pos x="T6" y="T7"/>
                    </a:cxn>
                    <a:cxn ang="0">
                      <a:pos x="T8" y="T9"/>
                    </a:cxn>
                  </a:cxnLst>
                  <a:rect l="0" t="0" r="r" b="b"/>
                  <a:pathLst>
                    <a:path w="8" h="10">
                      <a:moveTo>
                        <a:pt x="6" y="6"/>
                      </a:moveTo>
                      <a:cubicBezTo>
                        <a:pt x="5" y="9"/>
                        <a:pt x="3" y="10"/>
                        <a:pt x="1" y="10"/>
                      </a:cubicBezTo>
                      <a:cubicBezTo>
                        <a:pt x="0" y="9"/>
                        <a:pt x="1" y="6"/>
                        <a:pt x="2" y="4"/>
                      </a:cubicBezTo>
                      <a:cubicBezTo>
                        <a:pt x="4" y="1"/>
                        <a:pt x="6" y="0"/>
                        <a:pt x="7" y="0"/>
                      </a:cubicBezTo>
                      <a:cubicBezTo>
                        <a:pt x="8" y="1"/>
                        <a:pt x="8" y="4"/>
                        <a:pt x="6"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91" name="Freeform 110">
                  <a:extLst>
                    <a:ext uri="{FF2B5EF4-FFF2-40B4-BE49-F238E27FC236}">
                      <a16:creationId xmlns:a16="http://schemas.microsoft.com/office/drawing/2014/main" id="{2AC12B7A-E7CA-8909-8DF8-8CCCA3B36BA0}"/>
                    </a:ext>
                  </a:extLst>
                </p:cNvPr>
                <p:cNvSpPr/>
                <p:nvPr/>
              </p:nvSpPr>
              <p:spPr bwMode="auto">
                <a:xfrm>
                  <a:off x="1715" y="1801"/>
                  <a:ext cx="19" cy="13"/>
                </a:xfrm>
                <a:custGeom>
                  <a:gdLst>
                    <a:gd name="T0" fmla="*/ 6 w 10"/>
                    <a:gd name="T1" fmla="*/ 2 h 7"/>
                    <a:gd name="T2" fmla="*/ 10 w 10"/>
                    <a:gd name="T3" fmla="*/ 6 h 7"/>
                    <a:gd name="T4" fmla="*/ 4 w 10"/>
                    <a:gd name="T5" fmla="*/ 5 h 7"/>
                    <a:gd name="T6" fmla="*/ 0 w 10"/>
                    <a:gd name="T7" fmla="*/ 1 h 7"/>
                    <a:gd name="T8" fmla="*/ 6 w 10"/>
                    <a:gd name="T9" fmla="*/ 2 h 7"/>
                  </a:gdLst>
                  <a:cxnLst>
                    <a:cxn ang="0">
                      <a:pos x="T0" y="T1"/>
                    </a:cxn>
                    <a:cxn ang="0">
                      <a:pos x="T2" y="T3"/>
                    </a:cxn>
                    <a:cxn ang="0">
                      <a:pos x="T4" y="T5"/>
                    </a:cxn>
                    <a:cxn ang="0">
                      <a:pos x="T6" y="T7"/>
                    </a:cxn>
                    <a:cxn ang="0">
                      <a:pos x="T8" y="T9"/>
                    </a:cxn>
                  </a:cxnLst>
                  <a:rect l="0" t="0" r="r" b="b"/>
                  <a:pathLst>
                    <a:path w="10" h="7">
                      <a:moveTo>
                        <a:pt x="6" y="2"/>
                      </a:moveTo>
                      <a:cubicBezTo>
                        <a:pt x="9" y="3"/>
                        <a:pt x="10" y="5"/>
                        <a:pt x="10" y="6"/>
                      </a:cubicBezTo>
                      <a:cubicBezTo>
                        <a:pt x="9" y="7"/>
                        <a:pt x="7" y="7"/>
                        <a:pt x="4" y="5"/>
                      </a:cubicBezTo>
                      <a:cubicBezTo>
                        <a:pt x="1" y="4"/>
                        <a:pt x="0" y="2"/>
                        <a:pt x="0" y="1"/>
                      </a:cubicBezTo>
                      <a:cubicBezTo>
                        <a:pt x="1" y="0"/>
                        <a:pt x="4" y="0"/>
                        <a:pt x="6" y="2"/>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92" name="Freeform 111">
                  <a:extLst>
                    <a:ext uri="{FF2B5EF4-FFF2-40B4-BE49-F238E27FC236}">
                      <a16:creationId xmlns:a16="http://schemas.microsoft.com/office/drawing/2014/main" id="{4CE8B48F-9373-08A6-5571-AE496999862B}"/>
                    </a:ext>
                  </a:extLst>
                </p:cNvPr>
                <p:cNvSpPr/>
                <p:nvPr/>
              </p:nvSpPr>
              <p:spPr bwMode="auto">
                <a:xfrm>
                  <a:off x="1686" y="1986"/>
                  <a:ext cx="20" cy="11"/>
                </a:xfrm>
                <a:custGeom>
                  <a:gdLst>
                    <a:gd name="T0" fmla="*/ 5 w 11"/>
                    <a:gd name="T1" fmla="*/ 5 h 6"/>
                    <a:gd name="T2" fmla="*/ 1 w 11"/>
                    <a:gd name="T3" fmla="*/ 1 h 6"/>
                    <a:gd name="T4" fmla="*/ 6 w 11"/>
                    <a:gd name="T5" fmla="*/ 1 h 6"/>
                    <a:gd name="T6" fmla="*/ 11 w 11"/>
                    <a:gd name="T7" fmla="*/ 5 h 6"/>
                    <a:gd name="T8" fmla="*/ 5 w 11"/>
                    <a:gd name="T9" fmla="*/ 5 h 6"/>
                  </a:gdLst>
                  <a:cxnLst>
                    <a:cxn ang="0">
                      <a:pos x="T0" y="T1"/>
                    </a:cxn>
                    <a:cxn ang="0">
                      <a:pos x="T2" y="T3"/>
                    </a:cxn>
                    <a:cxn ang="0">
                      <a:pos x="T4" y="T5"/>
                    </a:cxn>
                    <a:cxn ang="0">
                      <a:pos x="T6" y="T7"/>
                    </a:cxn>
                    <a:cxn ang="0">
                      <a:pos x="T8" y="T9"/>
                    </a:cxn>
                  </a:cxnLst>
                  <a:rect l="0" t="0" r="r" b="b"/>
                  <a:pathLst>
                    <a:path w="11" h="6">
                      <a:moveTo>
                        <a:pt x="5" y="5"/>
                      </a:moveTo>
                      <a:cubicBezTo>
                        <a:pt x="2" y="4"/>
                        <a:pt x="0" y="3"/>
                        <a:pt x="1" y="1"/>
                      </a:cubicBezTo>
                      <a:cubicBezTo>
                        <a:pt x="1" y="0"/>
                        <a:pt x="4" y="0"/>
                        <a:pt x="6" y="1"/>
                      </a:cubicBezTo>
                      <a:cubicBezTo>
                        <a:pt x="9" y="2"/>
                        <a:pt x="11" y="4"/>
                        <a:pt x="11" y="5"/>
                      </a:cubicBezTo>
                      <a:cubicBezTo>
                        <a:pt x="10" y="6"/>
                        <a:pt x="8" y="6"/>
                        <a:pt x="5" y="5"/>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93" name="Freeform 112">
                  <a:extLst>
                    <a:ext uri="{FF2B5EF4-FFF2-40B4-BE49-F238E27FC236}">
                      <a16:creationId xmlns:a16="http://schemas.microsoft.com/office/drawing/2014/main" id="{F855F1DA-06B5-FB22-04BC-41D5627D031E}"/>
                    </a:ext>
                  </a:extLst>
                </p:cNvPr>
                <p:cNvSpPr/>
                <p:nvPr/>
              </p:nvSpPr>
              <p:spPr bwMode="auto">
                <a:xfrm>
                  <a:off x="1699" y="1778"/>
                  <a:ext cx="20" cy="12"/>
                </a:xfrm>
                <a:custGeom>
                  <a:gdLst>
                    <a:gd name="T0" fmla="*/ 6 w 11"/>
                    <a:gd name="T1" fmla="*/ 1 h 7"/>
                    <a:gd name="T2" fmla="*/ 11 w 11"/>
                    <a:gd name="T3" fmla="*/ 5 h 7"/>
                    <a:gd name="T4" fmla="*/ 5 w 11"/>
                    <a:gd name="T5" fmla="*/ 6 h 7"/>
                    <a:gd name="T6" fmla="*/ 0 w 11"/>
                    <a:gd name="T7" fmla="*/ 2 h 7"/>
                    <a:gd name="T8" fmla="*/ 6 w 11"/>
                    <a:gd name="T9" fmla="*/ 1 h 7"/>
                  </a:gdLst>
                  <a:cxnLst>
                    <a:cxn ang="0">
                      <a:pos x="T0" y="T1"/>
                    </a:cxn>
                    <a:cxn ang="0">
                      <a:pos x="T2" y="T3"/>
                    </a:cxn>
                    <a:cxn ang="0">
                      <a:pos x="T4" y="T5"/>
                    </a:cxn>
                    <a:cxn ang="0">
                      <a:pos x="T6" y="T7"/>
                    </a:cxn>
                    <a:cxn ang="0">
                      <a:pos x="T8" y="T9"/>
                    </a:cxn>
                  </a:cxnLst>
                  <a:rect l="0" t="0" r="r" b="b"/>
                  <a:pathLst>
                    <a:path w="11" h="7">
                      <a:moveTo>
                        <a:pt x="6" y="1"/>
                      </a:moveTo>
                      <a:cubicBezTo>
                        <a:pt x="9" y="2"/>
                        <a:pt x="11" y="4"/>
                        <a:pt x="11" y="5"/>
                      </a:cubicBezTo>
                      <a:cubicBezTo>
                        <a:pt x="10" y="6"/>
                        <a:pt x="8" y="7"/>
                        <a:pt x="5" y="6"/>
                      </a:cubicBezTo>
                      <a:cubicBezTo>
                        <a:pt x="2" y="5"/>
                        <a:pt x="0" y="3"/>
                        <a:pt x="0" y="2"/>
                      </a:cubicBezTo>
                      <a:cubicBezTo>
                        <a:pt x="1" y="1"/>
                        <a:pt x="3" y="0"/>
                        <a:pt x="6" y="1"/>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94" name="Freeform 113">
                  <a:extLst>
                    <a:ext uri="{FF2B5EF4-FFF2-40B4-BE49-F238E27FC236}">
                      <a16:creationId xmlns:a16="http://schemas.microsoft.com/office/drawing/2014/main" id="{32D3EC90-6CEF-142A-A407-0E3D05484B0E}"/>
                    </a:ext>
                  </a:extLst>
                </p:cNvPr>
                <p:cNvSpPr/>
                <p:nvPr/>
              </p:nvSpPr>
              <p:spPr bwMode="auto">
                <a:xfrm>
                  <a:off x="1712" y="1977"/>
                  <a:ext cx="16" cy="18"/>
                </a:xfrm>
                <a:custGeom>
                  <a:gdLst>
                    <a:gd name="T0" fmla="*/ 3 w 9"/>
                    <a:gd name="T1" fmla="*/ 4 h 10"/>
                    <a:gd name="T2" fmla="*/ 8 w 9"/>
                    <a:gd name="T3" fmla="*/ 1 h 10"/>
                    <a:gd name="T4" fmla="*/ 6 w 9"/>
                    <a:gd name="T5" fmla="*/ 7 h 10"/>
                    <a:gd name="T6" fmla="*/ 0 w 9"/>
                    <a:gd name="T7" fmla="*/ 9 h 10"/>
                    <a:gd name="T8" fmla="*/ 3 w 9"/>
                    <a:gd name="T9" fmla="*/ 4 h 10"/>
                  </a:gdLst>
                  <a:cxnLst>
                    <a:cxn ang="0">
                      <a:pos x="T0" y="T1"/>
                    </a:cxn>
                    <a:cxn ang="0">
                      <a:pos x="T2" y="T3"/>
                    </a:cxn>
                    <a:cxn ang="0">
                      <a:pos x="T4" y="T5"/>
                    </a:cxn>
                    <a:cxn ang="0">
                      <a:pos x="T6" y="T7"/>
                    </a:cxn>
                    <a:cxn ang="0">
                      <a:pos x="T8" y="T9"/>
                    </a:cxn>
                  </a:cxnLst>
                  <a:rect l="0" t="0" r="r" b="b"/>
                  <a:pathLst>
                    <a:path w="9" h="10">
                      <a:moveTo>
                        <a:pt x="3" y="4"/>
                      </a:moveTo>
                      <a:cubicBezTo>
                        <a:pt x="5" y="1"/>
                        <a:pt x="7" y="0"/>
                        <a:pt x="8" y="1"/>
                      </a:cubicBezTo>
                      <a:cubicBezTo>
                        <a:pt x="9" y="2"/>
                        <a:pt x="8" y="5"/>
                        <a:pt x="6" y="7"/>
                      </a:cubicBezTo>
                      <a:cubicBezTo>
                        <a:pt x="4" y="9"/>
                        <a:pt x="1" y="10"/>
                        <a:pt x="0" y="9"/>
                      </a:cubicBezTo>
                      <a:cubicBezTo>
                        <a:pt x="0" y="8"/>
                        <a:pt x="1" y="6"/>
                        <a:pt x="3" y="4"/>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95" name="Freeform 114">
                  <a:extLst>
                    <a:ext uri="{FF2B5EF4-FFF2-40B4-BE49-F238E27FC236}">
                      <a16:creationId xmlns:a16="http://schemas.microsoft.com/office/drawing/2014/main" id="{9B57A252-8AA0-5EAC-909B-CA1733BFF12C}"/>
                    </a:ext>
                  </a:extLst>
                </p:cNvPr>
                <p:cNvSpPr/>
                <p:nvPr/>
              </p:nvSpPr>
              <p:spPr bwMode="auto">
                <a:xfrm>
                  <a:off x="1726" y="1947"/>
                  <a:ext cx="9" cy="20"/>
                </a:xfrm>
                <a:custGeom>
                  <a:gdLst>
                    <a:gd name="T0" fmla="*/ 0 w 5"/>
                    <a:gd name="T1" fmla="*/ 6 h 11"/>
                    <a:gd name="T2" fmla="*/ 1 w 5"/>
                    <a:gd name="T3" fmla="*/ 0 h 11"/>
                    <a:gd name="T4" fmla="*/ 4 w 5"/>
                    <a:gd name="T5" fmla="*/ 5 h 11"/>
                    <a:gd name="T6" fmla="*/ 3 w 5"/>
                    <a:gd name="T7" fmla="*/ 11 h 11"/>
                    <a:gd name="T8" fmla="*/ 0 w 5"/>
                    <a:gd name="T9" fmla="*/ 6 h 11"/>
                  </a:gdLst>
                  <a:cxnLst>
                    <a:cxn ang="0">
                      <a:pos x="T0" y="T1"/>
                    </a:cxn>
                    <a:cxn ang="0">
                      <a:pos x="T2" y="T3"/>
                    </a:cxn>
                    <a:cxn ang="0">
                      <a:pos x="T4" y="T5"/>
                    </a:cxn>
                    <a:cxn ang="0">
                      <a:pos x="T6" y="T7"/>
                    </a:cxn>
                    <a:cxn ang="0">
                      <a:pos x="T8" y="T9"/>
                    </a:cxn>
                  </a:cxnLst>
                  <a:rect l="0" t="0" r="r" b="b"/>
                  <a:pathLst>
                    <a:path w="5" h="11">
                      <a:moveTo>
                        <a:pt x="0" y="6"/>
                      </a:moveTo>
                      <a:cubicBezTo>
                        <a:pt x="0" y="3"/>
                        <a:pt x="0" y="0"/>
                        <a:pt x="1" y="0"/>
                      </a:cubicBezTo>
                      <a:cubicBezTo>
                        <a:pt x="3" y="0"/>
                        <a:pt x="4" y="2"/>
                        <a:pt x="4" y="5"/>
                      </a:cubicBezTo>
                      <a:cubicBezTo>
                        <a:pt x="5" y="8"/>
                        <a:pt x="4" y="11"/>
                        <a:pt x="3" y="11"/>
                      </a:cubicBezTo>
                      <a:cubicBezTo>
                        <a:pt x="2" y="11"/>
                        <a:pt x="0" y="9"/>
                        <a:pt x="0"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96" name="Freeform 115">
                  <a:extLst>
                    <a:ext uri="{FF2B5EF4-FFF2-40B4-BE49-F238E27FC236}">
                      <a16:creationId xmlns:a16="http://schemas.microsoft.com/office/drawing/2014/main" id="{F20B48C1-47B0-106C-532F-3A6C995D590F}"/>
                    </a:ext>
                  </a:extLst>
                </p:cNvPr>
                <p:cNvSpPr/>
                <p:nvPr/>
              </p:nvSpPr>
              <p:spPr bwMode="auto">
                <a:xfrm>
                  <a:off x="1670" y="1821"/>
                  <a:ext cx="20" cy="11"/>
                </a:xfrm>
                <a:custGeom>
                  <a:gdLst>
                    <a:gd name="T0" fmla="*/ 6 w 11"/>
                    <a:gd name="T1" fmla="*/ 1 h 6"/>
                    <a:gd name="T2" fmla="*/ 11 w 11"/>
                    <a:gd name="T3" fmla="*/ 5 h 6"/>
                    <a:gd name="T4" fmla="*/ 5 w 11"/>
                    <a:gd name="T5" fmla="*/ 5 h 6"/>
                    <a:gd name="T6" fmla="*/ 0 w 11"/>
                    <a:gd name="T7" fmla="*/ 1 h 6"/>
                    <a:gd name="T8" fmla="*/ 6 w 11"/>
                    <a:gd name="T9" fmla="*/ 1 h 6"/>
                  </a:gdLst>
                  <a:cxnLst>
                    <a:cxn ang="0">
                      <a:pos x="T0" y="T1"/>
                    </a:cxn>
                    <a:cxn ang="0">
                      <a:pos x="T2" y="T3"/>
                    </a:cxn>
                    <a:cxn ang="0">
                      <a:pos x="T4" y="T5"/>
                    </a:cxn>
                    <a:cxn ang="0">
                      <a:pos x="T6" y="T7"/>
                    </a:cxn>
                    <a:cxn ang="0">
                      <a:pos x="T8" y="T9"/>
                    </a:cxn>
                  </a:cxnLst>
                  <a:rect l="0" t="0" r="r" b="b"/>
                  <a:pathLst>
                    <a:path w="11" h="6">
                      <a:moveTo>
                        <a:pt x="6" y="1"/>
                      </a:moveTo>
                      <a:cubicBezTo>
                        <a:pt x="9" y="2"/>
                        <a:pt x="11" y="4"/>
                        <a:pt x="11" y="5"/>
                      </a:cubicBezTo>
                      <a:cubicBezTo>
                        <a:pt x="10" y="6"/>
                        <a:pt x="8" y="6"/>
                        <a:pt x="5" y="5"/>
                      </a:cubicBezTo>
                      <a:cubicBezTo>
                        <a:pt x="2" y="4"/>
                        <a:pt x="0" y="2"/>
                        <a:pt x="0" y="1"/>
                      </a:cubicBezTo>
                      <a:cubicBezTo>
                        <a:pt x="1" y="0"/>
                        <a:pt x="3" y="0"/>
                        <a:pt x="6" y="1"/>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97" name="Freeform 116">
                  <a:extLst>
                    <a:ext uri="{FF2B5EF4-FFF2-40B4-BE49-F238E27FC236}">
                      <a16:creationId xmlns:a16="http://schemas.microsoft.com/office/drawing/2014/main" id="{312A3EA7-0339-694F-812E-1BDCBEC90A04}"/>
                    </a:ext>
                  </a:extLst>
                </p:cNvPr>
                <p:cNvSpPr/>
                <p:nvPr/>
              </p:nvSpPr>
              <p:spPr bwMode="auto">
                <a:xfrm>
                  <a:off x="1666" y="1845"/>
                  <a:ext cx="9" cy="20"/>
                </a:xfrm>
                <a:custGeom>
                  <a:gdLst>
                    <a:gd name="T0" fmla="*/ 4 w 5"/>
                    <a:gd name="T1" fmla="*/ 6 h 11"/>
                    <a:gd name="T2" fmla="*/ 2 w 5"/>
                    <a:gd name="T3" fmla="*/ 11 h 11"/>
                    <a:gd name="T4" fmla="*/ 0 w 5"/>
                    <a:gd name="T5" fmla="*/ 5 h 11"/>
                    <a:gd name="T6" fmla="*/ 3 w 5"/>
                    <a:gd name="T7" fmla="*/ 0 h 11"/>
                    <a:gd name="T8" fmla="*/ 4 w 5"/>
                    <a:gd name="T9" fmla="*/ 6 h 11"/>
                  </a:gdLst>
                  <a:cxnLst>
                    <a:cxn ang="0">
                      <a:pos x="T0" y="T1"/>
                    </a:cxn>
                    <a:cxn ang="0">
                      <a:pos x="T2" y="T3"/>
                    </a:cxn>
                    <a:cxn ang="0">
                      <a:pos x="T4" y="T5"/>
                    </a:cxn>
                    <a:cxn ang="0">
                      <a:pos x="T6" y="T7"/>
                    </a:cxn>
                    <a:cxn ang="0">
                      <a:pos x="T8" y="T9"/>
                    </a:cxn>
                  </a:cxnLst>
                  <a:rect l="0" t="0" r="r" b="b"/>
                  <a:pathLst>
                    <a:path w="5" h="11">
                      <a:moveTo>
                        <a:pt x="4" y="6"/>
                      </a:moveTo>
                      <a:cubicBezTo>
                        <a:pt x="4" y="9"/>
                        <a:pt x="3" y="11"/>
                        <a:pt x="2" y="11"/>
                      </a:cubicBezTo>
                      <a:cubicBezTo>
                        <a:pt x="0" y="11"/>
                        <a:pt x="0" y="8"/>
                        <a:pt x="0" y="5"/>
                      </a:cubicBezTo>
                      <a:cubicBezTo>
                        <a:pt x="0" y="2"/>
                        <a:pt x="2" y="0"/>
                        <a:pt x="3" y="0"/>
                      </a:cubicBezTo>
                      <a:cubicBezTo>
                        <a:pt x="4" y="0"/>
                        <a:pt x="5" y="3"/>
                        <a:pt x="4"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98" name="Freeform 117">
                  <a:extLst>
                    <a:ext uri="{FF2B5EF4-FFF2-40B4-BE49-F238E27FC236}">
                      <a16:creationId xmlns:a16="http://schemas.microsoft.com/office/drawing/2014/main" id="{29AF3CEF-B57F-564B-E9FC-427B0114AD8A}"/>
                    </a:ext>
                  </a:extLst>
                </p:cNvPr>
                <p:cNvSpPr/>
                <p:nvPr/>
              </p:nvSpPr>
              <p:spPr bwMode="auto">
                <a:xfrm>
                  <a:off x="1735" y="1876"/>
                  <a:ext cx="10" cy="20"/>
                </a:xfrm>
                <a:custGeom>
                  <a:gdLst>
                    <a:gd name="T0" fmla="*/ 5 w 5"/>
                    <a:gd name="T1" fmla="*/ 6 h 11"/>
                    <a:gd name="T2" fmla="*/ 2 w 5"/>
                    <a:gd name="T3" fmla="*/ 11 h 11"/>
                    <a:gd name="T4" fmla="*/ 1 w 5"/>
                    <a:gd name="T5" fmla="*/ 5 h 11"/>
                    <a:gd name="T6" fmla="*/ 4 w 5"/>
                    <a:gd name="T7" fmla="*/ 0 h 11"/>
                    <a:gd name="T8" fmla="*/ 5 w 5"/>
                    <a:gd name="T9" fmla="*/ 6 h 11"/>
                  </a:gdLst>
                  <a:cxnLst>
                    <a:cxn ang="0">
                      <a:pos x="T0" y="T1"/>
                    </a:cxn>
                    <a:cxn ang="0">
                      <a:pos x="T2" y="T3"/>
                    </a:cxn>
                    <a:cxn ang="0">
                      <a:pos x="T4" y="T5"/>
                    </a:cxn>
                    <a:cxn ang="0">
                      <a:pos x="T6" y="T7"/>
                    </a:cxn>
                    <a:cxn ang="0">
                      <a:pos x="T8" y="T9"/>
                    </a:cxn>
                  </a:cxnLst>
                  <a:rect l="0" t="0" r="r" b="b"/>
                  <a:pathLst>
                    <a:path w="5" h="11">
                      <a:moveTo>
                        <a:pt x="5" y="6"/>
                      </a:moveTo>
                      <a:cubicBezTo>
                        <a:pt x="5" y="9"/>
                        <a:pt x="3" y="11"/>
                        <a:pt x="2" y="11"/>
                      </a:cubicBezTo>
                      <a:cubicBezTo>
                        <a:pt x="1" y="11"/>
                        <a:pt x="0" y="8"/>
                        <a:pt x="1" y="5"/>
                      </a:cubicBezTo>
                      <a:cubicBezTo>
                        <a:pt x="1" y="2"/>
                        <a:pt x="2" y="0"/>
                        <a:pt x="4" y="0"/>
                      </a:cubicBezTo>
                      <a:cubicBezTo>
                        <a:pt x="5" y="0"/>
                        <a:pt x="5" y="3"/>
                        <a:pt x="5"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99" name="Freeform 118">
                  <a:extLst>
                    <a:ext uri="{FF2B5EF4-FFF2-40B4-BE49-F238E27FC236}">
                      <a16:creationId xmlns:a16="http://schemas.microsoft.com/office/drawing/2014/main" id="{041F05BB-DF01-69AB-8B40-27C4731B5E4E}"/>
                    </a:ext>
                  </a:extLst>
                </p:cNvPr>
                <p:cNvSpPr/>
                <p:nvPr/>
              </p:nvSpPr>
              <p:spPr bwMode="auto">
                <a:xfrm>
                  <a:off x="1732" y="1829"/>
                  <a:ext cx="11" cy="20"/>
                </a:xfrm>
                <a:custGeom>
                  <a:gdLst>
                    <a:gd name="T0" fmla="*/ 5 w 6"/>
                    <a:gd name="T1" fmla="*/ 5 h 11"/>
                    <a:gd name="T2" fmla="*/ 5 w 6"/>
                    <a:gd name="T3" fmla="*/ 11 h 11"/>
                    <a:gd name="T4" fmla="*/ 1 w 6"/>
                    <a:gd name="T5" fmla="*/ 6 h 11"/>
                    <a:gd name="T6" fmla="*/ 2 w 6"/>
                    <a:gd name="T7" fmla="*/ 1 h 11"/>
                    <a:gd name="T8" fmla="*/ 5 w 6"/>
                    <a:gd name="T9" fmla="*/ 5 h 11"/>
                  </a:gdLst>
                  <a:cxnLst>
                    <a:cxn ang="0">
                      <a:pos x="T0" y="T1"/>
                    </a:cxn>
                    <a:cxn ang="0">
                      <a:pos x="T2" y="T3"/>
                    </a:cxn>
                    <a:cxn ang="0">
                      <a:pos x="T4" y="T5"/>
                    </a:cxn>
                    <a:cxn ang="0">
                      <a:pos x="T6" y="T7"/>
                    </a:cxn>
                    <a:cxn ang="0">
                      <a:pos x="T8" y="T9"/>
                    </a:cxn>
                  </a:cxnLst>
                  <a:rect l="0" t="0" r="r" b="b"/>
                  <a:pathLst>
                    <a:path w="6" h="11">
                      <a:moveTo>
                        <a:pt x="5" y="5"/>
                      </a:moveTo>
                      <a:cubicBezTo>
                        <a:pt x="6" y="8"/>
                        <a:pt x="6" y="10"/>
                        <a:pt x="5" y="11"/>
                      </a:cubicBezTo>
                      <a:cubicBezTo>
                        <a:pt x="4" y="11"/>
                        <a:pt x="2" y="9"/>
                        <a:pt x="1" y="6"/>
                      </a:cubicBezTo>
                      <a:cubicBezTo>
                        <a:pt x="0" y="4"/>
                        <a:pt x="0" y="1"/>
                        <a:pt x="2" y="1"/>
                      </a:cubicBezTo>
                      <a:cubicBezTo>
                        <a:pt x="3" y="0"/>
                        <a:pt x="4" y="2"/>
                        <a:pt x="5" y="5"/>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00" name="Freeform 119">
                  <a:extLst>
                    <a:ext uri="{FF2B5EF4-FFF2-40B4-BE49-F238E27FC236}">
                      <a16:creationId xmlns:a16="http://schemas.microsoft.com/office/drawing/2014/main" id="{E51CE7B8-CAB8-9E69-84EE-5162BD05BFC5}"/>
                    </a:ext>
                  </a:extLst>
                </p:cNvPr>
                <p:cNvSpPr/>
                <p:nvPr/>
              </p:nvSpPr>
              <p:spPr bwMode="auto">
                <a:xfrm>
                  <a:off x="1666" y="1918"/>
                  <a:ext cx="9" cy="20"/>
                </a:xfrm>
                <a:custGeom>
                  <a:gdLst>
                    <a:gd name="T0" fmla="*/ 5 w 5"/>
                    <a:gd name="T1" fmla="*/ 6 h 11"/>
                    <a:gd name="T2" fmla="*/ 2 w 5"/>
                    <a:gd name="T3" fmla="*/ 11 h 11"/>
                    <a:gd name="T4" fmla="*/ 1 w 5"/>
                    <a:gd name="T5" fmla="*/ 5 h 11"/>
                    <a:gd name="T6" fmla="*/ 3 w 5"/>
                    <a:gd name="T7" fmla="*/ 0 h 11"/>
                    <a:gd name="T8" fmla="*/ 5 w 5"/>
                    <a:gd name="T9" fmla="*/ 6 h 11"/>
                  </a:gdLst>
                  <a:cxnLst>
                    <a:cxn ang="0">
                      <a:pos x="T0" y="T1"/>
                    </a:cxn>
                    <a:cxn ang="0">
                      <a:pos x="T2" y="T3"/>
                    </a:cxn>
                    <a:cxn ang="0">
                      <a:pos x="T4" y="T5"/>
                    </a:cxn>
                    <a:cxn ang="0">
                      <a:pos x="T6" y="T7"/>
                    </a:cxn>
                    <a:cxn ang="0">
                      <a:pos x="T8" y="T9"/>
                    </a:cxn>
                  </a:cxnLst>
                  <a:rect l="0" t="0" r="r" b="b"/>
                  <a:pathLst>
                    <a:path w="5" h="11">
                      <a:moveTo>
                        <a:pt x="5" y="6"/>
                      </a:moveTo>
                      <a:cubicBezTo>
                        <a:pt x="4" y="9"/>
                        <a:pt x="3" y="11"/>
                        <a:pt x="2" y="11"/>
                      </a:cubicBezTo>
                      <a:cubicBezTo>
                        <a:pt x="1" y="11"/>
                        <a:pt x="0" y="8"/>
                        <a:pt x="1" y="5"/>
                      </a:cubicBezTo>
                      <a:cubicBezTo>
                        <a:pt x="1" y="2"/>
                        <a:pt x="2" y="0"/>
                        <a:pt x="3" y="0"/>
                      </a:cubicBezTo>
                      <a:cubicBezTo>
                        <a:pt x="5" y="0"/>
                        <a:pt x="5" y="3"/>
                        <a:pt x="5"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01" name="Freeform 120">
                  <a:extLst>
                    <a:ext uri="{FF2B5EF4-FFF2-40B4-BE49-F238E27FC236}">
                      <a16:creationId xmlns:a16="http://schemas.microsoft.com/office/drawing/2014/main" id="{9B0AA215-2A29-11BD-9198-F26634016B67}"/>
                    </a:ext>
                  </a:extLst>
                </p:cNvPr>
                <p:cNvSpPr/>
                <p:nvPr/>
              </p:nvSpPr>
              <p:spPr bwMode="auto">
                <a:xfrm>
                  <a:off x="1728" y="1918"/>
                  <a:ext cx="18" cy="17"/>
                </a:xfrm>
                <a:custGeom>
                  <a:gdLst>
                    <a:gd name="T0" fmla="*/ 6 w 10"/>
                    <a:gd name="T1" fmla="*/ 6 h 9"/>
                    <a:gd name="T2" fmla="*/ 1 w 10"/>
                    <a:gd name="T3" fmla="*/ 8 h 9"/>
                    <a:gd name="T4" fmla="*/ 4 w 10"/>
                    <a:gd name="T5" fmla="*/ 3 h 9"/>
                    <a:gd name="T6" fmla="*/ 9 w 10"/>
                    <a:gd name="T7" fmla="*/ 1 h 9"/>
                    <a:gd name="T8" fmla="*/ 6 w 10"/>
                    <a:gd name="T9" fmla="*/ 6 h 9"/>
                  </a:gdLst>
                  <a:cxnLst>
                    <a:cxn ang="0">
                      <a:pos x="T0" y="T1"/>
                    </a:cxn>
                    <a:cxn ang="0">
                      <a:pos x="T2" y="T3"/>
                    </a:cxn>
                    <a:cxn ang="0">
                      <a:pos x="T4" y="T5"/>
                    </a:cxn>
                    <a:cxn ang="0">
                      <a:pos x="T6" y="T7"/>
                    </a:cxn>
                    <a:cxn ang="0">
                      <a:pos x="T8" y="T9"/>
                    </a:cxn>
                  </a:cxnLst>
                  <a:rect l="0" t="0" r="r" b="b"/>
                  <a:pathLst>
                    <a:path w="10" h="9">
                      <a:moveTo>
                        <a:pt x="6" y="6"/>
                      </a:moveTo>
                      <a:cubicBezTo>
                        <a:pt x="4" y="8"/>
                        <a:pt x="2" y="9"/>
                        <a:pt x="1" y="8"/>
                      </a:cubicBezTo>
                      <a:cubicBezTo>
                        <a:pt x="0" y="7"/>
                        <a:pt x="1" y="5"/>
                        <a:pt x="4" y="3"/>
                      </a:cubicBezTo>
                      <a:cubicBezTo>
                        <a:pt x="6" y="1"/>
                        <a:pt x="8" y="0"/>
                        <a:pt x="9" y="1"/>
                      </a:cubicBezTo>
                      <a:cubicBezTo>
                        <a:pt x="10" y="2"/>
                        <a:pt x="9" y="4"/>
                        <a:pt x="6"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02" name="Freeform 121">
                  <a:extLst>
                    <a:ext uri="{FF2B5EF4-FFF2-40B4-BE49-F238E27FC236}">
                      <a16:creationId xmlns:a16="http://schemas.microsoft.com/office/drawing/2014/main" id="{D400AEE4-975B-E684-5EC8-81E968ACD258}"/>
                    </a:ext>
                  </a:extLst>
                </p:cNvPr>
                <p:cNvSpPr/>
                <p:nvPr/>
              </p:nvSpPr>
              <p:spPr bwMode="auto">
                <a:xfrm>
                  <a:off x="1663" y="1882"/>
                  <a:ext cx="10" cy="20"/>
                </a:xfrm>
                <a:custGeom>
                  <a:gdLst>
                    <a:gd name="T0" fmla="*/ 5 w 6"/>
                    <a:gd name="T1" fmla="*/ 5 h 11"/>
                    <a:gd name="T2" fmla="*/ 5 w 6"/>
                    <a:gd name="T3" fmla="*/ 11 h 11"/>
                    <a:gd name="T4" fmla="*/ 1 w 6"/>
                    <a:gd name="T5" fmla="*/ 6 h 11"/>
                    <a:gd name="T6" fmla="*/ 1 w 6"/>
                    <a:gd name="T7" fmla="*/ 1 h 11"/>
                    <a:gd name="T8" fmla="*/ 5 w 6"/>
                    <a:gd name="T9" fmla="*/ 5 h 11"/>
                  </a:gdLst>
                  <a:cxnLst>
                    <a:cxn ang="0">
                      <a:pos x="T0" y="T1"/>
                    </a:cxn>
                    <a:cxn ang="0">
                      <a:pos x="T2" y="T3"/>
                    </a:cxn>
                    <a:cxn ang="0">
                      <a:pos x="T4" y="T5"/>
                    </a:cxn>
                    <a:cxn ang="0">
                      <a:pos x="T6" y="T7"/>
                    </a:cxn>
                    <a:cxn ang="0">
                      <a:pos x="T8" y="T9"/>
                    </a:cxn>
                  </a:cxnLst>
                  <a:rect l="0" t="0" r="r" b="b"/>
                  <a:pathLst>
                    <a:path w="6" h="11">
                      <a:moveTo>
                        <a:pt x="5" y="5"/>
                      </a:moveTo>
                      <a:cubicBezTo>
                        <a:pt x="6" y="8"/>
                        <a:pt x="6" y="10"/>
                        <a:pt x="5" y="11"/>
                      </a:cubicBezTo>
                      <a:cubicBezTo>
                        <a:pt x="4" y="11"/>
                        <a:pt x="2" y="9"/>
                        <a:pt x="1" y="6"/>
                      </a:cubicBezTo>
                      <a:cubicBezTo>
                        <a:pt x="0" y="4"/>
                        <a:pt x="0" y="1"/>
                        <a:pt x="1" y="1"/>
                      </a:cubicBezTo>
                      <a:cubicBezTo>
                        <a:pt x="2" y="0"/>
                        <a:pt x="4" y="2"/>
                        <a:pt x="5" y="5"/>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03" name="Freeform 122">
                  <a:extLst>
                    <a:ext uri="{FF2B5EF4-FFF2-40B4-BE49-F238E27FC236}">
                      <a16:creationId xmlns:a16="http://schemas.microsoft.com/office/drawing/2014/main" id="{F177E114-48E8-D57B-306E-3B5476E79120}"/>
                    </a:ext>
                  </a:extLst>
                </p:cNvPr>
                <p:cNvSpPr/>
                <p:nvPr/>
              </p:nvSpPr>
              <p:spPr bwMode="auto">
                <a:xfrm>
                  <a:off x="1672" y="1951"/>
                  <a:ext cx="11" cy="20"/>
                </a:xfrm>
                <a:custGeom>
                  <a:gdLst>
                    <a:gd name="T0" fmla="*/ 5 w 6"/>
                    <a:gd name="T1" fmla="*/ 5 h 11"/>
                    <a:gd name="T2" fmla="*/ 5 w 6"/>
                    <a:gd name="T3" fmla="*/ 11 h 11"/>
                    <a:gd name="T4" fmla="*/ 1 w 6"/>
                    <a:gd name="T5" fmla="*/ 6 h 11"/>
                    <a:gd name="T6" fmla="*/ 1 w 6"/>
                    <a:gd name="T7" fmla="*/ 0 h 11"/>
                    <a:gd name="T8" fmla="*/ 5 w 6"/>
                    <a:gd name="T9" fmla="*/ 5 h 11"/>
                  </a:gdLst>
                  <a:cxnLst>
                    <a:cxn ang="0">
                      <a:pos x="T0" y="T1"/>
                    </a:cxn>
                    <a:cxn ang="0">
                      <a:pos x="T2" y="T3"/>
                    </a:cxn>
                    <a:cxn ang="0">
                      <a:pos x="T4" y="T5"/>
                    </a:cxn>
                    <a:cxn ang="0">
                      <a:pos x="T6" y="T7"/>
                    </a:cxn>
                    <a:cxn ang="0">
                      <a:pos x="T8" y="T9"/>
                    </a:cxn>
                  </a:cxnLst>
                  <a:rect l="0" t="0" r="r" b="b"/>
                  <a:pathLst>
                    <a:path w="6" h="11">
                      <a:moveTo>
                        <a:pt x="5" y="5"/>
                      </a:moveTo>
                      <a:cubicBezTo>
                        <a:pt x="6" y="8"/>
                        <a:pt x="6" y="10"/>
                        <a:pt x="5" y="11"/>
                      </a:cubicBezTo>
                      <a:cubicBezTo>
                        <a:pt x="4" y="11"/>
                        <a:pt x="2" y="9"/>
                        <a:pt x="1" y="6"/>
                      </a:cubicBezTo>
                      <a:cubicBezTo>
                        <a:pt x="0" y="3"/>
                        <a:pt x="0" y="1"/>
                        <a:pt x="1" y="0"/>
                      </a:cubicBezTo>
                      <a:cubicBezTo>
                        <a:pt x="2" y="0"/>
                        <a:pt x="4" y="2"/>
                        <a:pt x="5" y="5"/>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04" name="Freeform 123">
                  <a:extLst>
                    <a:ext uri="{FF2B5EF4-FFF2-40B4-BE49-F238E27FC236}">
                      <a16:creationId xmlns:a16="http://schemas.microsoft.com/office/drawing/2014/main" id="{D4AD6041-E4AC-924A-6AD0-693A32F2C618}"/>
                    </a:ext>
                  </a:extLst>
                </p:cNvPr>
                <p:cNvSpPr/>
                <p:nvPr/>
              </p:nvSpPr>
              <p:spPr bwMode="auto">
                <a:xfrm>
                  <a:off x="1544" y="1770"/>
                  <a:ext cx="133" cy="55"/>
                </a:xfrm>
                <a:custGeom>
                  <a:gdLst>
                    <a:gd name="T0" fmla="*/ 47 w 73"/>
                    <a:gd name="T1" fmla="*/ 0 h 30"/>
                    <a:gd name="T2" fmla="*/ 19 w 73"/>
                    <a:gd name="T3" fmla="*/ 0 h 30"/>
                    <a:gd name="T4" fmla="*/ 4 w 73"/>
                    <a:gd name="T5" fmla="*/ 17 h 30"/>
                    <a:gd name="T6" fmla="*/ 5 w 73"/>
                    <a:gd name="T7" fmla="*/ 30 h 30"/>
                    <a:gd name="T8" fmla="*/ 12 w 73"/>
                    <a:gd name="T9" fmla="*/ 22 h 30"/>
                    <a:gd name="T10" fmla="*/ 38 w 73"/>
                    <a:gd name="T11" fmla="*/ 9 h 30"/>
                    <a:gd name="T12" fmla="*/ 47 w 73"/>
                    <a:gd name="T13" fmla="*/ 9 h 30"/>
                    <a:gd name="T14" fmla="*/ 63 w 73"/>
                    <a:gd name="T15" fmla="*/ 0 h 30"/>
                    <a:gd name="T16" fmla="*/ 47 w 73"/>
                    <a:gd name="T17" fmla="*/ 0 h 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30">
                      <a:moveTo>
                        <a:pt x="47" y="0"/>
                      </a:moveTo>
                      <a:cubicBezTo>
                        <a:pt x="34" y="0"/>
                        <a:pt x="19" y="0"/>
                        <a:pt x="19" y="0"/>
                      </a:cubicBezTo>
                      <a:cubicBezTo>
                        <a:pt x="15" y="1"/>
                        <a:pt x="11" y="6"/>
                        <a:pt x="4" y="17"/>
                      </a:cubicBezTo>
                      <a:cubicBezTo>
                        <a:pt x="0" y="24"/>
                        <a:pt x="2" y="30"/>
                        <a:pt x="5" y="30"/>
                      </a:cubicBezTo>
                      <a:cubicBezTo>
                        <a:pt x="7" y="30"/>
                        <a:pt x="10" y="27"/>
                        <a:pt x="12" y="22"/>
                      </a:cubicBezTo>
                      <a:cubicBezTo>
                        <a:pt x="16" y="10"/>
                        <a:pt x="26" y="9"/>
                        <a:pt x="38" y="9"/>
                      </a:cubicBezTo>
                      <a:cubicBezTo>
                        <a:pt x="41" y="9"/>
                        <a:pt x="44" y="9"/>
                        <a:pt x="47" y="9"/>
                      </a:cubicBezTo>
                      <a:cubicBezTo>
                        <a:pt x="62" y="9"/>
                        <a:pt x="73" y="2"/>
                        <a:pt x="63" y="0"/>
                      </a:cubicBezTo>
                      <a:cubicBezTo>
                        <a:pt x="59" y="0"/>
                        <a:pt x="53" y="0"/>
                        <a:pt x="47" y="0"/>
                      </a:cubicBezTo>
                    </a:path>
                  </a:pathLst>
                </a:custGeom>
                <a:solidFill>
                  <a:srgbClr val="752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05" name="Freeform 124">
                  <a:extLst>
                    <a:ext uri="{FF2B5EF4-FFF2-40B4-BE49-F238E27FC236}">
                      <a16:creationId xmlns:a16="http://schemas.microsoft.com/office/drawing/2014/main" id="{D32AE723-4CE2-2281-79DD-773E83792A33}"/>
                    </a:ext>
                  </a:extLst>
                </p:cNvPr>
                <p:cNvSpPr/>
                <p:nvPr/>
              </p:nvSpPr>
              <p:spPr bwMode="auto">
                <a:xfrm>
                  <a:off x="1741" y="1759"/>
                  <a:ext cx="175" cy="261"/>
                </a:xfrm>
                <a:custGeom>
                  <a:gdLst>
                    <a:gd name="T0" fmla="*/ 28 w 96"/>
                    <a:gd name="T1" fmla="*/ 0 h 143"/>
                    <a:gd name="T2" fmla="*/ 0 w 96"/>
                    <a:gd name="T3" fmla="*/ 72 h 143"/>
                    <a:gd name="T4" fmla="*/ 28 w 96"/>
                    <a:gd name="T5" fmla="*/ 143 h 143"/>
                    <a:gd name="T6" fmla="*/ 96 w 96"/>
                    <a:gd name="T7" fmla="*/ 143 h 143"/>
                    <a:gd name="T8" fmla="*/ 96 w 96"/>
                    <a:gd name="T9" fmla="*/ 0 h 143"/>
                    <a:gd name="T10" fmla="*/ 28 w 96"/>
                    <a:gd name="T11" fmla="*/ 0 h 143"/>
                  </a:gdLst>
                  <a:cxnLst>
                    <a:cxn ang="0">
                      <a:pos x="T0" y="T1"/>
                    </a:cxn>
                    <a:cxn ang="0">
                      <a:pos x="T2" y="T3"/>
                    </a:cxn>
                    <a:cxn ang="0">
                      <a:pos x="T4" y="T5"/>
                    </a:cxn>
                    <a:cxn ang="0">
                      <a:pos x="T6" y="T7"/>
                    </a:cxn>
                    <a:cxn ang="0">
                      <a:pos x="T8" y="T9"/>
                    </a:cxn>
                    <a:cxn ang="0">
                      <a:pos x="T10" y="T11"/>
                    </a:cxn>
                  </a:cxnLst>
                  <a:rect l="0" t="0" r="r" b="b"/>
                  <a:pathLst>
                    <a:path w="96" h="143">
                      <a:moveTo>
                        <a:pt x="28" y="0"/>
                      </a:moveTo>
                      <a:cubicBezTo>
                        <a:pt x="13" y="0"/>
                        <a:pt x="0" y="32"/>
                        <a:pt x="0" y="72"/>
                      </a:cubicBezTo>
                      <a:cubicBezTo>
                        <a:pt x="0" y="111"/>
                        <a:pt x="13" y="143"/>
                        <a:pt x="28" y="143"/>
                      </a:cubicBezTo>
                      <a:cubicBezTo>
                        <a:pt x="96" y="143"/>
                        <a:pt x="96" y="143"/>
                        <a:pt x="96" y="143"/>
                      </a:cubicBezTo>
                      <a:cubicBezTo>
                        <a:pt x="96" y="0"/>
                        <a:pt x="96" y="0"/>
                        <a:pt x="96" y="0"/>
                      </a:cubicBezTo>
                      <a:cubicBezTo>
                        <a:pt x="28" y="0"/>
                        <a:pt x="28" y="0"/>
                        <a:pt x="28" y="0"/>
                      </a:cubicBezTo>
                    </a:path>
                  </a:pathLst>
                </a:custGeom>
                <a:solidFill>
                  <a:srgbClr val="59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06" name="Freeform 125">
                  <a:extLst>
                    <a:ext uri="{FF2B5EF4-FFF2-40B4-BE49-F238E27FC236}">
                      <a16:creationId xmlns:a16="http://schemas.microsoft.com/office/drawing/2014/main" id="{CB4A8990-8E84-5D2F-F6B5-7898B98F6DFF}"/>
                    </a:ext>
                  </a:extLst>
                </p:cNvPr>
                <p:cNvSpPr/>
                <p:nvPr/>
              </p:nvSpPr>
              <p:spPr bwMode="auto">
                <a:xfrm>
                  <a:off x="1741" y="1898"/>
                  <a:ext cx="175" cy="122"/>
                </a:xfrm>
                <a:custGeom>
                  <a:gdLst>
                    <a:gd name="T0" fmla="*/ 96 w 96"/>
                    <a:gd name="T1" fmla="*/ 42 h 67"/>
                    <a:gd name="T2" fmla="*/ 74 w 96"/>
                    <a:gd name="T3" fmla="*/ 43 h 67"/>
                    <a:gd name="T4" fmla="*/ 0 w 96"/>
                    <a:gd name="T5" fmla="*/ 0 h 67"/>
                    <a:gd name="T6" fmla="*/ 28 w 96"/>
                    <a:gd name="T7" fmla="*/ 67 h 67"/>
                    <a:gd name="T8" fmla="*/ 96 w 96"/>
                    <a:gd name="T9" fmla="*/ 67 h 67"/>
                    <a:gd name="T10" fmla="*/ 96 w 96"/>
                    <a:gd name="T11" fmla="*/ 42 h 67"/>
                  </a:gdLst>
                  <a:cxnLst>
                    <a:cxn ang="0">
                      <a:pos x="T0" y="T1"/>
                    </a:cxn>
                    <a:cxn ang="0">
                      <a:pos x="T2" y="T3"/>
                    </a:cxn>
                    <a:cxn ang="0">
                      <a:pos x="T4" y="T5"/>
                    </a:cxn>
                    <a:cxn ang="0">
                      <a:pos x="T6" y="T7"/>
                    </a:cxn>
                    <a:cxn ang="0">
                      <a:pos x="T8" y="T9"/>
                    </a:cxn>
                    <a:cxn ang="0">
                      <a:pos x="T10" y="T11"/>
                    </a:cxn>
                  </a:cxnLst>
                  <a:rect l="0" t="0" r="r" b="b"/>
                  <a:pathLst>
                    <a:path w="96" h="67">
                      <a:moveTo>
                        <a:pt x="96" y="42"/>
                      </a:moveTo>
                      <a:cubicBezTo>
                        <a:pt x="89" y="42"/>
                        <a:pt x="82" y="42"/>
                        <a:pt x="74" y="43"/>
                      </a:cubicBezTo>
                      <a:cubicBezTo>
                        <a:pt x="17" y="49"/>
                        <a:pt x="0" y="0"/>
                        <a:pt x="0" y="0"/>
                      </a:cubicBezTo>
                      <a:cubicBezTo>
                        <a:pt x="1" y="38"/>
                        <a:pt x="13" y="67"/>
                        <a:pt x="28" y="67"/>
                      </a:cubicBezTo>
                      <a:cubicBezTo>
                        <a:pt x="96" y="67"/>
                        <a:pt x="96" y="67"/>
                        <a:pt x="96" y="67"/>
                      </a:cubicBezTo>
                      <a:lnTo>
                        <a:pt x="96" y="42"/>
                      </a:lnTo>
                      <a:close/>
                    </a:path>
                  </a:pathLst>
                </a:custGeom>
                <a:solidFill>
                  <a:srgbClr val="350F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07" name="Oval 126">
                  <a:extLst>
                    <a:ext uri="{FF2B5EF4-FFF2-40B4-BE49-F238E27FC236}">
                      <a16:creationId xmlns:a16="http://schemas.microsoft.com/office/drawing/2014/main" id="{89371A31-8A12-485E-DC54-E3CF0E55DEF0}"/>
                    </a:ext>
                  </a:extLst>
                </p:cNvPr>
                <p:cNvSpPr>
                  <a:spLocks noChangeArrowheads="1"/>
                </p:cNvSpPr>
                <p:nvPr/>
              </p:nvSpPr>
              <p:spPr bwMode="auto">
                <a:xfrm>
                  <a:off x="1863" y="1759"/>
                  <a:ext cx="104" cy="261"/>
                </a:xfrm>
                <a:prstGeom prst="ellipse">
                  <a:avLst/>
                </a:prstGeom>
                <a:solidFill>
                  <a:srgbClr val="350F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08" name="Oval 127">
                  <a:extLst>
                    <a:ext uri="{FF2B5EF4-FFF2-40B4-BE49-F238E27FC236}">
                      <a16:creationId xmlns:a16="http://schemas.microsoft.com/office/drawing/2014/main" id="{EC8654B3-B447-7BF9-201B-FE16DC070E84}"/>
                    </a:ext>
                  </a:extLst>
                </p:cNvPr>
                <p:cNvSpPr>
                  <a:spLocks noChangeArrowheads="1"/>
                </p:cNvSpPr>
                <p:nvPr/>
              </p:nvSpPr>
              <p:spPr bwMode="auto">
                <a:xfrm>
                  <a:off x="1870" y="1768"/>
                  <a:ext cx="94" cy="245"/>
                </a:xfrm>
                <a:prstGeom prst="ellipse">
                  <a:avLst/>
                </a:prstGeom>
                <a:solidFill>
                  <a:srgbClr val="FFFE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09" name="Freeform 128">
                  <a:extLst>
                    <a:ext uri="{FF2B5EF4-FFF2-40B4-BE49-F238E27FC236}">
                      <a16:creationId xmlns:a16="http://schemas.microsoft.com/office/drawing/2014/main" id="{65853758-7B90-4C5B-ED84-2B208AE56C3A}"/>
                    </a:ext>
                  </a:extLst>
                </p:cNvPr>
                <p:cNvSpPr/>
                <p:nvPr/>
              </p:nvSpPr>
              <p:spPr bwMode="auto">
                <a:xfrm>
                  <a:off x="1903" y="1810"/>
                  <a:ext cx="44" cy="66"/>
                </a:xfrm>
                <a:custGeom>
                  <a:gdLst>
                    <a:gd name="T0" fmla="*/ 0 w 24"/>
                    <a:gd name="T1" fmla="*/ 16 h 36"/>
                    <a:gd name="T2" fmla="*/ 9 w 24"/>
                    <a:gd name="T3" fmla="*/ 34 h 36"/>
                    <a:gd name="T4" fmla="*/ 24 w 24"/>
                    <a:gd name="T5" fmla="*/ 24 h 36"/>
                    <a:gd name="T6" fmla="*/ 15 w 24"/>
                    <a:gd name="T7" fmla="*/ 2 h 36"/>
                    <a:gd name="T8" fmla="*/ 0 w 24"/>
                    <a:gd name="T9" fmla="*/ 16 h 36"/>
                  </a:gdLst>
                  <a:cxnLst>
                    <a:cxn ang="0">
                      <a:pos x="T0" y="T1"/>
                    </a:cxn>
                    <a:cxn ang="0">
                      <a:pos x="T2" y="T3"/>
                    </a:cxn>
                    <a:cxn ang="0">
                      <a:pos x="T4" y="T5"/>
                    </a:cxn>
                    <a:cxn ang="0">
                      <a:pos x="T6" y="T7"/>
                    </a:cxn>
                    <a:cxn ang="0">
                      <a:pos x="T8" y="T9"/>
                    </a:cxn>
                  </a:cxnLst>
                  <a:rect l="0" t="0" r="r" b="b"/>
                  <a:pathLst>
                    <a:path w="24" h="36">
                      <a:moveTo>
                        <a:pt x="0" y="16"/>
                      </a:moveTo>
                      <a:cubicBezTo>
                        <a:pt x="0" y="16"/>
                        <a:pt x="2" y="31"/>
                        <a:pt x="9" y="34"/>
                      </a:cubicBezTo>
                      <a:cubicBezTo>
                        <a:pt x="15" y="36"/>
                        <a:pt x="23" y="27"/>
                        <a:pt x="24" y="24"/>
                      </a:cubicBezTo>
                      <a:cubicBezTo>
                        <a:pt x="24" y="20"/>
                        <a:pt x="20" y="5"/>
                        <a:pt x="15" y="2"/>
                      </a:cubicBezTo>
                      <a:cubicBezTo>
                        <a:pt x="10" y="0"/>
                        <a:pt x="0" y="16"/>
                        <a:pt x="0" y="16"/>
                      </a:cubicBezTo>
                      <a:close/>
                    </a:path>
                  </a:pathLst>
                </a:custGeom>
                <a:solidFill>
                  <a:srgbClr val="E05B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10" name="Freeform 129">
                  <a:extLst>
                    <a:ext uri="{FF2B5EF4-FFF2-40B4-BE49-F238E27FC236}">
                      <a16:creationId xmlns:a16="http://schemas.microsoft.com/office/drawing/2014/main" id="{EBB0913C-A9DC-D6F8-E5D3-FFB011B58ED6}"/>
                    </a:ext>
                  </a:extLst>
                </p:cNvPr>
                <p:cNvSpPr/>
                <p:nvPr/>
              </p:nvSpPr>
              <p:spPr bwMode="auto">
                <a:xfrm>
                  <a:off x="1914" y="1854"/>
                  <a:ext cx="35" cy="51"/>
                </a:xfrm>
                <a:custGeom>
                  <a:gdLst>
                    <a:gd name="T0" fmla="*/ 18 w 19"/>
                    <a:gd name="T1" fmla="*/ 0 h 28"/>
                    <a:gd name="T2" fmla="*/ 18 w 19"/>
                    <a:gd name="T3" fmla="*/ 17 h 28"/>
                    <a:gd name="T4" fmla="*/ 3 w 19"/>
                    <a:gd name="T5" fmla="*/ 27 h 28"/>
                    <a:gd name="T6" fmla="*/ 1 w 19"/>
                    <a:gd name="T7" fmla="*/ 4 h 28"/>
                    <a:gd name="T8" fmla="*/ 18 w 19"/>
                    <a:gd name="T9" fmla="*/ 0 h 28"/>
                  </a:gdLst>
                  <a:cxnLst>
                    <a:cxn ang="0">
                      <a:pos x="T0" y="T1"/>
                    </a:cxn>
                    <a:cxn ang="0">
                      <a:pos x="T2" y="T3"/>
                    </a:cxn>
                    <a:cxn ang="0">
                      <a:pos x="T4" y="T5"/>
                    </a:cxn>
                    <a:cxn ang="0">
                      <a:pos x="T6" y="T7"/>
                    </a:cxn>
                    <a:cxn ang="0">
                      <a:pos x="T8" y="T9"/>
                    </a:cxn>
                  </a:cxnLst>
                  <a:rect l="0" t="0" r="r" b="b"/>
                  <a:pathLst>
                    <a:path w="19" h="28">
                      <a:moveTo>
                        <a:pt x="18" y="0"/>
                      </a:moveTo>
                      <a:cubicBezTo>
                        <a:pt x="18" y="0"/>
                        <a:pt x="19" y="11"/>
                        <a:pt x="18" y="17"/>
                      </a:cubicBezTo>
                      <a:cubicBezTo>
                        <a:pt x="16" y="22"/>
                        <a:pt x="6" y="27"/>
                        <a:pt x="3" y="27"/>
                      </a:cubicBezTo>
                      <a:cubicBezTo>
                        <a:pt x="0" y="28"/>
                        <a:pt x="1" y="4"/>
                        <a:pt x="1" y="4"/>
                      </a:cubicBezTo>
                      <a:lnTo>
                        <a:pt x="18" y="0"/>
                      </a:lnTo>
                      <a:close/>
                    </a:path>
                  </a:pathLst>
                </a:custGeom>
                <a:solidFill>
                  <a:srgbClr val="FE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11" name="Freeform 130">
                  <a:extLst>
                    <a:ext uri="{FF2B5EF4-FFF2-40B4-BE49-F238E27FC236}">
                      <a16:creationId xmlns:a16="http://schemas.microsoft.com/office/drawing/2014/main" id="{69755BED-1642-DA17-0140-C0A42355F193}"/>
                    </a:ext>
                  </a:extLst>
                </p:cNvPr>
                <p:cNvSpPr/>
                <p:nvPr/>
              </p:nvSpPr>
              <p:spPr bwMode="auto">
                <a:xfrm>
                  <a:off x="1892" y="1840"/>
                  <a:ext cx="41" cy="64"/>
                </a:xfrm>
                <a:custGeom>
                  <a:gdLst>
                    <a:gd name="T0" fmla="*/ 6 w 22"/>
                    <a:gd name="T1" fmla="*/ 0 h 35"/>
                    <a:gd name="T2" fmla="*/ 0 w 22"/>
                    <a:gd name="T3" fmla="*/ 20 h 35"/>
                    <a:gd name="T4" fmla="*/ 0 w 22"/>
                    <a:gd name="T5" fmla="*/ 26 h 35"/>
                    <a:gd name="T6" fmla="*/ 8 w 22"/>
                    <a:gd name="T7" fmla="*/ 35 h 35"/>
                    <a:gd name="T8" fmla="*/ 22 w 22"/>
                    <a:gd name="T9" fmla="*/ 27 h 35"/>
                    <a:gd name="T10" fmla="*/ 6 w 22"/>
                    <a:gd name="T11" fmla="*/ 0 h 35"/>
                  </a:gdLst>
                  <a:cxnLst>
                    <a:cxn ang="0">
                      <a:pos x="T0" y="T1"/>
                    </a:cxn>
                    <a:cxn ang="0">
                      <a:pos x="T2" y="T3"/>
                    </a:cxn>
                    <a:cxn ang="0">
                      <a:pos x="T4" y="T5"/>
                    </a:cxn>
                    <a:cxn ang="0">
                      <a:pos x="T6" y="T7"/>
                    </a:cxn>
                    <a:cxn ang="0">
                      <a:pos x="T8" y="T9"/>
                    </a:cxn>
                    <a:cxn ang="0">
                      <a:pos x="T10" y="T11"/>
                    </a:cxn>
                  </a:cxnLst>
                  <a:rect l="0" t="0" r="r" b="b"/>
                  <a:pathLst>
                    <a:path w="22" h="35">
                      <a:moveTo>
                        <a:pt x="6" y="0"/>
                      </a:moveTo>
                      <a:cubicBezTo>
                        <a:pt x="6" y="0"/>
                        <a:pt x="1" y="12"/>
                        <a:pt x="0" y="20"/>
                      </a:cubicBezTo>
                      <a:cubicBezTo>
                        <a:pt x="0" y="22"/>
                        <a:pt x="0" y="24"/>
                        <a:pt x="0" y="26"/>
                      </a:cubicBezTo>
                      <a:cubicBezTo>
                        <a:pt x="0" y="31"/>
                        <a:pt x="2" y="35"/>
                        <a:pt x="8" y="35"/>
                      </a:cubicBezTo>
                      <a:cubicBezTo>
                        <a:pt x="15" y="35"/>
                        <a:pt x="22" y="27"/>
                        <a:pt x="22" y="27"/>
                      </a:cubicBezTo>
                      <a:cubicBezTo>
                        <a:pt x="22" y="27"/>
                        <a:pt x="12" y="5"/>
                        <a:pt x="6" y="0"/>
                      </a:cubicBezTo>
                      <a:close/>
                    </a:path>
                  </a:pathLst>
                </a:custGeom>
                <a:solidFill>
                  <a:srgbClr val="5653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12" name="Freeform 131">
                  <a:extLst>
                    <a:ext uri="{FF2B5EF4-FFF2-40B4-BE49-F238E27FC236}">
                      <a16:creationId xmlns:a16="http://schemas.microsoft.com/office/drawing/2014/main" id="{C3B933E4-087D-84BF-DD3E-722296754511}"/>
                    </a:ext>
                  </a:extLst>
                </p:cNvPr>
                <p:cNvSpPr/>
                <p:nvPr/>
              </p:nvSpPr>
              <p:spPr bwMode="auto">
                <a:xfrm>
                  <a:off x="1900" y="1885"/>
                  <a:ext cx="47" cy="57"/>
                </a:xfrm>
                <a:custGeom>
                  <a:gdLst>
                    <a:gd name="T0" fmla="*/ 26 w 26"/>
                    <a:gd name="T1" fmla="*/ 0 h 31"/>
                    <a:gd name="T2" fmla="*/ 20 w 26"/>
                    <a:gd name="T3" fmla="*/ 26 h 31"/>
                    <a:gd name="T4" fmla="*/ 3 w 26"/>
                    <a:gd name="T5" fmla="*/ 31 h 31"/>
                    <a:gd name="T6" fmla="*/ 0 w 26"/>
                    <a:gd name="T7" fmla="*/ 4 h 31"/>
                    <a:gd name="T8" fmla="*/ 26 w 26"/>
                    <a:gd name="T9" fmla="*/ 0 h 31"/>
                  </a:gdLst>
                  <a:cxnLst>
                    <a:cxn ang="0">
                      <a:pos x="T0" y="T1"/>
                    </a:cxn>
                    <a:cxn ang="0">
                      <a:pos x="T2" y="T3"/>
                    </a:cxn>
                    <a:cxn ang="0">
                      <a:pos x="T4" y="T5"/>
                    </a:cxn>
                    <a:cxn ang="0">
                      <a:pos x="T6" y="T7"/>
                    </a:cxn>
                    <a:cxn ang="0">
                      <a:pos x="T8" y="T9"/>
                    </a:cxn>
                  </a:cxnLst>
                  <a:rect l="0" t="0" r="r" b="b"/>
                  <a:pathLst>
                    <a:path w="26" h="31">
                      <a:moveTo>
                        <a:pt x="26" y="0"/>
                      </a:moveTo>
                      <a:cubicBezTo>
                        <a:pt x="26" y="0"/>
                        <a:pt x="23" y="22"/>
                        <a:pt x="20" y="26"/>
                      </a:cubicBezTo>
                      <a:cubicBezTo>
                        <a:pt x="16" y="31"/>
                        <a:pt x="7" y="31"/>
                        <a:pt x="3" y="31"/>
                      </a:cubicBezTo>
                      <a:cubicBezTo>
                        <a:pt x="0" y="30"/>
                        <a:pt x="0" y="4"/>
                        <a:pt x="0" y="4"/>
                      </a:cubicBezTo>
                      <a:lnTo>
                        <a:pt x="26" y="0"/>
                      </a:lnTo>
                      <a:close/>
                    </a:path>
                  </a:pathLst>
                </a:custGeom>
                <a:solidFill>
                  <a:srgbClr val="8C2A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13" name="Freeform 132">
                  <a:extLst>
                    <a:ext uri="{FF2B5EF4-FFF2-40B4-BE49-F238E27FC236}">
                      <a16:creationId xmlns:a16="http://schemas.microsoft.com/office/drawing/2014/main" id="{EC263B55-CDB7-0631-13CA-995AC195797F}"/>
                    </a:ext>
                  </a:extLst>
                </p:cNvPr>
                <p:cNvSpPr/>
                <p:nvPr/>
              </p:nvSpPr>
              <p:spPr bwMode="auto">
                <a:xfrm>
                  <a:off x="1896" y="1924"/>
                  <a:ext cx="46" cy="56"/>
                </a:xfrm>
                <a:custGeom>
                  <a:gdLst>
                    <a:gd name="T0" fmla="*/ 24 w 25"/>
                    <a:gd name="T1" fmla="*/ 0 h 31"/>
                    <a:gd name="T2" fmla="*/ 20 w 25"/>
                    <a:gd name="T3" fmla="*/ 23 h 31"/>
                    <a:gd name="T4" fmla="*/ 11 w 25"/>
                    <a:gd name="T5" fmla="*/ 28 h 31"/>
                    <a:gd name="T6" fmla="*/ 1 w 25"/>
                    <a:gd name="T7" fmla="*/ 10 h 31"/>
                    <a:gd name="T8" fmla="*/ 24 w 25"/>
                    <a:gd name="T9" fmla="*/ 0 h 31"/>
                  </a:gdLst>
                  <a:cxnLst>
                    <a:cxn ang="0">
                      <a:pos x="T0" y="T1"/>
                    </a:cxn>
                    <a:cxn ang="0">
                      <a:pos x="T2" y="T3"/>
                    </a:cxn>
                    <a:cxn ang="0">
                      <a:pos x="T4" y="T5"/>
                    </a:cxn>
                    <a:cxn ang="0">
                      <a:pos x="T6" y="T7"/>
                    </a:cxn>
                    <a:cxn ang="0">
                      <a:pos x="T8" y="T9"/>
                    </a:cxn>
                  </a:cxnLst>
                  <a:rect l="0" t="0" r="r" b="b"/>
                  <a:pathLst>
                    <a:path w="25" h="31">
                      <a:moveTo>
                        <a:pt x="24" y="0"/>
                      </a:moveTo>
                      <a:cubicBezTo>
                        <a:pt x="24" y="0"/>
                        <a:pt x="25" y="18"/>
                        <a:pt x="20" y="23"/>
                      </a:cubicBezTo>
                      <a:cubicBezTo>
                        <a:pt x="16" y="29"/>
                        <a:pt x="15" y="31"/>
                        <a:pt x="11" y="28"/>
                      </a:cubicBezTo>
                      <a:cubicBezTo>
                        <a:pt x="6" y="25"/>
                        <a:pt x="3" y="19"/>
                        <a:pt x="1" y="10"/>
                      </a:cubicBezTo>
                      <a:cubicBezTo>
                        <a:pt x="0" y="1"/>
                        <a:pt x="24" y="0"/>
                        <a:pt x="24" y="0"/>
                      </a:cubicBezTo>
                      <a:close/>
                    </a:path>
                  </a:pathLst>
                </a:custGeom>
                <a:solidFill>
                  <a:srgbClr val="F7C3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14" name="Freeform 133">
                  <a:extLst>
                    <a:ext uri="{FF2B5EF4-FFF2-40B4-BE49-F238E27FC236}">
                      <a16:creationId xmlns:a16="http://schemas.microsoft.com/office/drawing/2014/main" id="{C32CAE24-64A2-87C4-E06B-3C308FCFDA37}"/>
                    </a:ext>
                  </a:extLst>
                </p:cNvPr>
                <p:cNvSpPr/>
                <p:nvPr/>
              </p:nvSpPr>
              <p:spPr bwMode="auto">
                <a:xfrm>
                  <a:off x="1891" y="1878"/>
                  <a:ext cx="20" cy="73"/>
                </a:xfrm>
                <a:custGeom>
                  <a:gdLst>
                    <a:gd name="T0" fmla="*/ 10 w 11"/>
                    <a:gd name="T1" fmla="*/ 6 h 40"/>
                    <a:gd name="T2" fmla="*/ 10 w 11"/>
                    <a:gd name="T3" fmla="*/ 34 h 40"/>
                    <a:gd name="T4" fmla="*/ 6 w 11"/>
                    <a:gd name="T5" fmla="*/ 38 h 40"/>
                    <a:gd name="T6" fmla="*/ 1 w 11"/>
                    <a:gd name="T7" fmla="*/ 5 h 40"/>
                    <a:gd name="T8" fmla="*/ 10 w 11"/>
                    <a:gd name="T9" fmla="*/ 6 h 40"/>
                  </a:gdLst>
                  <a:cxnLst>
                    <a:cxn ang="0">
                      <a:pos x="T0" y="T1"/>
                    </a:cxn>
                    <a:cxn ang="0">
                      <a:pos x="T2" y="T3"/>
                    </a:cxn>
                    <a:cxn ang="0">
                      <a:pos x="T4" y="T5"/>
                    </a:cxn>
                    <a:cxn ang="0">
                      <a:pos x="T6" y="T7"/>
                    </a:cxn>
                    <a:cxn ang="0">
                      <a:pos x="T8" y="T9"/>
                    </a:cxn>
                  </a:cxnLst>
                  <a:rect l="0" t="0" r="r" b="b"/>
                  <a:pathLst>
                    <a:path w="11" h="40">
                      <a:moveTo>
                        <a:pt x="10" y="6"/>
                      </a:moveTo>
                      <a:cubicBezTo>
                        <a:pt x="10" y="6"/>
                        <a:pt x="11" y="28"/>
                        <a:pt x="10" y="34"/>
                      </a:cubicBezTo>
                      <a:cubicBezTo>
                        <a:pt x="9" y="40"/>
                        <a:pt x="7" y="40"/>
                        <a:pt x="6" y="38"/>
                      </a:cubicBezTo>
                      <a:cubicBezTo>
                        <a:pt x="4" y="36"/>
                        <a:pt x="0" y="9"/>
                        <a:pt x="1" y="5"/>
                      </a:cubicBezTo>
                      <a:cubicBezTo>
                        <a:pt x="2" y="0"/>
                        <a:pt x="10" y="6"/>
                        <a:pt x="10" y="6"/>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15" name="Freeform 134">
                  <a:extLst>
                    <a:ext uri="{FF2B5EF4-FFF2-40B4-BE49-F238E27FC236}">
                      <a16:creationId xmlns:a16="http://schemas.microsoft.com/office/drawing/2014/main" id="{7AD170EE-9C83-6DFD-A741-F9DF62ACF3E1}"/>
                    </a:ext>
                  </a:extLst>
                </p:cNvPr>
                <p:cNvSpPr/>
                <p:nvPr/>
              </p:nvSpPr>
              <p:spPr bwMode="auto">
                <a:xfrm>
                  <a:off x="1898" y="1790"/>
                  <a:ext cx="14" cy="19"/>
                </a:xfrm>
                <a:custGeom>
                  <a:gdLst>
                    <a:gd name="T0" fmla="*/ 6 w 8"/>
                    <a:gd name="T1" fmla="*/ 6 h 10"/>
                    <a:gd name="T2" fmla="*/ 1 w 8"/>
                    <a:gd name="T3" fmla="*/ 10 h 10"/>
                    <a:gd name="T4" fmla="*/ 2 w 8"/>
                    <a:gd name="T5" fmla="*/ 4 h 10"/>
                    <a:gd name="T6" fmla="*/ 7 w 8"/>
                    <a:gd name="T7" fmla="*/ 0 h 10"/>
                    <a:gd name="T8" fmla="*/ 6 w 8"/>
                    <a:gd name="T9" fmla="*/ 6 h 10"/>
                  </a:gdLst>
                  <a:cxnLst>
                    <a:cxn ang="0">
                      <a:pos x="T0" y="T1"/>
                    </a:cxn>
                    <a:cxn ang="0">
                      <a:pos x="T2" y="T3"/>
                    </a:cxn>
                    <a:cxn ang="0">
                      <a:pos x="T4" y="T5"/>
                    </a:cxn>
                    <a:cxn ang="0">
                      <a:pos x="T6" y="T7"/>
                    </a:cxn>
                    <a:cxn ang="0">
                      <a:pos x="T8" y="T9"/>
                    </a:cxn>
                  </a:cxnLst>
                  <a:rect l="0" t="0" r="r" b="b"/>
                  <a:pathLst>
                    <a:path w="8" h="10">
                      <a:moveTo>
                        <a:pt x="6" y="6"/>
                      </a:moveTo>
                      <a:cubicBezTo>
                        <a:pt x="4" y="9"/>
                        <a:pt x="2" y="10"/>
                        <a:pt x="1" y="10"/>
                      </a:cubicBezTo>
                      <a:cubicBezTo>
                        <a:pt x="0" y="9"/>
                        <a:pt x="0" y="6"/>
                        <a:pt x="2" y="4"/>
                      </a:cubicBezTo>
                      <a:cubicBezTo>
                        <a:pt x="3" y="1"/>
                        <a:pt x="5" y="0"/>
                        <a:pt x="7" y="0"/>
                      </a:cubicBezTo>
                      <a:cubicBezTo>
                        <a:pt x="8" y="1"/>
                        <a:pt x="7" y="4"/>
                        <a:pt x="6"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16" name="Freeform 135">
                  <a:extLst>
                    <a:ext uri="{FF2B5EF4-FFF2-40B4-BE49-F238E27FC236}">
                      <a16:creationId xmlns:a16="http://schemas.microsoft.com/office/drawing/2014/main" id="{038E0D53-A63E-8142-ACA1-5D7C4D1A6566}"/>
                    </a:ext>
                  </a:extLst>
                </p:cNvPr>
                <p:cNvSpPr/>
                <p:nvPr/>
              </p:nvSpPr>
              <p:spPr bwMode="auto">
                <a:xfrm>
                  <a:off x="1931" y="1801"/>
                  <a:ext cx="18" cy="13"/>
                </a:xfrm>
                <a:custGeom>
                  <a:gdLst>
                    <a:gd name="T0" fmla="*/ 6 w 10"/>
                    <a:gd name="T1" fmla="*/ 2 h 7"/>
                    <a:gd name="T2" fmla="*/ 10 w 10"/>
                    <a:gd name="T3" fmla="*/ 6 h 7"/>
                    <a:gd name="T4" fmla="*/ 4 w 10"/>
                    <a:gd name="T5" fmla="*/ 5 h 7"/>
                    <a:gd name="T6" fmla="*/ 0 w 10"/>
                    <a:gd name="T7" fmla="*/ 1 h 7"/>
                    <a:gd name="T8" fmla="*/ 6 w 10"/>
                    <a:gd name="T9" fmla="*/ 2 h 7"/>
                  </a:gdLst>
                  <a:cxnLst>
                    <a:cxn ang="0">
                      <a:pos x="T0" y="T1"/>
                    </a:cxn>
                    <a:cxn ang="0">
                      <a:pos x="T2" y="T3"/>
                    </a:cxn>
                    <a:cxn ang="0">
                      <a:pos x="T4" y="T5"/>
                    </a:cxn>
                    <a:cxn ang="0">
                      <a:pos x="T6" y="T7"/>
                    </a:cxn>
                    <a:cxn ang="0">
                      <a:pos x="T8" y="T9"/>
                    </a:cxn>
                  </a:cxnLst>
                  <a:rect l="0" t="0" r="r" b="b"/>
                  <a:pathLst>
                    <a:path w="10" h="7">
                      <a:moveTo>
                        <a:pt x="6" y="2"/>
                      </a:moveTo>
                      <a:cubicBezTo>
                        <a:pt x="9" y="3"/>
                        <a:pt x="10" y="5"/>
                        <a:pt x="10" y="6"/>
                      </a:cubicBezTo>
                      <a:cubicBezTo>
                        <a:pt x="9" y="7"/>
                        <a:pt x="6" y="7"/>
                        <a:pt x="4" y="5"/>
                      </a:cubicBezTo>
                      <a:cubicBezTo>
                        <a:pt x="1" y="4"/>
                        <a:pt x="0" y="2"/>
                        <a:pt x="0" y="1"/>
                      </a:cubicBezTo>
                      <a:cubicBezTo>
                        <a:pt x="1" y="0"/>
                        <a:pt x="3" y="0"/>
                        <a:pt x="6" y="2"/>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17" name="Freeform 136">
                  <a:extLst>
                    <a:ext uri="{FF2B5EF4-FFF2-40B4-BE49-F238E27FC236}">
                      <a16:creationId xmlns:a16="http://schemas.microsoft.com/office/drawing/2014/main" id="{F3DCDB64-287F-0F3F-2F95-1D7B500DEEE6}"/>
                    </a:ext>
                  </a:extLst>
                </p:cNvPr>
                <p:cNvSpPr/>
                <p:nvPr/>
              </p:nvSpPr>
              <p:spPr bwMode="auto">
                <a:xfrm>
                  <a:off x="1902" y="1986"/>
                  <a:ext cx="20" cy="11"/>
                </a:xfrm>
                <a:custGeom>
                  <a:gdLst>
                    <a:gd name="T0" fmla="*/ 5 w 11"/>
                    <a:gd name="T1" fmla="*/ 5 h 6"/>
                    <a:gd name="T2" fmla="*/ 0 w 11"/>
                    <a:gd name="T3" fmla="*/ 1 h 6"/>
                    <a:gd name="T4" fmla="*/ 6 w 11"/>
                    <a:gd name="T5" fmla="*/ 1 h 6"/>
                    <a:gd name="T6" fmla="*/ 10 w 11"/>
                    <a:gd name="T7" fmla="*/ 5 h 6"/>
                    <a:gd name="T8" fmla="*/ 5 w 11"/>
                    <a:gd name="T9" fmla="*/ 5 h 6"/>
                  </a:gdLst>
                  <a:cxnLst>
                    <a:cxn ang="0">
                      <a:pos x="T0" y="T1"/>
                    </a:cxn>
                    <a:cxn ang="0">
                      <a:pos x="T2" y="T3"/>
                    </a:cxn>
                    <a:cxn ang="0">
                      <a:pos x="T4" y="T5"/>
                    </a:cxn>
                    <a:cxn ang="0">
                      <a:pos x="T6" y="T7"/>
                    </a:cxn>
                    <a:cxn ang="0">
                      <a:pos x="T8" y="T9"/>
                    </a:cxn>
                  </a:cxnLst>
                  <a:rect l="0" t="0" r="r" b="b"/>
                  <a:pathLst>
                    <a:path w="11" h="6">
                      <a:moveTo>
                        <a:pt x="5" y="5"/>
                      </a:moveTo>
                      <a:cubicBezTo>
                        <a:pt x="2" y="4"/>
                        <a:pt x="0" y="3"/>
                        <a:pt x="0" y="1"/>
                      </a:cubicBezTo>
                      <a:cubicBezTo>
                        <a:pt x="1" y="0"/>
                        <a:pt x="3" y="0"/>
                        <a:pt x="6" y="1"/>
                      </a:cubicBezTo>
                      <a:cubicBezTo>
                        <a:pt x="9" y="2"/>
                        <a:pt x="11" y="4"/>
                        <a:pt x="10" y="5"/>
                      </a:cubicBezTo>
                      <a:cubicBezTo>
                        <a:pt x="10" y="6"/>
                        <a:pt x="7" y="6"/>
                        <a:pt x="5" y="5"/>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18" name="Freeform 137">
                  <a:extLst>
                    <a:ext uri="{FF2B5EF4-FFF2-40B4-BE49-F238E27FC236}">
                      <a16:creationId xmlns:a16="http://schemas.microsoft.com/office/drawing/2014/main" id="{C376FFA9-E175-67E5-05A7-9FD3AB7E2455}"/>
                    </a:ext>
                  </a:extLst>
                </p:cNvPr>
                <p:cNvSpPr/>
                <p:nvPr/>
              </p:nvSpPr>
              <p:spPr bwMode="auto">
                <a:xfrm>
                  <a:off x="1914" y="1778"/>
                  <a:ext cx="20" cy="12"/>
                </a:xfrm>
                <a:custGeom>
                  <a:gdLst>
                    <a:gd name="T0" fmla="*/ 6 w 11"/>
                    <a:gd name="T1" fmla="*/ 1 h 7"/>
                    <a:gd name="T2" fmla="*/ 10 w 11"/>
                    <a:gd name="T3" fmla="*/ 5 h 7"/>
                    <a:gd name="T4" fmla="*/ 4 w 11"/>
                    <a:gd name="T5" fmla="*/ 6 h 7"/>
                    <a:gd name="T6" fmla="*/ 0 w 11"/>
                    <a:gd name="T7" fmla="*/ 2 h 7"/>
                    <a:gd name="T8" fmla="*/ 6 w 11"/>
                    <a:gd name="T9" fmla="*/ 1 h 7"/>
                  </a:gdLst>
                  <a:cxnLst>
                    <a:cxn ang="0">
                      <a:pos x="T0" y="T1"/>
                    </a:cxn>
                    <a:cxn ang="0">
                      <a:pos x="T2" y="T3"/>
                    </a:cxn>
                    <a:cxn ang="0">
                      <a:pos x="T4" y="T5"/>
                    </a:cxn>
                    <a:cxn ang="0">
                      <a:pos x="T6" y="T7"/>
                    </a:cxn>
                    <a:cxn ang="0">
                      <a:pos x="T8" y="T9"/>
                    </a:cxn>
                  </a:cxnLst>
                  <a:rect l="0" t="0" r="r" b="b"/>
                  <a:pathLst>
                    <a:path w="11" h="7">
                      <a:moveTo>
                        <a:pt x="6" y="1"/>
                      </a:moveTo>
                      <a:cubicBezTo>
                        <a:pt x="9" y="2"/>
                        <a:pt x="11" y="4"/>
                        <a:pt x="10" y="5"/>
                      </a:cubicBezTo>
                      <a:cubicBezTo>
                        <a:pt x="10" y="6"/>
                        <a:pt x="7" y="7"/>
                        <a:pt x="4" y="6"/>
                      </a:cubicBezTo>
                      <a:cubicBezTo>
                        <a:pt x="2" y="5"/>
                        <a:pt x="0" y="3"/>
                        <a:pt x="0" y="2"/>
                      </a:cubicBezTo>
                      <a:cubicBezTo>
                        <a:pt x="0" y="1"/>
                        <a:pt x="3" y="0"/>
                        <a:pt x="6" y="1"/>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19" name="Freeform 138">
                  <a:extLst>
                    <a:ext uri="{FF2B5EF4-FFF2-40B4-BE49-F238E27FC236}">
                      <a16:creationId xmlns:a16="http://schemas.microsoft.com/office/drawing/2014/main" id="{F28FBF57-DDA1-9663-36D4-42BC33BB3B55}"/>
                    </a:ext>
                  </a:extLst>
                </p:cNvPr>
                <p:cNvSpPr/>
                <p:nvPr/>
              </p:nvSpPr>
              <p:spPr bwMode="auto">
                <a:xfrm>
                  <a:off x="1925" y="1977"/>
                  <a:ext cx="18" cy="18"/>
                </a:xfrm>
                <a:custGeom>
                  <a:gdLst>
                    <a:gd name="T0" fmla="*/ 3 w 10"/>
                    <a:gd name="T1" fmla="*/ 4 h 10"/>
                    <a:gd name="T2" fmla="*/ 9 w 10"/>
                    <a:gd name="T3" fmla="*/ 1 h 10"/>
                    <a:gd name="T4" fmla="*/ 6 w 10"/>
                    <a:gd name="T5" fmla="*/ 7 h 10"/>
                    <a:gd name="T6" fmla="*/ 1 w 10"/>
                    <a:gd name="T7" fmla="*/ 9 h 10"/>
                    <a:gd name="T8" fmla="*/ 3 w 10"/>
                    <a:gd name="T9" fmla="*/ 4 h 10"/>
                  </a:gdLst>
                  <a:cxnLst>
                    <a:cxn ang="0">
                      <a:pos x="T0" y="T1"/>
                    </a:cxn>
                    <a:cxn ang="0">
                      <a:pos x="T2" y="T3"/>
                    </a:cxn>
                    <a:cxn ang="0">
                      <a:pos x="T4" y="T5"/>
                    </a:cxn>
                    <a:cxn ang="0">
                      <a:pos x="T6" y="T7"/>
                    </a:cxn>
                    <a:cxn ang="0">
                      <a:pos x="T8" y="T9"/>
                    </a:cxn>
                  </a:cxnLst>
                  <a:rect l="0" t="0" r="r" b="b"/>
                  <a:pathLst>
                    <a:path w="10" h="10">
                      <a:moveTo>
                        <a:pt x="3" y="4"/>
                      </a:moveTo>
                      <a:cubicBezTo>
                        <a:pt x="5" y="1"/>
                        <a:pt x="8" y="0"/>
                        <a:pt x="9" y="1"/>
                      </a:cubicBezTo>
                      <a:cubicBezTo>
                        <a:pt x="10" y="2"/>
                        <a:pt x="9" y="5"/>
                        <a:pt x="6" y="7"/>
                      </a:cubicBezTo>
                      <a:cubicBezTo>
                        <a:pt x="4" y="9"/>
                        <a:pt x="2" y="10"/>
                        <a:pt x="1" y="9"/>
                      </a:cubicBezTo>
                      <a:cubicBezTo>
                        <a:pt x="0" y="8"/>
                        <a:pt x="1" y="6"/>
                        <a:pt x="3" y="4"/>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20" name="Freeform 139">
                  <a:extLst>
                    <a:ext uri="{FF2B5EF4-FFF2-40B4-BE49-F238E27FC236}">
                      <a16:creationId xmlns:a16="http://schemas.microsoft.com/office/drawing/2014/main" id="{C80294C9-4F5C-29A7-45E6-1F47E8E1F4A7}"/>
                    </a:ext>
                  </a:extLst>
                </p:cNvPr>
                <p:cNvSpPr/>
                <p:nvPr/>
              </p:nvSpPr>
              <p:spPr bwMode="auto">
                <a:xfrm>
                  <a:off x="1940" y="1947"/>
                  <a:ext cx="9" cy="20"/>
                </a:xfrm>
                <a:custGeom>
                  <a:gdLst>
                    <a:gd name="T0" fmla="*/ 1 w 5"/>
                    <a:gd name="T1" fmla="*/ 6 h 11"/>
                    <a:gd name="T2" fmla="*/ 2 w 5"/>
                    <a:gd name="T3" fmla="*/ 0 h 11"/>
                    <a:gd name="T4" fmla="*/ 5 w 5"/>
                    <a:gd name="T5" fmla="*/ 5 h 11"/>
                    <a:gd name="T6" fmla="*/ 4 w 5"/>
                    <a:gd name="T7" fmla="*/ 11 h 11"/>
                    <a:gd name="T8" fmla="*/ 1 w 5"/>
                    <a:gd name="T9" fmla="*/ 6 h 11"/>
                  </a:gdLst>
                  <a:cxnLst>
                    <a:cxn ang="0">
                      <a:pos x="T0" y="T1"/>
                    </a:cxn>
                    <a:cxn ang="0">
                      <a:pos x="T2" y="T3"/>
                    </a:cxn>
                    <a:cxn ang="0">
                      <a:pos x="T4" y="T5"/>
                    </a:cxn>
                    <a:cxn ang="0">
                      <a:pos x="T6" y="T7"/>
                    </a:cxn>
                    <a:cxn ang="0">
                      <a:pos x="T8" y="T9"/>
                    </a:cxn>
                  </a:cxnLst>
                  <a:rect l="0" t="0" r="r" b="b"/>
                  <a:pathLst>
                    <a:path w="5" h="11">
                      <a:moveTo>
                        <a:pt x="1" y="6"/>
                      </a:moveTo>
                      <a:cubicBezTo>
                        <a:pt x="0" y="3"/>
                        <a:pt x="1" y="0"/>
                        <a:pt x="2" y="0"/>
                      </a:cubicBezTo>
                      <a:cubicBezTo>
                        <a:pt x="3" y="0"/>
                        <a:pt x="5" y="2"/>
                        <a:pt x="5" y="5"/>
                      </a:cubicBezTo>
                      <a:cubicBezTo>
                        <a:pt x="5" y="8"/>
                        <a:pt x="5" y="11"/>
                        <a:pt x="4" y="11"/>
                      </a:cubicBezTo>
                      <a:cubicBezTo>
                        <a:pt x="2" y="11"/>
                        <a:pt x="1" y="9"/>
                        <a:pt x="1"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21" name="Freeform 140">
                  <a:extLst>
                    <a:ext uri="{FF2B5EF4-FFF2-40B4-BE49-F238E27FC236}">
                      <a16:creationId xmlns:a16="http://schemas.microsoft.com/office/drawing/2014/main" id="{88253445-E65A-A1AE-46CD-41CAC3E41AA0}"/>
                    </a:ext>
                  </a:extLst>
                </p:cNvPr>
                <p:cNvSpPr/>
                <p:nvPr/>
              </p:nvSpPr>
              <p:spPr bwMode="auto">
                <a:xfrm>
                  <a:off x="1885" y="1821"/>
                  <a:ext cx="20" cy="11"/>
                </a:xfrm>
                <a:custGeom>
                  <a:gdLst>
                    <a:gd name="T0" fmla="*/ 6 w 11"/>
                    <a:gd name="T1" fmla="*/ 1 h 6"/>
                    <a:gd name="T2" fmla="*/ 10 w 11"/>
                    <a:gd name="T3" fmla="*/ 5 h 6"/>
                    <a:gd name="T4" fmla="*/ 4 w 11"/>
                    <a:gd name="T5" fmla="*/ 5 h 6"/>
                    <a:gd name="T6" fmla="*/ 0 w 11"/>
                    <a:gd name="T7" fmla="*/ 1 h 6"/>
                    <a:gd name="T8" fmla="*/ 6 w 11"/>
                    <a:gd name="T9" fmla="*/ 1 h 6"/>
                  </a:gdLst>
                  <a:cxnLst>
                    <a:cxn ang="0">
                      <a:pos x="T0" y="T1"/>
                    </a:cxn>
                    <a:cxn ang="0">
                      <a:pos x="T2" y="T3"/>
                    </a:cxn>
                    <a:cxn ang="0">
                      <a:pos x="T4" y="T5"/>
                    </a:cxn>
                    <a:cxn ang="0">
                      <a:pos x="T6" y="T7"/>
                    </a:cxn>
                    <a:cxn ang="0">
                      <a:pos x="T8" y="T9"/>
                    </a:cxn>
                  </a:cxnLst>
                  <a:rect l="0" t="0" r="r" b="b"/>
                  <a:pathLst>
                    <a:path w="11" h="6">
                      <a:moveTo>
                        <a:pt x="6" y="1"/>
                      </a:moveTo>
                      <a:cubicBezTo>
                        <a:pt x="9" y="2"/>
                        <a:pt x="11" y="4"/>
                        <a:pt x="10" y="5"/>
                      </a:cubicBezTo>
                      <a:cubicBezTo>
                        <a:pt x="10" y="6"/>
                        <a:pt x="7" y="6"/>
                        <a:pt x="4" y="5"/>
                      </a:cubicBezTo>
                      <a:cubicBezTo>
                        <a:pt x="2" y="4"/>
                        <a:pt x="0" y="2"/>
                        <a:pt x="0" y="1"/>
                      </a:cubicBezTo>
                      <a:cubicBezTo>
                        <a:pt x="0" y="0"/>
                        <a:pt x="3" y="0"/>
                        <a:pt x="6" y="1"/>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22" name="Freeform 141">
                  <a:extLst>
                    <a:ext uri="{FF2B5EF4-FFF2-40B4-BE49-F238E27FC236}">
                      <a16:creationId xmlns:a16="http://schemas.microsoft.com/office/drawing/2014/main" id="{1A644B99-D96E-2D97-C81A-C0BC2CFF8351}"/>
                    </a:ext>
                  </a:extLst>
                </p:cNvPr>
                <p:cNvSpPr/>
                <p:nvPr/>
              </p:nvSpPr>
              <p:spPr bwMode="auto">
                <a:xfrm>
                  <a:off x="1880" y="1845"/>
                  <a:ext cx="9" cy="20"/>
                </a:xfrm>
                <a:custGeom>
                  <a:gdLst>
                    <a:gd name="T0" fmla="*/ 5 w 5"/>
                    <a:gd name="T1" fmla="*/ 6 h 11"/>
                    <a:gd name="T2" fmla="*/ 2 w 5"/>
                    <a:gd name="T3" fmla="*/ 11 h 11"/>
                    <a:gd name="T4" fmla="*/ 1 w 5"/>
                    <a:gd name="T5" fmla="*/ 5 h 11"/>
                    <a:gd name="T6" fmla="*/ 4 w 5"/>
                    <a:gd name="T7" fmla="*/ 0 h 11"/>
                    <a:gd name="T8" fmla="*/ 5 w 5"/>
                    <a:gd name="T9" fmla="*/ 6 h 11"/>
                  </a:gdLst>
                  <a:cxnLst>
                    <a:cxn ang="0">
                      <a:pos x="T0" y="T1"/>
                    </a:cxn>
                    <a:cxn ang="0">
                      <a:pos x="T2" y="T3"/>
                    </a:cxn>
                    <a:cxn ang="0">
                      <a:pos x="T4" y="T5"/>
                    </a:cxn>
                    <a:cxn ang="0">
                      <a:pos x="T6" y="T7"/>
                    </a:cxn>
                    <a:cxn ang="0">
                      <a:pos x="T8" y="T9"/>
                    </a:cxn>
                  </a:cxnLst>
                  <a:rect l="0" t="0" r="r" b="b"/>
                  <a:pathLst>
                    <a:path w="5" h="11">
                      <a:moveTo>
                        <a:pt x="5" y="6"/>
                      </a:moveTo>
                      <a:cubicBezTo>
                        <a:pt x="5" y="9"/>
                        <a:pt x="3" y="11"/>
                        <a:pt x="2" y="11"/>
                      </a:cubicBezTo>
                      <a:cubicBezTo>
                        <a:pt x="1" y="11"/>
                        <a:pt x="0" y="8"/>
                        <a:pt x="1" y="5"/>
                      </a:cubicBezTo>
                      <a:cubicBezTo>
                        <a:pt x="1" y="2"/>
                        <a:pt x="2" y="0"/>
                        <a:pt x="4" y="0"/>
                      </a:cubicBezTo>
                      <a:cubicBezTo>
                        <a:pt x="5" y="0"/>
                        <a:pt x="5" y="3"/>
                        <a:pt x="5"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23" name="Freeform 142">
                  <a:extLst>
                    <a:ext uri="{FF2B5EF4-FFF2-40B4-BE49-F238E27FC236}">
                      <a16:creationId xmlns:a16="http://schemas.microsoft.com/office/drawing/2014/main" id="{C8875AAA-038D-2956-7F04-9E1439EBA735}"/>
                    </a:ext>
                  </a:extLst>
                </p:cNvPr>
                <p:cNvSpPr/>
                <p:nvPr/>
              </p:nvSpPr>
              <p:spPr bwMode="auto">
                <a:xfrm>
                  <a:off x="1951" y="1876"/>
                  <a:ext cx="9" cy="20"/>
                </a:xfrm>
                <a:custGeom>
                  <a:gdLst>
                    <a:gd name="T0" fmla="*/ 5 w 5"/>
                    <a:gd name="T1" fmla="*/ 6 h 11"/>
                    <a:gd name="T2" fmla="*/ 2 w 5"/>
                    <a:gd name="T3" fmla="*/ 11 h 11"/>
                    <a:gd name="T4" fmla="*/ 0 w 5"/>
                    <a:gd name="T5" fmla="*/ 5 h 11"/>
                    <a:gd name="T6" fmla="*/ 3 w 5"/>
                    <a:gd name="T7" fmla="*/ 0 h 11"/>
                    <a:gd name="T8" fmla="*/ 5 w 5"/>
                    <a:gd name="T9" fmla="*/ 6 h 11"/>
                  </a:gdLst>
                  <a:cxnLst>
                    <a:cxn ang="0">
                      <a:pos x="T0" y="T1"/>
                    </a:cxn>
                    <a:cxn ang="0">
                      <a:pos x="T2" y="T3"/>
                    </a:cxn>
                    <a:cxn ang="0">
                      <a:pos x="T4" y="T5"/>
                    </a:cxn>
                    <a:cxn ang="0">
                      <a:pos x="T6" y="T7"/>
                    </a:cxn>
                    <a:cxn ang="0">
                      <a:pos x="T8" y="T9"/>
                    </a:cxn>
                  </a:cxnLst>
                  <a:rect l="0" t="0" r="r" b="b"/>
                  <a:pathLst>
                    <a:path w="5" h="11">
                      <a:moveTo>
                        <a:pt x="5" y="6"/>
                      </a:moveTo>
                      <a:cubicBezTo>
                        <a:pt x="4" y="9"/>
                        <a:pt x="3" y="11"/>
                        <a:pt x="2" y="11"/>
                      </a:cubicBezTo>
                      <a:cubicBezTo>
                        <a:pt x="1" y="11"/>
                        <a:pt x="0" y="8"/>
                        <a:pt x="0" y="5"/>
                      </a:cubicBezTo>
                      <a:cubicBezTo>
                        <a:pt x="1" y="2"/>
                        <a:pt x="2" y="0"/>
                        <a:pt x="3" y="0"/>
                      </a:cubicBezTo>
                      <a:cubicBezTo>
                        <a:pt x="4" y="0"/>
                        <a:pt x="5" y="3"/>
                        <a:pt x="5"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24" name="Freeform 143">
                  <a:extLst>
                    <a:ext uri="{FF2B5EF4-FFF2-40B4-BE49-F238E27FC236}">
                      <a16:creationId xmlns:a16="http://schemas.microsoft.com/office/drawing/2014/main" id="{664179DF-A6A4-826E-4DB0-DF3B1E177302}"/>
                    </a:ext>
                  </a:extLst>
                </p:cNvPr>
                <p:cNvSpPr/>
                <p:nvPr/>
              </p:nvSpPr>
              <p:spPr bwMode="auto">
                <a:xfrm>
                  <a:off x="1947" y="1829"/>
                  <a:ext cx="11" cy="20"/>
                </a:xfrm>
                <a:custGeom>
                  <a:gdLst>
                    <a:gd name="T0" fmla="*/ 5 w 6"/>
                    <a:gd name="T1" fmla="*/ 5 h 11"/>
                    <a:gd name="T2" fmla="*/ 5 w 6"/>
                    <a:gd name="T3" fmla="*/ 11 h 11"/>
                    <a:gd name="T4" fmla="*/ 1 w 6"/>
                    <a:gd name="T5" fmla="*/ 6 h 11"/>
                    <a:gd name="T6" fmla="*/ 1 w 6"/>
                    <a:gd name="T7" fmla="*/ 1 h 11"/>
                    <a:gd name="T8" fmla="*/ 5 w 6"/>
                    <a:gd name="T9" fmla="*/ 5 h 11"/>
                  </a:gdLst>
                  <a:cxnLst>
                    <a:cxn ang="0">
                      <a:pos x="T0" y="T1"/>
                    </a:cxn>
                    <a:cxn ang="0">
                      <a:pos x="T2" y="T3"/>
                    </a:cxn>
                    <a:cxn ang="0">
                      <a:pos x="T4" y="T5"/>
                    </a:cxn>
                    <a:cxn ang="0">
                      <a:pos x="T6" y="T7"/>
                    </a:cxn>
                    <a:cxn ang="0">
                      <a:pos x="T8" y="T9"/>
                    </a:cxn>
                  </a:cxnLst>
                  <a:rect l="0" t="0" r="r" b="b"/>
                  <a:pathLst>
                    <a:path w="6" h="11">
                      <a:moveTo>
                        <a:pt x="5" y="5"/>
                      </a:moveTo>
                      <a:cubicBezTo>
                        <a:pt x="6" y="8"/>
                        <a:pt x="6" y="10"/>
                        <a:pt x="5" y="11"/>
                      </a:cubicBezTo>
                      <a:cubicBezTo>
                        <a:pt x="4" y="11"/>
                        <a:pt x="2" y="9"/>
                        <a:pt x="1" y="6"/>
                      </a:cubicBezTo>
                      <a:cubicBezTo>
                        <a:pt x="0" y="4"/>
                        <a:pt x="0" y="1"/>
                        <a:pt x="1" y="1"/>
                      </a:cubicBezTo>
                      <a:cubicBezTo>
                        <a:pt x="2" y="0"/>
                        <a:pt x="4" y="2"/>
                        <a:pt x="5" y="5"/>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25" name="Freeform 144">
                  <a:extLst>
                    <a:ext uri="{FF2B5EF4-FFF2-40B4-BE49-F238E27FC236}">
                      <a16:creationId xmlns:a16="http://schemas.microsoft.com/office/drawing/2014/main" id="{0FE2E9FB-53EB-6465-2F5A-244A4E2A0FFD}"/>
                    </a:ext>
                  </a:extLst>
                </p:cNvPr>
                <p:cNvSpPr/>
                <p:nvPr/>
              </p:nvSpPr>
              <p:spPr bwMode="auto">
                <a:xfrm>
                  <a:off x="1881" y="1918"/>
                  <a:ext cx="10" cy="20"/>
                </a:xfrm>
                <a:custGeom>
                  <a:gdLst>
                    <a:gd name="T0" fmla="*/ 5 w 5"/>
                    <a:gd name="T1" fmla="*/ 6 h 11"/>
                    <a:gd name="T2" fmla="*/ 2 w 5"/>
                    <a:gd name="T3" fmla="*/ 11 h 11"/>
                    <a:gd name="T4" fmla="*/ 0 w 5"/>
                    <a:gd name="T5" fmla="*/ 5 h 11"/>
                    <a:gd name="T6" fmla="*/ 3 w 5"/>
                    <a:gd name="T7" fmla="*/ 0 h 11"/>
                    <a:gd name="T8" fmla="*/ 5 w 5"/>
                    <a:gd name="T9" fmla="*/ 6 h 11"/>
                  </a:gdLst>
                  <a:cxnLst>
                    <a:cxn ang="0">
                      <a:pos x="T0" y="T1"/>
                    </a:cxn>
                    <a:cxn ang="0">
                      <a:pos x="T2" y="T3"/>
                    </a:cxn>
                    <a:cxn ang="0">
                      <a:pos x="T4" y="T5"/>
                    </a:cxn>
                    <a:cxn ang="0">
                      <a:pos x="T6" y="T7"/>
                    </a:cxn>
                    <a:cxn ang="0">
                      <a:pos x="T8" y="T9"/>
                    </a:cxn>
                  </a:cxnLst>
                  <a:rect l="0" t="0" r="r" b="b"/>
                  <a:pathLst>
                    <a:path w="5" h="11">
                      <a:moveTo>
                        <a:pt x="5" y="6"/>
                      </a:moveTo>
                      <a:cubicBezTo>
                        <a:pt x="4" y="9"/>
                        <a:pt x="3" y="11"/>
                        <a:pt x="2" y="11"/>
                      </a:cubicBezTo>
                      <a:cubicBezTo>
                        <a:pt x="0" y="11"/>
                        <a:pt x="0" y="8"/>
                        <a:pt x="0" y="5"/>
                      </a:cubicBezTo>
                      <a:cubicBezTo>
                        <a:pt x="1" y="2"/>
                        <a:pt x="2" y="0"/>
                        <a:pt x="3" y="0"/>
                      </a:cubicBezTo>
                      <a:cubicBezTo>
                        <a:pt x="4" y="0"/>
                        <a:pt x="5" y="3"/>
                        <a:pt x="5"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26" name="Freeform 145">
                  <a:extLst>
                    <a:ext uri="{FF2B5EF4-FFF2-40B4-BE49-F238E27FC236}">
                      <a16:creationId xmlns:a16="http://schemas.microsoft.com/office/drawing/2014/main" id="{1156DBD2-ABF3-3CB5-428A-20E9D04FBF4C}"/>
                    </a:ext>
                  </a:extLst>
                </p:cNvPr>
                <p:cNvSpPr/>
                <p:nvPr/>
              </p:nvSpPr>
              <p:spPr bwMode="auto">
                <a:xfrm>
                  <a:off x="1943" y="1918"/>
                  <a:ext cx="19" cy="17"/>
                </a:xfrm>
                <a:custGeom>
                  <a:gdLst>
                    <a:gd name="T0" fmla="*/ 6 w 10"/>
                    <a:gd name="T1" fmla="*/ 6 h 9"/>
                    <a:gd name="T2" fmla="*/ 1 w 10"/>
                    <a:gd name="T3" fmla="*/ 8 h 9"/>
                    <a:gd name="T4" fmla="*/ 3 w 10"/>
                    <a:gd name="T5" fmla="*/ 3 h 9"/>
                    <a:gd name="T6" fmla="*/ 9 w 10"/>
                    <a:gd name="T7" fmla="*/ 1 h 9"/>
                    <a:gd name="T8" fmla="*/ 6 w 10"/>
                    <a:gd name="T9" fmla="*/ 6 h 9"/>
                  </a:gdLst>
                  <a:cxnLst>
                    <a:cxn ang="0">
                      <a:pos x="T0" y="T1"/>
                    </a:cxn>
                    <a:cxn ang="0">
                      <a:pos x="T2" y="T3"/>
                    </a:cxn>
                    <a:cxn ang="0">
                      <a:pos x="T4" y="T5"/>
                    </a:cxn>
                    <a:cxn ang="0">
                      <a:pos x="T6" y="T7"/>
                    </a:cxn>
                    <a:cxn ang="0">
                      <a:pos x="T8" y="T9"/>
                    </a:cxn>
                  </a:cxnLst>
                  <a:rect l="0" t="0" r="r" b="b"/>
                  <a:pathLst>
                    <a:path w="10" h="9">
                      <a:moveTo>
                        <a:pt x="6" y="6"/>
                      </a:moveTo>
                      <a:cubicBezTo>
                        <a:pt x="4" y="8"/>
                        <a:pt x="1" y="9"/>
                        <a:pt x="1" y="8"/>
                      </a:cubicBezTo>
                      <a:cubicBezTo>
                        <a:pt x="0" y="7"/>
                        <a:pt x="1" y="5"/>
                        <a:pt x="3" y="3"/>
                      </a:cubicBezTo>
                      <a:cubicBezTo>
                        <a:pt x="5" y="1"/>
                        <a:pt x="8" y="0"/>
                        <a:pt x="9" y="1"/>
                      </a:cubicBezTo>
                      <a:cubicBezTo>
                        <a:pt x="10" y="2"/>
                        <a:pt x="8" y="4"/>
                        <a:pt x="6"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27" name="Freeform 146">
                  <a:extLst>
                    <a:ext uri="{FF2B5EF4-FFF2-40B4-BE49-F238E27FC236}">
                      <a16:creationId xmlns:a16="http://schemas.microsoft.com/office/drawing/2014/main" id="{8D28D510-02C2-68A2-B98F-D408FDC8D532}"/>
                    </a:ext>
                  </a:extLst>
                </p:cNvPr>
                <p:cNvSpPr/>
                <p:nvPr/>
              </p:nvSpPr>
              <p:spPr bwMode="auto">
                <a:xfrm>
                  <a:off x="1878" y="1882"/>
                  <a:ext cx="11" cy="20"/>
                </a:xfrm>
                <a:custGeom>
                  <a:gdLst>
                    <a:gd name="T0" fmla="*/ 5 w 6"/>
                    <a:gd name="T1" fmla="*/ 5 h 11"/>
                    <a:gd name="T2" fmla="*/ 4 w 6"/>
                    <a:gd name="T3" fmla="*/ 11 h 11"/>
                    <a:gd name="T4" fmla="*/ 1 w 6"/>
                    <a:gd name="T5" fmla="*/ 6 h 11"/>
                    <a:gd name="T6" fmla="*/ 1 w 6"/>
                    <a:gd name="T7" fmla="*/ 1 h 11"/>
                    <a:gd name="T8" fmla="*/ 5 w 6"/>
                    <a:gd name="T9" fmla="*/ 5 h 11"/>
                  </a:gdLst>
                  <a:cxnLst>
                    <a:cxn ang="0">
                      <a:pos x="T0" y="T1"/>
                    </a:cxn>
                    <a:cxn ang="0">
                      <a:pos x="T2" y="T3"/>
                    </a:cxn>
                    <a:cxn ang="0">
                      <a:pos x="T4" y="T5"/>
                    </a:cxn>
                    <a:cxn ang="0">
                      <a:pos x="T6" y="T7"/>
                    </a:cxn>
                    <a:cxn ang="0">
                      <a:pos x="T8" y="T9"/>
                    </a:cxn>
                  </a:cxnLst>
                  <a:rect l="0" t="0" r="r" b="b"/>
                  <a:pathLst>
                    <a:path w="6" h="11">
                      <a:moveTo>
                        <a:pt x="5" y="5"/>
                      </a:moveTo>
                      <a:cubicBezTo>
                        <a:pt x="6" y="8"/>
                        <a:pt x="6" y="10"/>
                        <a:pt x="4" y="11"/>
                      </a:cubicBezTo>
                      <a:cubicBezTo>
                        <a:pt x="3" y="11"/>
                        <a:pt x="2" y="9"/>
                        <a:pt x="1" y="6"/>
                      </a:cubicBezTo>
                      <a:cubicBezTo>
                        <a:pt x="0" y="4"/>
                        <a:pt x="0" y="1"/>
                        <a:pt x="1" y="1"/>
                      </a:cubicBezTo>
                      <a:cubicBezTo>
                        <a:pt x="2" y="0"/>
                        <a:pt x="4" y="2"/>
                        <a:pt x="5" y="5"/>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28" name="Freeform 147">
                  <a:extLst>
                    <a:ext uri="{FF2B5EF4-FFF2-40B4-BE49-F238E27FC236}">
                      <a16:creationId xmlns:a16="http://schemas.microsoft.com/office/drawing/2014/main" id="{3234BBCA-6963-50D4-3A25-A24A52CEF454}"/>
                    </a:ext>
                  </a:extLst>
                </p:cNvPr>
                <p:cNvSpPr/>
                <p:nvPr/>
              </p:nvSpPr>
              <p:spPr bwMode="auto">
                <a:xfrm>
                  <a:off x="1885" y="1951"/>
                  <a:ext cx="13" cy="20"/>
                </a:xfrm>
                <a:custGeom>
                  <a:gdLst>
                    <a:gd name="T0" fmla="*/ 6 w 7"/>
                    <a:gd name="T1" fmla="*/ 5 h 11"/>
                    <a:gd name="T2" fmla="*/ 5 w 7"/>
                    <a:gd name="T3" fmla="*/ 11 h 11"/>
                    <a:gd name="T4" fmla="*/ 1 w 7"/>
                    <a:gd name="T5" fmla="*/ 6 h 11"/>
                    <a:gd name="T6" fmla="*/ 2 w 7"/>
                    <a:gd name="T7" fmla="*/ 0 h 11"/>
                    <a:gd name="T8" fmla="*/ 6 w 7"/>
                    <a:gd name="T9" fmla="*/ 5 h 11"/>
                  </a:gdLst>
                  <a:cxnLst>
                    <a:cxn ang="0">
                      <a:pos x="T0" y="T1"/>
                    </a:cxn>
                    <a:cxn ang="0">
                      <a:pos x="T2" y="T3"/>
                    </a:cxn>
                    <a:cxn ang="0">
                      <a:pos x="T4" y="T5"/>
                    </a:cxn>
                    <a:cxn ang="0">
                      <a:pos x="T6" y="T7"/>
                    </a:cxn>
                    <a:cxn ang="0">
                      <a:pos x="T8" y="T9"/>
                    </a:cxn>
                  </a:cxnLst>
                  <a:rect l="0" t="0" r="r" b="b"/>
                  <a:pathLst>
                    <a:path w="7" h="11">
                      <a:moveTo>
                        <a:pt x="6" y="5"/>
                      </a:moveTo>
                      <a:cubicBezTo>
                        <a:pt x="7" y="8"/>
                        <a:pt x="6" y="10"/>
                        <a:pt x="5" y="11"/>
                      </a:cubicBezTo>
                      <a:cubicBezTo>
                        <a:pt x="4" y="11"/>
                        <a:pt x="2" y="9"/>
                        <a:pt x="1" y="6"/>
                      </a:cubicBezTo>
                      <a:cubicBezTo>
                        <a:pt x="0" y="3"/>
                        <a:pt x="1" y="1"/>
                        <a:pt x="2" y="0"/>
                      </a:cubicBezTo>
                      <a:cubicBezTo>
                        <a:pt x="3" y="0"/>
                        <a:pt x="5" y="2"/>
                        <a:pt x="6" y="5"/>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29" name="Freeform 148">
                  <a:extLst>
                    <a:ext uri="{FF2B5EF4-FFF2-40B4-BE49-F238E27FC236}">
                      <a16:creationId xmlns:a16="http://schemas.microsoft.com/office/drawing/2014/main" id="{A0FC69D4-32E6-026A-6E50-7DFA0EEB2F9A}"/>
                    </a:ext>
                  </a:extLst>
                </p:cNvPr>
                <p:cNvSpPr/>
                <p:nvPr/>
              </p:nvSpPr>
              <p:spPr bwMode="auto">
                <a:xfrm>
                  <a:off x="1759" y="1770"/>
                  <a:ext cx="133" cy="55"/>
                </a:xfrm>
                <a:custGeom>
                  <a:gdLst>
                    <a:gd name="T0" fmla="*/ 46 w 73"/>
                    <a:gd name="T1" fmla="*/ 0 h 30"/>
                    <a:gd name="T2" fmla="*/ 19 w 73"/>
                    <a:gd name="T3" fmla="*/ 0 h 30"/>
                    <a:gd name="T4" fmla="*/ 4 w 73"/>
                    <a:gd name="T5" fmla="*/ 17 h 30"/>
                    <a:gd name="T6" fmla="*/ 5 w 73"/>
                    <a:gd name="T7" fmla="*/ 30 h 30"/>
                    <a:gd name="T8" fmla="*/ 12 w 73"/>
                    <a:gd name="T9" fmla="*/ 22 h 30"/>
                    <a:gd name="T10" fmla="*/ 38 w 73"/>
                    <a:gd name="T11" fmla="*/ 9 h 30"/>
                    <a:gd name="T12" fmla="*/ 47 w 73"/>
                    <a:gd name="T13" fmla="*/ 9 h 30"/>
                    <a:gd name="T14" fmla="*/ 62 w 73"/>
                    <a:gd name="T15" fmla="*/ 0 h 30"/>
                    <a:gd name="T16" fmla="*/ 46 w 73"/>
                    <a:gd name="T17" fmla="*/ 0 h 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30">
                      <a:moveTo>
                        <a:pt x="46" y="0"/>
                      </a:moveTo>
                      <a:cubicBezTo>
                        <a:pt x="33" y="0"/>
                        <a:pt x="19" y="0"/>
                        <a:pt x="19" y="0"/>
                      </a:cubicBezTo>
                      <a:cubicBezTo>
                        <a:pt x="14" y="1"/>
                        <a:pt x="11" y="6"/>
                        <a:pt x="4" y="17"/>
                      </a:cubicBezTo>
                      <a:cubicBezTo>
                        <a:pt x="0" y="24"/>
                        <a:pt x="2" y="30"/>
                        <a:pt x="5" y="30"/>
                      </a:cubicBezTo>
                      <a:cubicBezTo>
                        <a:pt x="7" y="30"/>
                        <a:pt x="10" y="27"/>
                        <a:pt x="12" y="22"/>
                      </a:cubicBezTo>
                      <a:cubicBezTo>
                        <a:pt x="15" y="10"/>
                        <a:pt x="26" y="9"/>
                        <a:pt x="38" y="9"/>
                      </a:cubicBezTo>
                      <a:cubicBezTo>
                        <a:pt x="41" y="9"/>
                        <a:pt x="44" y="9"/>
                        <a:pt x="47" y="9"/>
                      </a:cubicBezTo>
                      <a:cubicBezTo>
                        <a:pt x="62" y="9"/>
                        <a:pt x="73" y="2"/>
                        <a:pt x="62" y="0"/>
                      </a:cubicBezTo>
                      <a:cubicBezTo>
                        <a:pt x="59" y="0"/>
                        <a:pt x="53" y="0"/>
                        <a:pt x="46" y="0"/>
                      </a:cubicBezTo>
                    </a:path>
                  </a:pathLst>
                </a:custGeom>
                <a:solidFill>
                  <a:srgbClr val="752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30" name="Freeform 149">
                  <a:extLst>
                    <a:ext uri="{FF2B5EF4-FFF2-40B4-BE49-F238E27FC236}">
                      <a16:creationId xmlns:a16="http://schemas.microsoft.com/office/drawing/2014/main" id="{1DED839A-1D82-D9C3-F79B-54E6FED99677}"/>
                    </a:ext>
                  </a:extLst>
                </p:cNvPr>
                <p:cNvSpPr/>
                <p:nvPr/>
              </p:nvSpPr>
              <p:spPr bwMode="auto">
                <a:xfrm>
                  <a:off x="1954" y="1759"/>
                  <a:ext cx="176" cy="261"/>
                </a:xfrm>
                <a:custGeom>
                  <a:gdLst>
                    <a:gd name="T0" fmla="*/ 29 w 96"/>
                    <a:gd name="T1" fmla="*/ 0 h 143"/>
                    <a:gd name="T2" fmla="*/ 0 w 96"/>
                    <a:gd name="T3" fmla="*/ 72 h 143"/>
                    <a:gd name="T4" fmla="*/ 29 w 96"/>
                    <a:gd name="T5" fmla="*/ 143 h 143"/>
                    <a:gd name="T6" fmla="*/ 96 w 96"/>
                    <a:gd name="T7" fmla="*/ 143 h 143"/>
                    <a:gd name="T8" fmla="*/ 96 w 96"/>
                    <a:gd name="T9" fmla="*/ 0 h 143"/>
                    <a:gd name="T10" fmla="*/ 29 w 96"/>
                    <a:gd name="T11" fmla="*/ 0 h 143"/>
                  </a:gdLst>
                  <a:cxnLst>
                    <a:cxn ang="0">
                      <a:pos x="T0" y="T1"/>
                    </a:cxn>
                    <a:cxn ang="0">
                      <a:pos x="T2" y="T3"/>
                    </a:cxn>
                    <a:cxn ang="0">
                      <a:pos x="T4" y="T5"/>
                    </a:cxn>
                    <a:cxn ang="0">
                      <a:pos x="T6" y="T7"/>
                    </a:cxn>
                    <a:cxn ang="0">
                      <a:pos x="T8" y="T9"/>
                    </a:cxn>
                    <a:cxn ang="0">
                      <a:pos x="T10" y="T11"/>
                    </a:cxn>
                  </a:cxnLst>
                  <a:rect l="0" t="0" r="r" b="b"/>
                  <a:pathLst>
                    <a:path w="96" h="143">
                      <a:moveTo>
                        <a:pt x="29" y="0"/>
                      </a:moveTo>
                      <a:cubicBezTo>
                        <a:pt x="13" y="0"/>
                        <a:pt x="0" y="32"/>
                        <a:pt x="0" y="72"/>
                      </a:cubicBezTo>
                      <a:cubicBezTo>
                        <a:pt x="0" y="111"/>
                        <a:pt x="13" y="143"/>
                        <a:pt x="29" y="143"/>
                      </a:cubicBezTo>
                      <a:cubicBezTo>
                        <a:pt x="96" y="143"/>
                        <a:pt x="96" y="143"/>
                        <a:pt x="96" y="143"/>
                      </a:cubicBezTo>
                      <a:cubicBezTo>
                        <a:pt x="96" y="0"/>
                        <a:pt x="96" y="0"/>
                        <a:pt x="96" y="0"/>
                      </a:cubicBezTo>
                      <a:cubicBezTo>
                        <a:pt x="29" y="0"/>
                        <a:pt x="29" y="0"/>
                        <a:pt x="29" y="0"/>
                      </a:cubicBezTo>
                    </a:path>
                  </a:pathLst>
                </a:custGeom>
                <a:solidFill>
                  <a:srgbClr val="59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31" name="Freeform 150">
                  <a:extLst>
                    <a:ext uri="{FF2B5EF4-FFF2-40B4-BE49-F238E27FC236}">
                      <a16:creationId xmlns:a16="http://schemas.microsoft.com/office/drawing/2014/main" id="{74CA088C-25C3-686D-E546-C35CB91CE6AC}"/>
                    </a:ext>
                  </a:extLst>
                </p:cNvPr>
                <p:cNvSpPr/>
                <p:nvPr/>
              </p:nvSpPr>
              <p:spPr bwMode="auto">
                <a:xfrm>
                  <a:off x="1956" y="1898"/>
                  <a:ext cx="174" cy="122"/>
                </a:xfrm>
                <a:custGeom>
                  <a:gdLst>
                    <a:gd name="T0" fmla="*/ 95 w 95"/>
                    <a:gd name="T1" fmla="*/ 42 h 67"/>
                    <a:gd name="T2" fmla="*/ 74 w 95"/>
                    <a:gd name="T3" fmla="*/ 43 h 67"/>
                    <a:gd name="T4" fmla="*/ 0 w 95"/>
                    <a:gd name="T5" fmla="*/ 0 h 67"/>
                    <a:gd name="T6" fmla="*/ 28 w 95"/>
                    <a:gd name="T7" fmla="*/ 67 h 67"/>
                    <a:gd name="T8" fmla="*/ 95 w 95"/>
                    <a:gd name="T9" fmla="*/ 67 h 67"/>
                    <a:gd name="T10" fmla="*/ 95 w 95"/>
                    <a:gd name="T11" fmla="*/ 42 h 67"/>
                  </a:gdLst>
                  <a:cxnLst>
                    <a:cxn ang="0">
                      <a:pos x="T0" y="T1"/>
                    </a:cxn>
                    <a:cxn ang="0">
                      <a:pos x="T2" y="T3"/>
                    </a:cxn>
                    <a:cxn ang="0">
                      <a:pos x="T4" y="T5"/>
                    </a:cxn>
                    <a:cxn ang="0">
                      <a:pos x="T6" y="T7"/>
                    </a:cxn>
                    <a:cxn ang="0">
                      <a:pos x="T8" y="T9"/>
                    </a:cxn>
                    <a:cxn ang="0">
                      <a:pos x="T10" y="T11"/>
                    </a:cxn>
                  </a:cxnLst>
                  <a:rect l="0" t="0" r="r" b="b"/>
                  <a:pathLst>
                    <a:path w="95" h="67">
                      <a:moveTo>
                        <a:pt x="95" y="42"/>
                      </a:moveTo>
                      <a:cubicBezTo>
                        <a:pt x="89" y="42"/>
                        <a:pt x="82" y="42"/>
                        <a:pt x="74" y="43"/>
                      </a:cubicBezTo>
                      <a:cubicBezTo>
                        <a:pt x="17" y="49"/>
                        <a:pt x="0" y="0"/>
                        <a:pt x="0" y="0"/>
                      </a:cubicBezTo>
                      <a:cubicBezTo>
                        <a:pt x="0" y="38"/>
                        <a:pt x="13" y="67"/>
                        <a:pt x="28" y="67"/>
                      </a:cubicBezTo>
                      <a:cubicBezTo>
                        <a:pt x="95" y="67"/>
                        <a:pt x="95" y="67"/>
                        <a:pt x="95" y="67"/>
                      </a:cubicBezTo>
                      <a:lnTo>
                        <a:pt x="95" y="42"/>
                      </a:lnTo>
                      <a:close/>
                    </a:path>
                  </a:pathLst>
                </a:custGeom>
                <a:solidFill>
                  <a:srgbClr val="350F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32" name="Oval 151">
                  <a:extLst>
                    <a:ext uri="{FF2B5EF4-FFF2-40B4-BE49-F238E27FC236}">
                      <a16:creationId xmlns:a16="http://schemas.microsoft.com/office/drawing/2014/main" id="{FC8737F6-0D79-17A6-7EB9-80FD0A210884}"/>
                    </a:ext>
                  </a:extLst>
                </p:cNvPr>
                <p:cNvSpPr>
                  <a:spLocks noChangeArrowheads="1"/>
                </p:cNvSpPr>
                <p:nvPr/>
              </p:nvSpPr>
              <p:spPr bwMode="auto">
                <a:xfrm>
                  <a:off x="2078" y="1759"/>
                  <a:ext cx="104" cy="261"/>
                </a:xfrm>
                <a:prstGeom prst="ellipse">
                  <a:avLst/>
                </a:prstGeom>
                <a:solidFill>
                  <a:srgbClr val="350F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33" name="Oval 152">
                  <a:extLst>
                    <a:ext uri="{FF2B5EF4-FFF2-40B4-BE49-F238E27FC236}">
                      <a16:creationId xmlns:a16="http://schemas.microsoft.com/office/drawing/2014/main" id="{E0DFB13A-F6A8-DB43-829F-10FA594585B8}"/>
                    </a:ext>
                  </a:extLst>
                </p:cNvPr>
                <p:cNvSpPr>
                  <a:spLocks noChangeArrowheads="1"/>
                </p:cNvSpPr>
                <p:nvPr/>
              </p:nvSpPr>
              <p:spPr bwMode="auto">
                <a:xfrm>
                  <a:off x="2086" y="1768"/>
                  <a:ext cx="93" cy="245"/>
                </a:xfrm>
                <a:prstGeom prst="ellipse">
                  <a:avLst/>
                </a:prstGeom>
                <a:solidFill>
                  <a:srgbClr val="FFFE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34" name="Freeform 153">
                  <a:extLst>
                    <a:ext uri="{FF2B5EF4-FFF2-40B4-BE49-F238E27FC236}">
                      <a16:creationId xmlns:a16="http://schemas.microsoft.com/office/drawing/2014/main" id="{24AE8081-C8F2-43CF-5501-3222D907B97F}"/>
                    </a:ext>
                  </a:extLst>
                </p:cNvPr>
                <p:cNvSpPr/>
                <p:nvPr/>
              </p:nvSpPr>
              <p:spPr bwMode="auto">
                <a:xfrm>
                  <a:off x="2117" y="1810"/>
                  <a:ext cx="45" cy="66"/>
                </a:xfrm>
                <a:custGeom>
                  <a:gdLst>
                    <a:gd name="T0" fmla="*/ 0 w 25"/>
                    <a:gd name="T1" fmla="*/ 16 h 36"/>
                    <a:gd name="T2" fmla="*/ 9 w 25"/>
                    <a:gd name="T3" fmla="*/ 34 h 36"/>
                    <a:gd name="T4" fmla="*/ 24 w 25"/>
                    <a:gd name="T5" fmla="*/ 24 h 36"/>
                    <a:gd name="T6" fmla="*/ 16 w 25"/>
                    <a:gd name="T7" fmla="*/ 2 h 36"/>
                    <a:gd name="T8" fmla="*/ 0 w 25"/>
                    <a:gd name="T9" fmla="*/ 16 h 36"/>
                  </a:gdLst>
                  <a:cxnLst>
                    <a:cxn ang="0">
                      <a:pos x="T0" y="T1"/>
                    </a:cxn>
                    <a:cxn ang="0">
                      <a:pos x="T2" y="T3"/>
                    </a:cxn>
                    <a:cxn ang="0">
                      <a:pos x="T4" y="T5"/>
                    </a:cxn>
                    <a:cxn ang="0">
                      <a:pos x="T6" y="T7"/>
                    </a:cxn>
                    <a:cxn ang="0">
                      <a:pos x="T8" y="T9"/>
                    </a:cxn>
                  </a:cxnLst>
                  <a:rect l="0" t="0" r="r" b="b"/>
                  <a:pathLst>
                    <a:path w="25" h="36">
                      <a:moveTo>
                        <a:pt x="0" y="16"/>
                      </a:moveTo>
                      <a:cubicBezTo>
                        <a:pt x="0" y="16"/>
                        <a:pt x="2" y="31"/>
                        <a:pt x="9" y="34"/>
                      </a:cubicBezTo>
                      <a:cubicBezTo>
                        <a:pt x="16" y="36"/>
                        <a:pt x="24" y="27"/>
                        <a:pt x="24" y="24"/>
                      </a:cubicBezTo>
                      <a:cubicBezTo>
                        <a:pt x="25" y="20"/>
                        <a:pt x="20" y="5"/>
                        <a:pt x="16" y="2"/>
                      </a:cubicBezTo>
                      <a:cubicBezTo>
                        <a:pt x="11" y="0"/>
                        <a:pt x="0" y="16"/>
                        <a:pt x="0" y="16"/>
                      </a:cubicBezTo>
                      <a:close/>
                    </a:path>
                  </a:pathLst>
                </a:custGeom>
                <a:solidFill>
                  <a:srgbClr val="E05B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35" name="Freeform 154">
                  <a:extLst>
                    <a:ext uri="{FF2B5EF4-FFF2-40B4-BE49-F238E27FC236}">
                      <a16:creationId xmlns:a16="http://schemas.microsoft.com/office/drawing/2014/main" id="{680912CF-C71E-FC30-85F4-2A315259BC9D}"/>
                    </a:ext>
                  </a:extLst>
                </p:cNvPr>
                <p:cNvSpPr/>
                <p:nvPr/>
              </p:nvSpPr>
              <p:spPr bwMode="auto">
                <a:xfrm>
                  <a:off x="2128" y="1854"/>
                  <a:ext cx="36" cy="51"/>
                </a:xfrm>
                <a:custGeom>
                  <a:gdLst>
                    <a:gd name="T0" fmla="*/ 18 w 20"/>
                    <a:gd name="T1" fmla="*/ 0 h 28"/>
                    <a:gd name="T2" fmla="*/ 18 w 20"/>
                    <a:gd name="T3" fmla="*/ 17 h 28"/>
                    <a:gd name="T4" fmla="*/ 4 w 20"/>
                    <a:gd name="T5" fmla="*/ 27 h 28"/>
                    <a:gd name="T6" fmla="*/ 1 w 20"/>
                    <a:gd name="T7" fmla="*/ 4 h 28"/>
                    <a:gd name="T8" fmla="*/ 18 w 20"/>
                    <a:gd name="T9" fmla="*/ 0 h 28"/>
                  </a:gdLst>
                  <a:cxnLst>
                    <a:cxn ang="0">
                      <a:pos x="T0" y="T1"/>
                    </a:cxn>
                    <a:cxn ang="0">
                      <a:pos x="T2" y="T3"/>
                    </a:cxn>
                    <a:cxn ang="0">
                      <a:pos x="T4" y="T5"/>
                    </a:cxn>
                    <a:cxn ang="0">
                      <a:pos x="T6" y="T7"/>
                    </a:cxn>
                    <a:cxn ang="0">
                      <a:pos x="T8" y="T9"/>
                    </a:cxn>
                  </a:cxnLst>
                  <a:rect l="0" t="0" r="r" b="b"/>
                  <a:pathLst>
                    <a:path w="20" h="28">
                      <a:moveTo>
                        <a:pt x="18" y="0"/>
                      </a:moveTo>
                      <a:cubicBezTo>
                        <a:pt x="18" y="0"/>
                        <a:pt x="20" y="11"/>
                        <a:pt x="18" y="17"/>
                      </a:cubicBezTo>
                      <a:cubicBezTo>
                        <a:pt x="17" y="22"/>
                        <a:pt x="7" y="27"/>
                        <a:pt x="4" y="27"/>
                      </a:cubicBezTo>
                      <a:cubicBezTo>
                        <a:pt x="0" y="28"/>
                        <a:pt x="1" y="4"/>
                        <a:pt x="1" y="4"/>
                      </a:cubicBezTo>
                      <a:lnTo>
                        <a:pt x="18" y="0"/>
                      </a:lnTo>
                      <a:close/>
                    </a:path>
                  </a:pathLst>
                </a:custGeom>
                <a:solidFill>
                  <a:srgbClr val="FE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36" name="Freeform 155">
                  <a:extLst>
                    <a:ext uri="{FF2B5EF4-FFF2-40B4-BE49-F238E27FC236}">
                      <a16:creationId xmlns:a16="http://schemas.microsoft.com/office/drawing/2014/main" id="{F11D1393-C738-CDB0-13FF-2E5DC4C14008}"/>
                    </a:ext>
                  </a:extLst>
                </p:cNvPr>
                <p:cNvSpPr/>
                <p:nvPr/>
              </p:nvSpPr>
              <p:spPr bwMode="auto">
                <a:xfrm>
                  <a:off x="2106" y="1840"/>
                  <a:ext cx="42" cy="64"/>
                </a:xfrm>
                <a:custGeom>
                  <a:gdLst>
                    <a:gd name="T0" fmla="*/ 6 w 23"/>
                    <a:gd name="T1" fmla="*/ 0 h 35"/>
                    <a:gd name="T2" fmla="*/ 1 w 23"/>
                    <a:gd name="T3" fmla="*/ 20 h 35"/>
                    <a:gd name="T4" fmla="*/ 1 w 23"/>
                    <a:gd name="T5" fmla="*/ 26 h 35"/>
                    <a:gd name="T6" fmla="*/ 8 w 23"/>
                    <a:gd name="T7" fmla="*/ 35 h 35"/>
                    <a:gd name="T8" fmla="*/ 23 w 23"/>
                    <a:gd name="T9" fmla="*/ 27 h 35"/>
                    <a:gd name="T10" fmla="*/ 6 w 23"/>
                    <a:gd name="T11" fmla="*/ 0 h 35"/>
                  </a:gdLst>
                  <a:cxnLst>
                    <a:cxn ang="0">
                      <a:pos x="T0" y="T1"/>
                    </a:cxn>
                    <a:cxn ang="0">
                      <a:pos x="T2" y="T3"/>
                    </a:cxn>
                    <a:cxn ang="0">
                      <a:pos x="T4" y="T5"/>
                    </a:cxn>
                    <a:cxn ang="0">
                      <a:pos x="T6" y="T7"/>
                    </a:cxn>
                    <a:cxn ang="0">
                      <a:pos x="T8" y="T9"/>
                    </a:cxn>
                    <a:cxn ang="0">
                      <a:pos x="T10" y="T11"/>
                    </a:cxn>
                  </a:cxnLst>
                  <a:rect l="0" t="0" r="r" b="b"/>
                  <a:pathLst>
                    <a:path w="23" h="35">
                      <a:moveTo>
                        <a:pt x="6" y="0"/>
                      </a:moveTo>
                      <a:cubicBezTo>
                        <a:pt x="6" y="0"/>
                        <a:pt x="2" y="12"/>
                        <a:pt x="1" y="20"/>
                      </a:cubicBezTo>
                      <a:cubicBezTo>
                        <a:pt x="1" y="22"/>
                        <a:pt x="0" y="24"/>
                        <a:pt x="1" y="26"/>
                      </a:cubicBezTo>
                      <a:cubicBezTo>
                        <a:pt x="1" y="31"/>
                        <a:pt x="3" y="35"/>
                        <a:pt x="8" y="35"/>
                      </a:cubicBezTo>
                      <a:cubicBezTo>
                        <a:pt x="16" y="35"/>
                        <a:pt x="23" y="27"/>
                        <a:pt x="23" y="27"/>
                      </a:cubicBezTo>
                      <a:cubicBezTo>
                        <a:pt x="23" y="27"/>
                        <a:pt x="13" y="5"/>
                        <a:pt x="6" y="0"/>
                      </a:cubicBezTo>
                      <a:close/>
                    </a:path>
                  </a:pathLst>
                </a:custGeom>
                <a:solidFill>
                  <a:srgbClr val="5653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37" name="Freeform 156">
                  <a:extLst>
                    <a:ext uri="{FF2B5EF4-FFF2-40B4-BE49-F238E27FC236}">
                      <a16:creationId xmlns:a16="http://schemas.microsoft.com/office/drawing/2014/main" id="{D3C77266-977C-4A29-307A-DEB469CDC76B}"/>
                    </a:ext>
                  </a:extLst>
                </p:cNvPr>
                <p:cNvSpPr/>
                <p:nvPr/>
              </p:nvSpPr>
              <p:spPr bwMode="auto">
                <a:xfrm>
                  <a:off x="2115" y="1885"/>
                  <a:ext cx="46" cy="57"/>
                </a:xfrm>
                <a:custGeom>
                  <a:gdLst>
                    <a:gd name="T0" fmla="*/ 25 w 25"/>
                    <a:gd name="T1" fmla="*/ 0 h 31"/>
                    <a:gd name="T2" fmla="*/ 19 w 25"/>
                    <a:gd name="T3" fmla="*/ 26 h 31"/>
                    <a:gd name="T4" fmla="*/ 3 w 25"/>
                    <a:gd name="T5" fmla="*/ 31 h 31"/>
                    <a:gd name="T6" fmla="*/ 0 w 25"/>
                    <a:gd name="T7" fmla="*/ 4 h 31"/>
                    <a:gd name="T8" fmla="*/ 25 w 25"/>
                    <a:gd name="T9" fmla="*/ 0 h 31"/>
                  </a:gdLst>
                  <a:cxnLst>
                    <a:cxn ang="0">
                      <a:pos x="T0" y="T1"/>
                    </a:cxn>
                    <a:cxn ang="0">
                      <a:pos x="T2" y="T3"/>
                    </a:cxn>
                    <a:cxn ang="0">
                      <a:pos x="T4" y="T5"/>
                    </a:cxn>
                    <a:cxn ang="0">
                      <a:pos x="T6" y="T7"/>
                    </a:cxn>
                    <a:cxn ang="0">
                      <a:pos x="T8" y="T9"/>
                    </a:cxn>
                  </a:cxnLst>
                  <a:rect l="0" t="0" r="r" b="b"/>
                  <a:pathLst>
                    <a:path w="25" h="31">
                      <a:moveTo>
                        <a:pt x="25" y="0"/>
                      </a:moveTo>
                      <a:cubicBezTo>
                        <a:pt x="25" y="0"/>
                        <a:pt x="23" y="22"/>
                        <a:pt x="19" y="26"/>
                      </a:cubicBezTo>
                      <a:cubicBezTo>
                        <a:pt x="16" y="31"/>
                        <a:pt x="6" y="31"/>
                        <a:pt x="3" y="31"/>
                      </a:cubicBezTo>
                      <a:cubicBezTo>
                        <a:pt x="0" y="30"/>
                        <a:pt x="0" y="4"/>
                        <a:pt x="0" y="4"/>
                      </a:cubicBezTo>
                      <a:lnTo>
                        <a:pt x="25" y="0"/>
                      </a:lnTo>
                      <a:close/>
                    </a:path>
                  </a:pathLst>
                </a:custGeom>
                <a:solidFill>
                  <a:srgbClr val="8C2A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38" name="Freeform 157">
                  <a:extLst>
                    <a:ext uri="{FF2B5EF4-FFF2-40B4-BE49-F238E27FC236}">
                      <a16:creationId xmlns:a16="http://schemas.microsoft.com/office/drawing/2014/main" id="{21D25DA4-D7D7-0F79-6EDC-55DEAD32F331}"/>
                    </a:ext>
                  </a:extLst>
                </p:cNvPr>
                <p:cNvSpPr/>
                <p:nvPr/>
              </p:nvSpPr>
              <p:spPr bwMode="auto">
                <a:xfrm>
                  <a:off x="2109" y="1924"/>
                  <a:ext cx="46" cy="56"/>
                </a:xfrm>
                <a:custGeom>
                  <a:gdLst>
                    <a:gd name="T0" fmla="*/ 24 w 25"/>
                    <a:gd name="T1" fmla="*/ 0 h 31"/>
                    <a:gd name="T2" fmla="*/ 21 w 25"/>
                    <a:gd name="T3" fmla="*/ 23 h 31"/>
                    <a:gd name="T4" fmla="*/ 11 w 25"/>
                    <a:gd name="T5" fmla="*/ 28 h 31"/>
                    <a:gd name="T6" fmla="*/ 2 w 25"/>
                    <a:gd name="T7" fmla="*/ 10 h 31"/>
                    <a:gd name="T8" fmla="*/ 24 w 25"/>
                    <a:gd name="T9" fmla="*/ 0 h 31"/>
                  </a:gdLst>
                  <a:cxnLst>
                    <a:cxn ang="0">
                      <a:pos x="T0" y="T1"/>
                    </a:cxn>
                    <a:cxn ang="0">
                      <a:pos x="T2" y="T3"/>
                    </a:cxn>
                    <a:cxn ang="0">
                      <a:pos x="T4" y="T5"/>
                    </a:cxn>
                    <a:cxn ang="0">
                      <a:pos x="T6" y="T7"/>
                    </a:cxn>
                    <a:cxn ang="0">
                      <a:pos x="T8" y="T9"/>
                    </a:cxn>
                  </a:cxnLst>
                  <a:rect l="0" t="0" r="r" b="b"/>
                  <a:pathLst>
                    <a:path w="25" h="31">
                      <a:moveTo>
                        <a:pt x="24" y="0"/>
                      </a:moveTo>
                      <a:cubicBezTo>
                        <a:pt x="24" y="0"/>
                        <a:pt x="25" y="18"/>
                        <a:pt x="21" y="23"/>
                      </a:cubicBezTo>
                      <a:cubicBezTo>
                        <a:pt x="16" y="29"/>
                        <a:pt x="15" y="31"/>
                        <a:pt x="11" y="28"/>
                      </a:cubicBezTo>
                      <a:cubicBezTo>
                        <a:pt x="7" y="25"/>
                        <a:pt x="4" y="19"/>
                        <a:pt x="2" y="10"/>
                      </a:cubicBezTo>
                      <a:cubicBezTo>
                        <a:pt x="0" y="1"/>
                        <a:pt x="24" y="0"/>
                        <a:pt x="24" y="0"/>
                      </a:cubicBezTo>
                      <a:close/>
                    </a:path>
                  </a:pathLst>
                </a:custGeom>
                <a:solidFill>
                  <a:srgbClr val="F7C3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39" name="Freeform 158">
                  <a:extLst>
                    <a:ext uri="{FF2B5EF4-FFF2-40B4-BE49-F238E27FC236}">
                      <a16:creationId xmlns:a16="http://schemas.microsoft.com/office/drawing/2014/main" id="{A012DA23-91F3-EDD8-D1E0-2126E15CA5F3}"/>
                    </a:ext>
                  </a:extLst>
                </p:cNvPr>
                <p:cNvSpPr/>
                <p:nvPr/>
              </p:nvSpPr>
              <p:spPr bwMode="auto">
                <a:xfrm>
                  <a:off x="2104" y="1878"/>
                  <a:ext cx="22" cy="73"/>
                </a:xfrm>
                <a:custGeom>
                  <a:gdLst>
                    <a:gd name="T0" fmla="*/ 11 w 12"/>
                    <a:gd name="T1" fmla="*/ 6 h 40"/>
                    <a:gd name="T2" fmla="*/ 11 w 12"/>
                    <a:gd name="T3" fmla="*/ 34 h 40"/>
                    <a:gd name="T4" fmla="*/ 6 w 12"/>
                    <a:gd name="T5" fmla="*/ 38 h 40"/>
                    <a:gd name="T6" fmla="*/ 2 w 12"/>
                    <a:gd name="T7" fmla="*/ 5 h 40"/>
                    <a:gd name="T8" fmla="*/ 11 w 12"/>
                    <a:gd name="T9" fmla="*/ 6 h 40"/>
                  </a:gdLst>
                  <a:cxnLst>
                    <a:cxn ang="0">
                      <a:pos x="T0" y="T1"/>
                    </a:cxn>
                    <a:cxn ang="0">
                      <a:pos x="T2" y="T3"/>
                    </a:cxn>
                    <a:cxn ang="0">
                      <a:pos x="T4" y="T5"/>
                    </a:cxn>
                    <a:cxn ang="0">
                      <a:pos x="T6" y="T7"/>
                    </a:cxn>
                    <a:cxn ang="0">
                      <a:pos x="T8" y="T9"/>
                    </a:cxn>
                  </a:cxnLst>
                  <a:rect l="0" t="0" r="r" b="b"/>
                  <a:pathLst>
                    <a:path w="12" h="40">
                      <a:moveTo>
                        <a:pt x="11" y="6"/>
                      </a:moveTo>
                      <a:cubicBezTo>
                        <a:pt x="11" y="6"/>
                        <a:pt x="12" y="28"/>
                        <a:pt x="11" y="34"/>
                      </a:cubicBezTo>
                      <a:cubicBezTo>
                        <a:pt x="9" y="40"/>
                        <a:pt x="8" y="40"/>
                        <a:pt x="6" y="38"/>
                      </a:cubicBezTo>
                      <a:cubicBezTo>
                        <a:pt x="4" y="36"/>
                        <a:pt x="0" y="9"/>
                        <a:pt x="2" y="5"/>
                      </a:cubicBezTo>
                      <a:cubicBezTo>
                        <a:pt x="3" y="0"/>
                        <a:pt x="11" y="6"/>
                        <a:pt x="11" y="6"/>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40" name="Freeform 159">
                  <a:extLst>
                    <a:ext uri="{FF2B5EF4-FFF2-40B4-BE49-F238E27FC236}">
                      <a16:creationId xmlns:a16="http://schemas.microsoft.com/office/drawing/2014/main" id="{192A3414-F1FD-77B4-103E-B4624EBE8555}"/>
                    </a:ext>
                  </a:extLst>
                </p:cNvPr>
                <p:cNvSpPr/>
                <p:nvPr/>
              </p:nvSpPr>
              <p:spPr bwMode="auto">
                <a:xfrm>
                  <a:off x="2113" y="1790"/>
                  <a:ext cx="13" cy="19"/>
                </a:xfrm>
                <a:custGeom>
                  <a:gdLst>
                    <a:gd name="T0" fmla="*/ 5 w 7"/>
                    <a:gd name="T1" fmla="*/ 6 h 10"/>
                    <a:gd name="T2" fmla="*/ 1 w 7"/>
                    <a:gd name="T3" fmla="*/ 10 h 10"/>
                    <a:gd name="T4" fmla="*/ 2 w 7"/>
                    <a:gd name="T5" fmla="*/ 4 h 10"/>
                    <a:gd name="T6" fmla="*/ 6 w 7"/>
                    <a:gd name="T7" fmla="*/ 0 h 10"/>
                    <a:gd name="T8" fmla="*/ 5 w 7"/>
                    <a:gd name="T9" fmla="*/ 6 h 10"/>
                  </a:gdLst>
                  <a:cxnLst>
                    <a:cxn ang="0">
                      <a:pos x="T0" y="T1"/>
                    </a:cxn>
                    <a:cxn ang="0">
                      <a:pos x="T2" y="T3"/>
                    </a:cxn>
                    <a:cxn ang="0">
                      <a:pos x="T4" y="T5"/>
                    </a:cxn>
                    <a:cxn ang="0">
                      <a:pos x="T6" y="T7"/>
                    </a:cxn>
                    <a:cxn ang="0">
                      <a:pos x="T8" y="T9"/>
                    </a:cxn>
                  </a:cxnLst>
                  <a:rect l="0" t="0" r="r" b="b"/>
                  <a:pathLst>
                    <a:path w="7" h="10">
                      <a:moveTo>
                        <a:pt x="5" y="6"/>
                      </a:moveTo>
                      <a:cubicBezTo>
                        <a:pt x="4" y="9"/>
                        <a:pt x="2" y="10"/>
                        <a:pt x="1" y="10"/>
                      </a:cubicBezTo>
                      <a:cubicBezTo>
                        <a:pt x="0" y="9"/>
                        <a:pt x="0" y="6"/>
                        <a:pt x="2" y="4"/>
                      </a:cubicBezTo>
                      <a:cubicBezTo>
                        <a:pt x="3" y="1"/>
                        <a:pt x="5" y="0"/>
                        <a:pt x="6" y="0"/>
                      </a:cubicBezTo>
                      <a:cubicBezTo>
                        <a:pt x="7" y="1"/>
                        <a:pt x="7" y="4"/>
                        <a:pt x="5"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41" name="Freeform 160">
                  <a:extLst>
                    <a:ext uri="{FF2B5EF4-FFF2-40B4-BE49-F238E27FC236}">
                      <a16:creationId xmlns:a16="http://schemas.microsoft.com/office/drawing/2014/main" id="{5DFD5E61-721B-BA65-8B22-E14CF7DE41BA}"/>
                    </a:ext>
                  </a:extLst>
                </p:cNvPr>
                <p:cNvSpPr/>
                <p:nvPr/>
              </p:nvSpPr>
              <p:spPr bwMode="auto">
                <a:xfrm>
                  <a:off x="2144" y="1801"/>
                  <a:ext cx="20" cy="13"/>
                </a:xfrm>
                <a:custGeom>
                  <a:gdLst>
                    <a:gd name="T0" fmla="*/ 7 w 11"/>
                    <a:gd name="T1" fmla="*/ 2 h 7"/>
                    <a:gd name="T2" fmla="*/ 10 w 11"/>
                    <a:gd name="T3" fmla="*/ 6 h 7"/>
                    <a:gd name="T4" fmla="*/ 4 w 11"/>
                    <a:gd name="T5" fmla="*/ 5 h 7"/>
                    <a:gd name="T6" fmla="*/ 1 w 11"/>
                    <a:gd name="T7" fmla="*/ 1 h 7"/>
                    <a:gd name="T8" fmla="*/ 7 w 11"/>
                    <a:gd name="T9" fmla="*/ 2 h 7"/>
                  </a:gdLst>
                  <a:cxnLst>
                    <a:cxn ang="0">
                      <a:pos x="T0" y="T1"/>
                    </a:cxn>
                    <a:cxn ang="0">
                      <a:pos x="T2" y="T3"/>
                    </a:cxn>
                    <a:cxn ang="0">
                      <a:pos x="T4" y="T5"/>
                    </a:cxn>
                    <a:cxn ang="0">
                      <a:pos x="T6" y="T7"/>
                    </a:cxn>
                    <a:cxn ang="0">
                      <a:pos x="T8" y="T9"/>
                    </a:cxn>
                  </a:cxnLst>
                  <a:rect l="0" t="0" r="r" b="b"/>
                  <a:pathLst>
                    <a:path w="11" h="7">
                      <a:moveTo>
                        <a:pt x="7" y="2"/>
                      </a:moveTo>
                      <a:cubicBezTo>
                        <a:pt x="9" y="3"/>
                        <a:pt x="11" y="5"/>
                        <a:pt x="10" y="6"/>
                      </a:cubicBezTo>
                      <a:cubicBezTo>
                        <a:pt x="10" y="7"/>
                        <a:pt x="7" y="7"/>
                        <a:pt x="4" y="5"/>
                      </a:cubicBezTo>
                      <a:cubicBezTo>
                        <a:pt x="2" y="4"/>
                        <a:pt x="0" y="2"/>
                        <a:pt x="1" y="1"/>
                      </a:cubicBezTo>
                      <a:cubicBezTo>
                        <a:pt x="1" y="0"/>
                        <a:pt x="4" y="0"/>
                        <a:pt x="7" y="2"/>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42" name="Freeform 161">
                  <a:extLst>
                    <a:ext uri="{FF2B5EF4-FFF2-40B4-BE49-F238E27FC236}">
                      <a16:creationId xmlns:a16="http://schemas.microsoft.com/office/drawing/2014/main" id="{03238F33-01DE-F14E-7D8F-3340A2EC2955}"/>
                    </a:ext>
                  </a:extLst>
                </p:cNvPr>
                <p:cNvSpPr/>
                <p:nvPr/>
              </p:nvSpPr>
              <p:spPr bwMode="auto">
                <a:xfrm>
                  <a:off x="2117" y="1986"/>
                  <a:ext cx="20" cy="11"/>
                </a:xfrm>
                <a:custGeom>
                  <a:gdLst>
                    <a:gd name="T0" fmla="*/ 4 w 11"/>
                    <a:gd name="T1" fmla="*/ 5 h 6"/>
                    <a:gd name="T2" fmla="*/ 0 w 11"/>
                    <a:gd name="T3" fmla="*/ 1 h 6"/>
                    <a:gd name="T4" fmla="*/ 6 w 11"/>
                    <a:gd name="T5" fmla="*/ 1 h 6"/>
                    <a:gd name="T6" fmla="*/ 10 w 11"/>
                    <a:gd name="T7" fmla="*/ 5 h 6"/>
                    <a:gd name="T8" fmla="*/ 4 w 11"/>
                    <a:gd name="T9" fmla="*/ 5 h 6"/>
                  </a:gdLst>
                  <a:cxnLst>
                    <a:cxn ang="0">
                      <a:pos x="T0" y="T1"/>
                    </a:cxn>
                    <a:cxn ang="0">
                      <a:pos x="T2" y="T3"/>
                    </a:cxn>
                    <a:cxn ang="0">
                      <a:pos x="T4" y="T5"/>
                    </a:cxn>
                    <a:cxn ang="0">
                      <a:pos x="T6" y="T7"/>
                    </a:cxn>
                    <a:cxn ang="0">
                      <a:pos x="T8" y="T9"/>
                    </a:cxn>
                  </a:cxnLst>
                  <a:rect l="0" t="0" r="r" b="b"/>
                  <a:pathLst>
                    <a:path w="11" h="6">
                      <a:moveTo>
                        <a:pt x="4" y="5"/>
                      </a:moveTo>
                      <a:cubicBezTo>
                        <a:pt x="1" y="4"/>
                        <a:pt x="0" y="3"/>
                        <a:pt x="0" y="1"/>
                      </a:cubicBezTo>
                      <a:cubicBezTo>
                        <a:pt x="0" y="0"/>
                        <a:pt x="3" y="0"/>
                        <a:pt x="6" y="1"/>
                      </a:cubicBezTo>
                      <a:cubicBezTo>
                        <a:pt x="9" y="2"/>
                        <a:pt x="11" y="4"/>
                        <a:pt x="10" y="5"/>
                      </a:cubicBezTo>
                      <a:cubicBezTo>
                        <a:pt x="10" y="6"/>
                        <a:pt x="7" y="6"/>
                        <a:pt x="4" y="5"/>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43" name="Freeform 162">
                  <a:extLst>
                    <a:ext uri="{FF2B5EF4-FFF2-40B4-BE49-F238E27FC236}">
                      <a16:creationId xmlns:a16="http://schemas.microsoft.com/office/drawing/2014/main" id="{5F377C08-2351-C949-3ADC-E1A0751C5B27}"/>
                    </a:ext>
                  </a:extLst>
                </p:cNvPr>
                <p:cNvSpPr/>
                <p:nvPr/>
              </p:nvSpPr>
              <p:spPr bwMode="auto">
                <a:xfrm>
                  <a:off x="2128" y="1778"/>
                  <a:ext cx="20" cy="12"/>
                </a:xfrm>
                <a:custGeom>
                  <a:gdLst>
                    <a:gd name="T0" fmla="*/ 7 w 11"/>
                    <a:gd name="T1" fmla="*/ 1 h 7"/>
                    <a:gd name="T2" fmla="*/ 11 w 11"/>
                    <a:gd name="T3" fmla="*/ 5 h 7"/>
                    <a:gd name="T4" fmla="*/ 5 w 11"/>
                    <a:gd name="T5" fmla="*/ 6 h 7"/>
                    <a:gd name="T6" fmla="*/ 1 w 11"/>
                    <a:gd name="T7" fmla="*/ 2 h 7"/>
                    <a:gd name="T8" fmla="*/ 7 w 11"/>
                    <a:gd name="T9" fmla="*/ 1 h 7"/>
                  </a:gdLst>
                  <a:cxnLst>
                    <a:cxn ang="0">
                      <a:pos x="T0" y="T1"/>
                    </a:cxn>
                    <a:cxn ang="0">
                      <a:pos x="T2" y="T3"/>
                    </a:cxn>
                    <a:cxn ang="0">
                      <a:pos x="T4" y="T5"/>
                    </a:cxn>
                    <a:cxn ang="0">
                      <a:pos x="T6" y="T7"/>
                    </a:cxn>
                    <a:cxn ang="0">
                      <a:pos x="T8" y="T9"/>
                    </a:cxn>
                  </a:cxnLst>
                  <a:rect l="0" t="0" r="r" b="b"/>
                  <a:pathLst>
                    <a:path w="11" h="7">
                      <a:moveTo>
                        <a:pt x="7" y="1"/>
                      </a:moveTo>
                      <a:cubicBezTo>
                        <a:pt x="9" y="2"/>
                        <a:pt x="11" y="4"/>
                        <a:pt x="11" y="5"/>
                      </a:cubicBezTo>
                      <a:cubicBezTo>
                        <a:pt x="11" y="6"/>
                        <a:pt x="8" y="7"/>
                        <a:pt x="5" y="6"/>
                      </a:cubicBezTo>
                      <a:cubicBezTo>
                        <a:pt x="2" y="5"/>
                        <a:pt x="0" y="3"/>
                        <a:pt x="1" y="2"/>
                      </a:cubicBezTo>
                      <a:cubicBezTo>
                        <a:pt x="1" y="1"/>
                        <a:pt x="4" y="0"/>
                        <a:pt x="7" y="1"/>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44" name="Freeform 163">
                  <a:extLst>
                    <a:ext uri="{FF2B5EF4-FFF2-40B4-BE49-F238E27FC236}">
                      <a16:creationId xmlns:a16="http://schemas.microsoft.com/office/drawing/2014/main" id="{5DF65CE4-970A-9F37-D602-E75F7ED2EB4E}"/>
                    </a:ext>
                  </a:extLst>
                </p:cNvPr>
                <p:cNvSpPr/>
                <p:nvPr/>
              </p:nvSpPr>
              <p:spPr bwMode="auto">
                <a:xfrm>
                  <a:off x="2141" y="1977"/>
                  <a:ext cx="16" cy="18"/>
                </a:xfrm>
                <a:custGeom>
                  <a:gdLst>
                    <a:gd name="T0" fmla="*/ 3 w 9"/>
                    <a:gd name="T1" fmla="*/ 4 h 10"/>
                    <a:gd name="T2" fmla="*/ 8 w 9"/>
                    <a:gd name="T3" fmla="*/ 1 h 10"/>
                    <a:gd name="T4" fmla="*/ 6 w 9"/>
                    <a:gd name="T5" fmla="*/ 7 h 10"/>
                    <a:gd name="T6" fmla="*/ 1 w 9"/>
                    <a:gd name="T7" fmla="*/ 9 h 10"/>
                    <a:gd name="T8" fmla="*/ 3 w 9"/>
                    <a:gd name="T9" fmla="*/ 4 h 10"/>
                  </a:gdLst>
                  <a:cxnLst>
                    <a:cxn ang="0">
                      <a:pos x="T0" y="T1"/>
                    </a:cxn>
                    <a:cxn ang="0">
                      <a:pos x="T2" y="T3"/>
                    </a:cxn>
                    <a:cxn ang="0">
                      <a:pos x="T4" y="T5"/>
                    </a:cxn>
                    <a:cxn ang="0">
                      <a:pos x="T6" y="T7"/>
                    </a:cxn>
                    <a:cxn ang="0">
                      <a:pos x="T8" y="T9"/>
                    </a:cxn>
                  </a:cxnLst>
                  <a:rect l="0" t="0" r="r" b="b"/>
                  <a:pathLst>
                    <a:path w="9" h="10">
                      <a:moveTo>
                        <a:pt x="3" y="4"/>
                      </a:moveTo>
                      <a:cubicBezTo>
                        <a:pt x="5" y="1"/>
                        <a:pt x="8" y="0"/>
                        <a:pt x="8" y="1"/>
                      </a:cubicBezTo>
                      <a:cubicBezTo>
                        <a:pt x="9" y="2"/>
                        <a:pt x="8" y="5"/>
                        <a:pt x="6" y="7"/>
                      </a:cubicBezTo>
                      <a:cubicBezTo>
                        <a:pt x="4" y="9"/>
                        <a:pt x="2" y="10"/>
                        <a:pt x="1" y="9"/>
                      </a:cubicBezTo>
                      <a:cubicBezTo>
                        <a:pt x="0" y="8"/>
                        <a:pt x="1" y="6"/>
                        <a:pt x="3" y="4"/>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45" name="Freeform 164">
                  <a:extLst>
                    <a:ext uri="{FF2B5EF4-FFF2-40B4-BE49-F238E27FC236}">
                      <a16:creationId xmlns:a16="http://schemas.microsoft.com/office/drawing/2014/main" id="{6D5CB198-37DE-43E7-533E-BF17D2121802}"/>
                    </a:ext>
                  </a:extLst>
                </p:cNvPr>
                <p:cNvSpPr/>
                <p:nvPr/>
              </p:nvSpPr>
              <p:spPr bwMode="auto">
                <a:xfrm>
                  <a:off x="2155" y="1947"/>
                  <a:ext cx="9" cy="20"/>
                </a:xfrm>
                <a:custGeom>
                  <a:gdLst>
                    <a:gd name="T0" fmla="*/ 0 w 5"/>
                    <a:gd name="T1" fmla="*/ 6 h 11"/>
                    <a:gd name="T2" fmla="*/ 2 w 5"/>
                    <a:gd name="T3" fmla="*/ 0 h 11"/>
                    <a:gd name="T4" fmla="*/ 5 w 5"/>
                    <a:gd name="T5" fmla="*/ 5 h 11"/>
                    <a:gd name="T6" fmla="*/ 3 w 5"/>
                    <a:gd name="T7" fmla="*/ 11 h 11"/>
                    <a:gd name="T8" fmla="*/ 0 w 5"/>
                    <a:gd name="T9" fmla="*/ 6 h 11"/>
                  </a:gdLst>
                  <a:cxnLst>
                    <a:cxn ang="0">
                      <a:pos x="T0" y="T1"/>
                    </a:cxn>
                    <a:cxn ang="0">
                      <a:pos x="T2" y="T3"/>
                    </a:cxn>
                    <a:cxn ang="0">
                      <a:pos x="T4" y="T5"/>
                    </a:cxn>
                    <a:cxn ang="0">
                      <a:pos x="T6" y="T7"/>
                    </a:cxn>
                    <a:cxn ang="0">
                      <a:pos x="T8" y="T9"/>
                    </a:cxn>
                  </a:cxnLst>
                  <a:rect l="0" t="0" r="r" b="b"/>
                  <a:pathLst>
                    <a:path w="5" h="11">
                      <a:moveTo>
                        <a:pt x="0" y="6"/>
                      </a:moveTo>
                      <a:cubicBezTo>
                        <a:pt x="0" y="3"/>
                        <a:pt x="1" y="0"/>
                        <a:pt x="2" y="0"/>
                      </a:cubicBezTo>
                      <a:cubicBezTo>
                        <a:pt x="3" y="0"/>
                        <a:pt x="4" y="2"/>
                        <a:pt x="5" y="5"/>
                      </a:cubicBezTo>
                      <a:cubicBezTo>
                        <a:pt x="5" y="8"/>
                        <a:pt x="4" y="11"/>
                        <a:pt x="3" y="11"/>
                      </a:cubicBezTo>
                      <a:cubicBezTo>
                        <a:pt x="2" y="11"/>
                        <a:pt x="1" y="9"/>
                        <a:pt x="0"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46" name="Freeform 165">
                  <a:extLst>
                    <a:ext uri="{FF2B5EF4-FFF2-40B4-BE49-F238E27FC236}">
                      <a16:creationId xmlns:a16="http://schemas.microsoft.com/office/drawing/2014/main" id="{46032C87-E2DE-9EC4-9A0E-CC4940E69956}"/>
                    </a:ext>
                  </a:extLst>
                </p:cNvPr>
                <p:cNvSpPr/>
                <p:nvPr/>
              </p:nvSpPr>
              <p:spPr bwMode="auto">
                <a:xfrm>
                  <a:off x="2099" y="1821"/>
                  <a:ext cx="20" cy="11"/>
                </a:xfrm>
                <a:custGeom>
                  <a:gdLst>
                    <a:gd name="T0" fmla="*/ 7 w 11"/>
                    <a:gd name="T1" fmla="*/ 1 h 6"/>
                    <a:gd name="T2" fmla="*/ 11 w 11"/>
                    <a:gd name="T3" fmla="*/ 5 h 6"/>
                    <a:gd name="T4" fmla="*/ 5 w 11"/>
                    <a:gd name="T5" fmla="*/ 5 h 6"/>
                    <a:gd name="T6" fmla="*/ 1 w 11"/>
                    <a:gd name="T7" fmla="*/ 1 h 6"/>
                    <a:gd name="T8" fmla="*/ 7 w 11"/>
                    <a:gd name="T9" fmla="*/ 1 h 6"/>
                  </a:gdLst>
                  <a:cxnLst>
                    <a:cxn ang="0">
                      <a:pos x="T0" y="T1"/>
                    </a:cxn>
                    <a:cxn ang="0">
                      <a:pos x="T2" y="T3"/>
                    </a:cxn>
                    <a:cxn ang="0">
                      <a:pos x="T4" y="T5"/>
                    </a:cxn>
                    <a:cxn ang="0">
                      <a:pos x="T6" y="T7"/>
                    </a:cxn>
                    <a:cxn ang="0">
                      <a:pos x="T8" y="T9"/>
                    </a:cxn>
                  </a:cxnLst>
                  <a:rect l="0" t="0" r="r" b="b"/>
                  <a:pathLst>
                    <a:path w="11" h="6">
                      <a:moveTo>
                        <a:pt x="7" y="1"/>
                      </a:moveTo>
                      <a:cubicBezTo>
                        <a:pt x="9" y="2"/>
                        <a:pt x="11" y="4"/>
                        <a:pt x="11" y="5"/>
                      </a:cubicBezTo>
                      <a:cubicBezTo>
                        <a:pt x="11" y="6"/>
                        <a:pt x="8" y="6"/>
                        <a:pt x="5" y="5"/>
                      </a:cubicBezTo>
                      <a:cubicBezTo>
                        <a:pt x="2" y="4"/>
                        <a:pt x="0" y="2"/>
                        <a:pt x="1" y="1"/>
                      </a:cubicBezTo>
                      <a:cubicBezTo>
                        <a:pt x="1" y="0"/>
                        <a:pt x="4" y="0"/>
                        <a:pt x="7" y="1"/>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47" name="Freeform 166">
                  <a:extLst>
                    <a:ext uri="{FF2B5EF4-FFF2-40B4-BE49-F238E27FC236}">
                      <a16:creationId xmlns:a16="http://schemas.microsoft.com/office/drawing/2014/main" id="{EE9F315C-CE87-B1A8-8976-0960850506C0}"/>
                    </a:ext>
                  </a:extLst>
                </p:cNvPr>
                <p:cNvSpPr/>
                <p:nvPr/>
              </p:nvSpPr>
              <p:spPr bwMode="auto">
                <a:xfrm>
                  <a:off x="2095" y="1845"/>
                  <a:ext cx="9" cy="20"/>
                </a:xfrm>
                <a:custGeom>
                  <a:gdLst>
                    <a:gd name="T0" fmla="*/ 5 w 5"/>
                    <a:gd name="T1" fmla="*/ 6 h 11"/>
                    <a:gd name="T2" fmla="*/ 2 w 5"/>
                    <a:gd name="T3" fmla="*/ 11 h 11"/>
                    <a:gd name="T4" fmla="*/ 0 w 5"/>
                    <a:gd name="T5" fmla="*/ 5 h 11"/>
                    <a:gd name="T6" fmla="*/ 3 w 5"/>
                    <a:gd name="T7" fmla="*/ 0 h 11"/>
                    <a:gd name="T8" fmla="*/ 5 w 5"/>
                    <a:gd name="T9" fmla="*/ 6 h 11"/>
                  </a:gdLst>
                  <a:cxnLst>
                    <a:cxn ang="0">
                      <a:pos x="T0" y="T1"/>
                    </a:cxn>
                    <a:cxn ang="0">
                      <a:pos x="T2" y="T3"/>
                    </a:cxn>
                    <a:cxn ang="0">
                      <a:pos x="T4" y="T5"/>
                    </a:cxn>
                    <a:cxn ang="0">
                      <a:pos x="T6" y="T7"/>
                    </a:cxn>
                    <a:cxn ang="0">
                      <a:pos x="T8" y="T9"/>
                    </a:cxn>
                  </a:cxnLst>
                  <a:rect l="0" t="0" r="r" b="b"/>
                  <a:pathLst>
                    <a:path w="5" h="11">
                      <a:moveTo>
                        <a:pt x="5" y="6"/>
                      </a:moveTo>
                      <a:cubicBezTo>
                        <a:pt x="4" y="9"/>
                        <a:pt x="3" y="11"/>
                        <a:pt x="2" y="11"/>
                      </a:cubicBezTo>
                      <a:cubicBezTo>
                        <a:pt x="1" y="11"/>
                        <a:pt x="0" y="8"/>
                        <a:pt x="0" y="5"/>
                      </a:cubicBezTo>
                      <a:cubicBezTo>
                        <a:pt x="1" y="2"/>
                        <a:pt x="2" y="0"/>
                        <a:pt x="3" y="0"/>
                      </a:cubicBezTo>
                      <a:cubicBezTo>
                        <a:pt x="4" y="0"/>
                        <a:pt x="5" y="3"/>
                        <a:pt x="5"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48" name="Freeform 167">
                  <a:extLst>
                    <a:ext uri="{FF2B5EF4-FFF2-40B4-BE49-F238E27FC236}">
                      <a16:creationId xmlns:a16="http://schemas.microsoft.com/office/drawing/2014/main" id="{901BAD8C-E4F8-90DE-C232-5F4B825830AB}"/>
                    </a:ext>
                  </a:extLst>
                </p:cNvPr>
                <p:cNvSpPr/>
                <p:nvPr/>
              </p:nvSpPr>
              <p:spPr bwMode="auto">
                <a:xfrm>
                  <a:off x="2166" y="1876"/>
                  <a:ext cx="9" cy="20"/>
                </a:xfrm>
                <a:custGeom>
                  <a:gdLst>
                    <a:gd name="T0" fmla="*/ 4 w 5"/>
                    <a:gd name="T1" fmla="*/ 6 h 11"/>
                    <a:gd name="T2" fmla="*/ 1 w 5"/>
                    <a:gd name="T3" fmla="*/ 11 h 11"/>
                    <a:gd name="T4" fmla="*/ 0 w 5"/>
                    <a:gd name="T5" fmla="*/ 5 h 11"/>
                    <a:gd name="T6" fmla="*/ 3 w 5"/>
                    <a:gd name="T7" fmla="*/ 0 h 11"/>
                    <a:gd name="T8" fmla="*/ 4 w 5"/>
                    <a:gd name="T9" fmla="*/ 6 h 11"/>
                  </a:gdLst>
                  <a:cxnLst>
                    <a:cxn ang="0">
                      <a:pos x="T0" y="T1"/>
                    </a:cxn>
                    <a:cxn ang="0">
                      <a:pos x="T2" y="T3"/>
                    </a:cxn>
                    <a:cxn ang="0">
                      <a:pos x="T4" y="T5"/>
                    </a:cxn>
                    <a:cxn ang="0">
                      <a:pos x="T6" y="T7"/>
                    </a:cxn>
                    <a:cxn ang="0">
                      <a:pos x="T8" y="T9"/>
                    </a:cxn>
                  </a:cxnLst>
                  <a:rect l="0" t="0" r="r" b="b"/>
                  <a:pathLst>
                    <a:path w="5" h="11">
                      <a:moveTo>
                        <a:pt x="4" y="6"/>
                      </a:moveTo>
                      <a:cubicBezTo>
                        <a:pt x="4" y="9"/>
                        <a:pt x="3" y="11"/>
                        <a:pt x="1" y="11"/>
                      </a:cubicBezTo>
                      <a:cubicBezTo>
                        <a:pt x="0" y="11"/>
                        <a:pt x="0" y="8"/>
                        <a:pt x="0" y="5"/>
                      </a:cubicBezTo>
                      <a:cubicBezTo>
                        <a:pt x="0" y="2"/>
                        <a:pt x="2" y="0"/>
                        <a:pt x="3" y="0"/>
                      </a:cubicBezTo>
                      <a:cubicBezTo>
                        <a:pt x="4" y="0"/>
                        <a:pt x="5" y="3"/>
                        <a:pt x="4"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49" name="Freeform 168">
                  <a:extLst>
                    <a:ext uri="{FF2B5EF4-FFF2-40B4-BE49-F238E27FC236}">
                      <a16:creationId xmlns:a16="http://schemas.microsoft.com/office/drawing/2014/main" id="{A54F8ED0-5F34-11A0-FDA6-B0E7E5ED6536}"/>
                    </a:ext>
                  </a:extLst>
                </p:cNvPr>
                <p:cNvSpPr/>
                <p:nvPr/>
              </p:nvSpPr>
              <p:spPr bwMode="auto">
                <a:xfrm>
                  <a:off x="2162" y="1829"/>
                  <a:ext cx="11" cy="20"/>
                </a:xfrm>
                <a:custGeom>
                  <a:gdLst>
                    <a:gd name="T0" fmla="*/ 5 w 6"/>
                    <a:gd name="T1" fmla="*/ 5 h 11"/>
                    <a:gd name="T2" fmla="*/ 4 w 6"/>
                    <a:gd name="T3" fmla="*/ 11 h 11"/>
                    <a:gd name="T4" fmla="*/ 1 w 6"/>
                    <a:gd name="T5" fmla="*/ 6 h 11"/>
                    <a:gd name="T6" fmla="*/ 1 w 6"/>
                    <a:gd name="T7" fmla="*/ 1 h 11"/>
                    <a:gd name="T8" fmla="*/ 5 w 6"/>
                    <a:gd name="T9" fmla="*/ 5 h 11"/>
                  </a:gdLst>
                  <a:cxnLst>
                    <a:cxn ang="0">
                      <a:pos x="T0" y="T1"/>
                    </a:cxn>
                    <a:cxn ang="0">
                      <a:pos x="T2" y="T3"/>
                    </a:cxn>
                    <a:cxn ang="0">
                      <a:pos x="T4" y="T5"/>
                    </a:cxn>
                    <a:cxn ang="0">
                      <a:pos x="T6" y="T7"/>
                    </a:cxn>
                    <a:cxn ang="0">
                      <a:pos x="T8" y="T9"/>
                    </a:cxn>
                  </a:cxnLst>
                  <a:rect l="0" t="0" r="r" b="b"/>
                  <a:pathLst>
                    <a:path w="6" h="11">
                      <a:moveTo>
                        <a:pt x="5" y="5"/>
                      </a:moveTo>
                      <a:cubicBezTo>
                        <a:pt x="6" y="8"/>
                        <a:pt x="6" y="10"/>
                        <a:pt x="4" y="11"/>
                      </a:cubicBezTo>
                      <a:cubicBezTo>
                        <a:pt x="3" y="11"/>
                        <a:pt x="1" y="9"/>
                        <a:pt x="1" y="6"/>
                      </a:cubicBezTo>
                      <a:cubicBezTo>
                        <a:pt x="0" y="4"/>
                        <a:pt x="0" y="1"/>
                        <a:pt x="1" y="1"/>
                      </a:cubicBezTo>
                      <a:cubicBezTo>
                        <a:pt x="2" y="0"/>
                        <a:pt x="4" y="2"/>
                        <a:pt x="5" y="5"/>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50" name="Freeform 169">
                  <a:extLst>
                    <a:ext uri="{FF2B5EF4-FFF2-40B4-BE49-F238E27FC236}">
                      <a16:creationId xmlns:a16="http://schemas.microsoft.com/office/drawing/2014/main" id="{387A45EF-193F-33F2-5D91-5CAAAB1DAAC1}"/>
                    </a:ext>
                  </a:extLst>
                </p:cNvPr>
                <p:cNvSpPr/>
                <p:nvPr/>
              </p:nvSpPr>
              <p:spPr bwMode="auto">
                <a:xfrm>
                  <a:off x="2095" y="1918"/>
                  <a:ext cx="11" cy="20"/>
                </a:xfrm>
                <a:custGeom>
                  <a:gdLst>
                    <a:gd name="T0" fmla="*/ 5 w 6"/>
                    <a:gd name="T1" fmla="*/ 6 h 11"/>
                    <a:gd name="T2" fmla="*/ 2 w 6"/>
                    <a:gd name="T3" fmla="*/ 11 h 11"/>
                    <a:gd name="T4" fmla="*/ 1 w 6"/>
                    <a:gd name="T5" fmla="*/ 5 h 11"/>
                    <a:gd name="T6" fmla="*/ 4 w 6"/>
                    <a:gd name="T7" fmla="*/ 0 h 11"/>
                    <a:gd name="T8" fmla="*/ 5 w 6"/>
                    <a:gd name="T9" fmla="*/ 6 h 11"/>
                  </a:gdLst>
                  <a:cxnLst>
                    <a:cxn ang="0">
                      <a:pos x="T0" y="T1"/>
                    </a:cxn>
                    <a:cxn ang="0">
                      <a:pos x="T2" y="T3"/>
                    </a:cxn>
                    <a:cxn ang="0">
                      <a:pos x="T4" y="T5"/>
                    </a:cxn>
                    <a:cxn ang="0">
                      <a:pos x="T6" y="T7"/>
                    </a:cxn>
                    <a:cxn ang="0">
                      <a:pos x="T8" y="T9"/>
                    </a:cxn>
                  </a:cxnLst>
                  <a:rect l="0" t="0" r="r" b="b"/>
                  <a:pathLst>
                    <a:path w="6" h="11">
                      <a:moveTo>
                        <a:pt x="5" y="6"/>
                      </a:moveTo>
                      <a:cubicBezTo>
                        <a:pt x="5" y="9"/>
                        <a:pt x="4" y="11"/>
                        <a:pt x="2" y="11"/>
                      </a:cubicBezTo>
                      <a:cubicBezTo>
                        <a:pt x="1" y="11"/>
                        <a:pt x="0" y="8"/>
                        <a:pt x="1" y="5"/>
                      </a:cubicBezTo>
                      <a:cubicBezTo>
                        <a:pt x="1" y="2"/>
                        <a:pt x="2" y="0"/>
                        <a:pt x="4" y="0"/>
                      </a:cubicBezTo>
                      <a:cubicBezTo>
                        <a:pt x="5" y="0"/>
                        <a:pt x="6" y="3"/>
                        <a:pt x="5"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51" name="Freeform 170">
                  <a:extLst>
                    <a:ext uri="{FF2B5EF4-FFF2-40B4-BE49-F238E27FC236}">
                      <a16:creationId xmlns:a16="http://schemas.microsoft.com/office/drawing/2014/main" id="{4F47D026-1B2B-42D1-04B6-03963890B64A}"/>
                    </a:ext>
                  </a:extLst>
                </p:cNvPr>
                <p:cNvSpPr/>
                <p:nvPr/>
              </p:nvSpPr>
              <p:spPr bwMode="auto">
                <a:xfrm>
                  <a:off x="2157" y="1918"/>
                  <a:ext cx="18" cy="17"/>
                </a:xfrm>
                <a:custGeom>
                  <a:gdLst>
                    <a:gd name="T0" fmla="*/ 7 w 10"/>
                    <a:gd name="T1" fmla="*/ 6 h 9"/>
                    <a:gd name="T2" fmla="*/ 1 w 10"/>
                    <a:gd name="T3" fmla="*/ 8 h 9"/>
                    <a:gd name="T4" fmla="*/ 4 w 10"/>
                    <a:gd name="T5" fmla="*/ 3 h 9"/>
                    <a:gd name="T6" fmla="*/ 9 w 10"/>
                    <a:gd name="T7" fmla="*/ 1 h 9"/>
                    <a:gd name="T8" fmla="*/ 7 w 10"/>
                    <a:gd name="T9" fmla="*/ 6 h 9"/>
                  </a:gdLst>
                  <a:cxnLst>
                    <a:cxn ang="0">
                      <a:pos x="T0" y="T1"/>
                    </a:cxn>
                    <a:cxn ang="0">
                      <a:pos x="T2" y="T3"/>
                    </a:cxn>
                    <a:cxn ang="0">
                      <a:pos x="T4" y="T5"/>
                    </a:cxn>
                    <a:cxn ang="0">
                      <a:pos x="T6" y="T7"/>
                    </a:cxn>
                    <a:cxn ang="0">
                      <a:pos x="T8" y="T9"/>
                    </a:cxn>
                  </a:cxnLst>
                  <a:rect l="0" t="0" r="r" b="b"/>
                  <a:pathLst>
                    <a:path w="10" h="9">
                      <a:moveTo>
                        <a:pt x="7" y="6"/>
                      </a:moveTo>
                      <a:cubicBezTo>
                        <a:pt x="5" y="8"/>
                        <a:pt x="2" y="9"/>
                        <a:pt x="1" y="8"/>
                      </a:cubicBezTo>
                      <a:cubicBezTo>
                        <a:pt x="0" y="7"/>
                        <a:pt x="2" y="5"/>
                        <a:pt x="4" y="3"/>
                      </a:cubicBezTo>
                      <a:cubicBezTo>
                        <a:pt x="6" y="1"/>
                        <a:pt x="9" y="0"/>
                        <a:pt x="9" y="1"/>
                      </a:cubicBezTo>
                      <a:cubicBezTo>
                        <a:pt x="10" y="2"/>
                        <a:pt x="9" y="4"/>
                        <a:pt x="7"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52" name="Freeform 171">
                  <a:extLst>
                    <a:ext uri="{FF2B5EF4-FFF2-40B4-BE49-F238E27FC236}">
                      <a16:creationId xmlns:a16="http://schemas.microsoft.com/office/drawing/2014/main" id="{F3B96995-5155-57E7-060E-643509F4466D}"/>
                    </a:ext>
                  </a:extLst>
                </p:cNvPr>
                <p:cNvSpPr/>
                <p:nvPr/>
              </p:nvSpPr>
              <p:spPr bwMode="auto">
                <a:xfrm>
                  <a:off x="2091" y="1882"/>
                  <a:ext cx="11" cy="20"/>
                </a:xfrm>
                <a:custGeom>
                  <a:gdLst>
                    <a:gd name="T0" fmla="*/ 5 w 6"/>
                    <a:gd name="T1" fmla="*/ 5 h 11"/>
                    <a:gd name="T2" fmla="*/ 5 w 6"/>
                    <a:gd name="T3" fmla="*/ 11 h 11"/>
                    <a:gd name="T4" fmla="*/ 1 w 6"/>
                    <a:gd name="T5" fmla="*/ 6 h 11"/>
                    <a:gd name="T6" fmla="*/ 2 w 6"/>
                    <a:gd name="T7" fmla="*/ 1 h 11"/>
                    <a:gd name="T8" fmla="*/ 5 w 6"/>
                    <a:gd name="T9" fmla="*/ 5 h 11"/>
                  </a:gdLst>
                  <a:cxnLst>
                    <a:cxn ang="0">
                      <a:pos x="T0" y="T1"/>
                    </a:cxn>
                    <a:cxn ang="0">
                      <a:pos x="T2" y="T3"/>
                    </a:cxn>
                    <a:cxn ang="0">
                      <a:pos x="T4" y="T5"/>
                    </a:cxn>
                    <a:cxn ang="0">
                      <a:pos x="T6" y="T7"/>
                    </a:cxn>
                    <a:cxn ang="0">
                      <a:pos x="T8" y="T9"/>
                    </a:cxn>
                  </a:cxnLst>
                  <a:rect l="0" t="0" r="r" b="b"/>
                  <a:pathLst>
                    <a:path w="6" h="11">
                      <a:moveTo>
                        <a:pt x="5" y="5"/>
                      </a:moveTo>
                      <a:cubicBezTo>
                        <a:pt x="6" y="8"/>
                        <a:pt x="6" y="10"/>
                        <a:pt x="5" y="11"/>
                      </a:cubicBezTo>
                      <a:cubicBezTo>
                        <a:pt x="4" y="11"/>
                        <a:pt x="2" y="9"/>
                        <a:pt x="1" y="6"/>
                      </a:cubicBezTo>
                      <a:cubicBezTo>
                        <a:pt x="0" y="4"/>
                        <a:pt x="0" y="1"/>
                        <a:pt x="2" y="1"/>
                      </a:cubicBezTo>
                      <a:cubicBezTo>
                        <a:pt x="3" y="0"/>
                        <a:pt x="4" y="2"/>
                        <a:pt x="5" y="5"/>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53" name="Freeform 172">
                  <a:extLst>
                    <a:ext uri="{FF2B5EF4-FFF2-40B4-BE49-F238E27FC236}">
                      <a16:creationId xmlns:a16="http://schemas.microsoft.com/office/drawing/2014/main" id="{8A071177-CFC6-20FC-A94D-7BE0B460C39F}"/>
                    </a:ext>
                  </a:extLst>
                </p:cNvPr>
                <p:cNvSpPr/>
                <p:nvPr/>
              </p:nvSpPr>
              <p:spPr bwMode="auto">
                <a:xfrm>
                  <a:off x="2100" y="1951"/>
                  <a:ext cx="11" cy="20"/>
                </a:xfrm>
                <a:custGeom>
                  <a:gdLst>
                    <a:gd name="T0" fmla="*/ 5 w 6"/>
                    <a:gd name="T1" fmla="*/ 5 h 11"/>
                    <a:gd name="T2" fmla="*/ 5 w 6"/>
                    <a:gd name="T3" fmla="*/ 11 h 11"/>
                    <a:gd name="T4" fmla="*/ 1 w 6"/>
                    <a:gd name="T5" fmla="*/ 6 h 11"/>
                    <a:gd name="T6" fmla="*/ 1 w 6"/>
                    <a:gd name="T7" fmla="*/ 0 h 11"/>
                    <a:gd name="T8" fmla="*/ 5 w 6"/>
                    <a:gd name="T9" fmla="*/ 5 h 11"/>
                  </a:gdLst>
                  <a:cxnLst>
                    <a:cxn ang="0">
                      <a:pos x="T0" y="T1"/>
                    </a:cxn>
                    <a:cxn ang="0">
                      <a:pos x="T2" y="T3"/>
                    </a:cxn>
                    <a:cxn ang="0">
                      <a:pos x="T4" y="T5"/>
                    </a:cxn>
                    <a:cxn ang="0">
                      <a:pos x="T6" y="T7"/>
                    </a:cxn>
                    <a:cxn ang="0">
                      <a:pos x="T8" y="T9"/>
                    </a:cxn>
                  </a:cxnLst>
                  <a:rect l="0" t="0" r="r" b="b"/>
                  <a:pathLst>
                    <a:path w="6" h="11">
                      <a:moveTo>
                        <a:pt x="5" y="5"/>
                      </a:moveTo>
                      <a:cubicBezTo>
                        <a:pt x="6" y="8"/>
                        <a:pt x="6" y="10"/>
                        <a:pt x="5" y="11"/>
                      </a:cubicBezTo>
                      <a:cubicBezTo>
                        <a:pt x="4" y="11"/>
                        <a:pt x="2" y="9"/>
                        <a:pt x="1" y="6"/>
                      </a:cubicBezTo>
                      <a:cubicBezTo>
                        <a:pt x="0" y="3"/>
                        <a:pt x="0" y="1"/>
                        <a:pt x="1" y="0"/>
                      </a:cubicBezTo>
                      <a:cubicBezTo>
                        <a:pt x="3" y="0"/>
                        <a:pt x="4" y="2"/>
                        <a:pt x="5" y="5"/>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54" name="Freeform 173">
                  <a:extLst>
                    <a:ext uri="{FF2B5EF4-FFF2-40B4-BE49-F238E27FC236}">
                      <a16:creationId xmlns:a16="http://schemas.microsoft.com/office/drawing/2014/main" id="{164585EB-98D9-64C8-1EFC-9992F1FB0B2F}"/>
                    </a:ext>
                  </a:extLst>
                </p:cNvPr>
                <p:cNvSpPr/>
                <p:nvPr/>
              </p:nvSpPr>
              <p:spPr bwMode="auto">
                <a:xfrm>
                  <a:off x="1974" y="1770"/>
                  <a:ext cx="134" cy="55"/>
                </a:xfrm>
                <a:custGeom>
                  <a:gdLst>
                    <a:gd name="T0" fmla="*/ 46 w 73"/>
                    <a:gd name="T1" fmla="*/ 0 h 30"/>
                    <a:gd name="T2" fmla="*/ 18 w 73"/>
                    <a:gd name="T3" fmla="*/ 0 h 30"/>
                    <a:gd name="T4" fmla="*/ 4 w 73"/>
                    <a:gd name="T5" fmla="*/ 17 h 30"/>
                    <a:gd name="T6" fmla="*/ 5 w 73"/>
                    <a:gd name="T7" fmla="*/ 30 h 30"/>
                    <a:gd name="T8" fmla="*/ 11 w 73"/>
                    <a:gd name="T9" fmla="*/ 22 h 30"/>
                    <a:gd name="T10" fmla="*/ 37 w 73"/>
                    <a:gd name="T11" fmla="*/ 9 h 30"/>
                    <a:gd name="T12" fmla="*/ 46 w 73"/>
                    <a:gd name="T13" fmla="*/ 9 h 30"/>
                    <a:gd name="T14" fmla="*/ 62 w 73"/>
                    <a:gd name="T15" fmla="*/ 0 h 30"/>
                    <a:gd name="T16" fmla="*/ 46 w 73"/>
                    <a:gd name="T17" fmla="*/ 0 h 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30">
                      <a:moveTo>
                        <a:pt x="46" y="0"/>
                      </a:moveTo>
                      <a:cubicBezTo>
                        <a:pt x="33" y="0"/>
                        <a:pt x="18" y="0"/>
                        <a:pt x="18" y="0"/>
                      </a:cubicBezTo>
                      <a:cubicBezTo>
                        <a:pt x="14" y="1"/>
                        <a:pt x="10" y="6"/>
                        <a:pt x="4" y="17"/>
                      </a:cubicBezTo>
                      <a:cubicBezTo>
                        <a:pt x="0" y="24"/>
                        <a:pt x="1" y="30"/>
                        <a:pt x="5" y="30"/>
                      </a:cubicBezTo>
                      <a:cubicBezTo>
                        <a:pt x="7" y="30"/>
                        <a:pt x="9" y="27"/>
                        <a:pt x="11" y="22"/>
                      </a:cubicBezTo>
                      <a:cubicBezTo>
                        <a:pt x="15" y="10"/>
                        <a:pt x="25" y="9"/>
                        <a:pt x="37" y="9"/>
                      </a:cubicBezTo>
                      <a:cubicBezTo>
                        <a:pt x="40" y="9"/>
                        <a:pt x="43" y="9"/>
                        <a:pt x="46" y="9"/>
                      </a:cubicBezTo>
                      <a:cubicBezTo>
                        <a:pt x="62" y="9"/>
                        <a:pt x="73" y="2"/>
                        <a:pt x="62" y="0"/>
                      </a:cubicBezTo>
                      <a:cubicBezTo>
                        <a:pt x="58" y="0"/>
                        <a:pt x="52" y="0"/>
                        <a:pt x="46" y="0"/>
                      </a:cubicBezTo>
                    </a:path>
                  </a:pathLst>
                </a:custGeom>
                <a:solidFill>
                  <a:srgbClr val="752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55" name="Freeform 174">
                  <a:extLst>
                    <a:ext uri="{FF2B5EF4-FFF2-40B4-BE49-F238E27FC236}">
                      <a16:creationId xmlns:a16="http://schemas.microsoft.com/office/drawing/2014/main" id="{9B0A67CF-EFFC-3F36-8B4C-F148676D2721}"/>
                    </a:ext>
                  </a:extLst>
                </p:cNvPr>
                <p:cNvSpPr/>
                <p:nvPr/>
              </p:nvSpPr>
              <p:spPr bwMode="auto">
                <a:xfrm>
                  <a:off x="2170" y="1759"/>
                  <a:ext cx="175" cy="261"/>
                </a:xfrm>
                <a:custGeom>
                  <a:gdLst>
                    <a:gd name="T0" fmla="*/ 29 w 96"/>
                    <a:gd name="T1" fmla="*/ 0 h 143"/>
                    <a:gd name="T2" fmla="*/ 0 w 96"/>
                    <a:gd name="T3" fmla="*/ 72 h 143"/>
                    <a:gd name="T4" fmla="*/ 29 w 96"/>
                    <a:gd name="T5" fmla="*/ 143 h 143"/>
                    <a:gd name="T6" fmla="*/ 96 w 96"/>
                    <a:gd name="T7" fmla="*/ 143 h 143"/>
                    <a:gd name="T8" fmla="*/ 96 w 96"/>
                    <a:gd name="T9" fmla="*/ 0 h 143"/>
                    <a:gd name="T10" fmla="*/ 29 w 96"/>
                    <a:gd name="T11" fmla="*/ 0 h 143"/>
                  </a:gdLst>
                  <a:cxnLst>
                    <a:cxn ang="0">
                      <a:pos x="T0" y="T1"/>
                    </a:cxn>
                    <a:cxn ang="0">
                      <a:pos x="T2" y="T3"/>
                    </a:cxn>
                    <a:cxn ang="0">
                      <a:pos x="T4" y="T5"/>
                    </a:cxn>
                    <a:cxn ang="0">
                      <a:pos x="T6" y="T7"/>
                    </a:cxn>
                    <a:cxn ang="0">
                      <a:pos x="T8" y="T9"/>
                    </a:cxn>
                    <a:cxn ang="0">
                      <a:pos x="T10" y="T11"/>
                    </a:cxn>
                  </a:cxnLst>
                  <a:rect l="0" t="0" r="r" b="b"/>
                  <a:pathLst>
                    <a:path w="96" h="143">
                      <a:moveTo>
                        <a:pt x="29" y="0"/>
                      </a:moveTo>
                      <a:cubicBezTo>
                        <a:pt x="13" y="0"/>
                        <a:pt x="0" y="32"/>
                        <a:pt x="0" y="72"/>
                      </a:cubicBezTo>
                      <a:cubicBezTo>
                        <a:pt x="0" y="111"/>
                        <a:pt x="13" y="143"/>
                        <a:pt x="29" y="143"/>
                      </a:cubicBezTo>
                      <a:cubicBezTo>
                        <a:pt x="96" y="143"/>
                        <a:pt x="96" y="143"/>
                        <a:pt x="96" y="143"/>
                      </a:cubicBezTo>
                      <a:cubicBezTo>
                        <a:pt x="96" y="0"/>
                        <a:pt x="96" y="0"/>
                        <a:pt x="96" y="0"/>
                      </a:cubicBezTo>
                      <a:cubicBezTo>
                        <a:pt x="29" y="0"/>
                        <a:pt x="29" y="0"/>
                        <a:pt x="29" y="0"/>
                      </a:cubicBezTo>
                    </a:path>
                  </a:pathLst>
                </a:custGeom>
                <a:solidFill>
                  <a:srgbClr val="59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56" name="Freeform 175">
                  <a:extLst>
                    <a:ext uri="{FF2B5EF4-FFF2-40B4-BE49-F238E27FC236}">
                      <a16:creationId xmlns:a16="http://schemas.microsoft.com/office/drawing/2014/main" id="{6B0242E3-0A45-D20D-BBFF-1A6EBF097A56}"/>
                    </a:ext>
                  </a:extLst>
                </p:cNvPr>
                <p:cNvSpPr/>
                <p:nvPr/>
              </p:nvSpPr>
              <p:spPr bwMode="auto">
                <a:xfrm>
                  <a:off x="2170" y="1898"/>
                  <a:ext cx="175" cy="122"/>
                </a:xfrm>
                <a:custGeom>
                  <a:gdLst>
                    <a:gd name="T0" fmla="*/ 96 w 96"/>
                    <a:gd name="T1" fmla="*/ 42 h 67"/>
                    <a:gd name="T2" fmla="*/ 75 w 96"/>
                    <a:gd name="T3" fmla="*/ 43 h 67"/>
                    <a:gd name="T4" fmla="*/ 0 w 96"/>
                    <a:gd name="T5" fmla="*/ 0 h 67"/>
                    <a:gd name="T6" fmla="*/ 29 w 96"/>
                    <a:gd name="T7" fmla="*/ 67 h 67"/>
                    <a:gd name="T8" fmla="*/ 96 w 96"/>
                    <a:gd name="T9" fmla="*/ 67 h 67"/>
                    <a:gd name="T10" fmla="*/ 96 w 96"/>
                    <a:gd name="T11" fmla="*/ 42 h 67"/>
                  </a:gdLst>
                  <a:cxnLst>
                    <a:cxn ang="0">
                      <a:pos x="T0" y="T1"/>
                    </a:cxn>
                    <a:cxn ang="0">
                      <a:pos x="T2" y="T3"/>
                    </a:cxn>
                    <a:cxn ang="0">
                      <a:pos x="T4" y="T5"/>
                    </a:cxn>
                    <a:cxn ang="0">
                      <a:pos x="T6" y="T7"/>
                    </a:cxn>
                    <a:cxn ang="0">
                      <a:pos x="T8" y="T9"/>
                    </a:cxn>
                    <a:cxn ang="0">
                      <a:pos x="T10" y="T11"/>
                    </a:cxn>
                  </a:cxnLst>
                  <a:rect l="0" t="0" r="r" b="b"/>
                  <a:pathLst>
                    <a:path w="96" h="67">
                      <a:moveTo>
                        <a:pt x="96" y="42"/>
                      </a:moveTo>
                      <a:cubicBezTo>
                        <a:pt x="89" y="42"/>
                        <a:pt x="82" y="42"/>
                        <a:pt x="75" y="43"/>
                      </a:cubicBezTo>
                      <a:cubicBezTo>
                        <a:pt x="17" y="49"/>
                        <a:pt x="0" y="0"/>
                        <a:pt x="0" y="0"/>
                      </a:cubicBezTo>
                      <a:cubicBezTo>
                        <a:pt x="1" y="38"/>
                        <a:pt x="13" y="67"/>
                        <a:pt x="29" y="67"/>
                      </a:cubicBezTo>
                      <a:cubicBezTo>
                        <a:pt x="96" y="67"/>
                        <a:pt x="96" y="67"/>
                        <a:pt x="96" y="67"/>
                      </a:cubicBezTo>
                      <a:lnTo>
                        <a:pt x="96" y="42"/>
                      </a:lnTo>
                      <a:close/>
                    </a:path>
                  </a:pathLst>
                </a:custGeom>
                <a:solidFill>
                  <a:srgbClr val="350F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57" name="Oval 176">
                  <a:extLst>
                    <a:ext uri="{FF2B5EF4-FFF2-40B4-BE49-F238E27FC236}">
                      <a16:creationId xmlns:a16="http://schemas.microsoft.com/office/drawing/2014/main" id="{26F24356-2B62-0F6C-7EFB-9949C915FB47}"/>
                    </a:ext>
                  </a:extLst>
                </p:cNvPr>
                <p:cNvSpPr>
                  <a:spLocks noChangeArrowheads="1"/>
                </p:cNvSpPr>
                <p:nvPr/>
              </p:nvSpPr>
              <p:spPr bwMode="auto">
                <a:xfrm>
                  <a:off x="2294" y="1759"/>
                  <a:ext cx="104" cy="261"/>
                </a:xfrm>
                <a:prstGeom prst="ellipse">
                  <a:avLst/>
                </a:prstGeom>
                <a:solidFill>
                  <a:srgbClr val="350F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58" name="Oval 177">
                  <a:extLst>
                    <a:ext uri="{FF2B5EF4-FFF2-40B4-BE49-F238E27FC236}">
                      <a16:creationId xmlns:a16="http://schemas.microsoft.com/office/drawing/2014/main" id="{6779EFB7-96F3-F210-92D3-18A8CD079540}"/>
                    </a:ext>
                  </a:extLst>
                </p:cNvPr>
                <p:cNvSpPr>
                  <a:spLocks noChangeArrowheads="1"/>
                </p:cNvSpPr>
                <p:nvPr/>
              </p:nvSpPr>
              <p:spPr bwMode="auto">
                <a:xfrm>
                  <a:off x="2301" y="1768"/>
                  <a:ext cx="93" cy="245"/>
                </a:xfrm>
                <a:prstGeom prst="ellipse">
                  <a:avLst/>
                </a:prstGeom>
                <a:solidFill>
                  <a:srgbClr val="FFFE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59" name="Freeform 178">
                  <a:extLst>
                    <a:ext uri="{FF2B5EF4-FFF2-40B4-BE49-F238E27FC236}">
                      <a16:creationId xmlns:a16="http://schemas.microsoft.com/office/drawing/2014/main" id="{C6CFCC1C-1A7D-CABF-A3B2-D748DF70B0BA}"/>
                    </a:ext>
                  </a:extLst>
                </p:cNvPr>
                <p:cNvSpPr/>
                <p:nvPr/>
              </p:nvSpPr>
              <p:spPr bwMode="auto">
                <a:xfrm>
                  <a:off x="2332" y="1810"/>
                  <a:ext cx="44" cy="66"/>
                </a:xfrm>
                <a:custGeom>
                  <a:gdLst>
                    <a:gd name="T0" fmla="*/ 0 w 24"/>
                    <a:gd name="T1" fmla="*/ 16 h 36"/>
                    <a:gd name="T2" fmla="*/ 9 w 24"/>
                    <a:gd name="T3" fmla="*/ 34 h 36"/>
                    <a:gd name="T4" fmla="*/ 24 w 24"/>
                    <a:gd name="T5" fmla="*/ 24 h 36"/>
                    <a:gd name="T6" fmla="*/ 15 w 24"/>
                    <a:gd name="T7" fmla="*/ 2 h 36"/>
                    <a:gd name="T8" fmla="*/ 0 w 24"/>
                    <a:gd name="T9" fmla="*/ 16 h 36"/>
                  </a:gdLst>
                  <a:cxnLst>
                    <a:cxn ang="0">
                      <a:pos x="T0" y="T1"/>
                    </a:cxn>
                    <a:cxn ang="0">
                      <a:pos x="T2" y="T3"/>
                    </a:cxn>
                    <a:cxn ang="0">
                      <a:pos x="T4" y="T5"/>
                    </a:cxn>
                    <a:cxn ang="0">
                      <a:pos x="T6" y="T7"/>
                    </a:cxn>
                    <a:cxn ang="0">
                      <a:pos x="T8" y="T9"/>
                    </a:cxn>
                  </a:cxnLst>
                  <a:rect l="0" t="0" r="r" b="b"/>
                  <a:pathLst>
                    <a:path w="24" h="36">
                      <a:moveTo>
                        <a:pt x="0" y="16"/>
                      </a:moveTo>
                      <a:cubicBezTo>
                        <a:pt x="0" y="16"/>
                        <a:pt x="2" y="31"/>
                        <a:pt x="9" y="34"/>
                      </a:cubicBezTo>
                      <a:cubicBezTo>
                        <a:pt x="16" y="36"/>
                        <a:pt x="24" y="27"/>
                        <a:pt x="24" y="24"/>
                      </a:cubicBezTo>
                      <a:cubicBezTo>
                        <a:pt x="24" y="20"/>
                        <a:pt x="20" y="5"/>
                        <a:pt x="15" y="2"/>
                      </a:cubicBezTo>
                      <a:cubicBezTo>
                        <a:pt x="11" y="0"/>
                        <a:pt x="0" y="16"/>
                        <a:pt x="0" y="16"/>
                      </a:cubicBezTo>
                      <a:close/>
                    </a:path>
                  </a:pathLst>
                </a:custGeom>
                <a:solidFill>
                  <a:srgbClr val="E05B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60" name="Freeform 179">
                  <a:extLst>
                    <a:ext uri="{FF2B5EF4-FFF2-40B4-BE49-F238E27FC236}">
                      <a16:creationId xmlns:a16="http://schemas.microsoft.com/office/drawing/2014/main" id="{1C02B8B1-2232-7927-270B-6065162A0BDD}"/>
                    </a:ext>
                  </a:extLst>
                </p:cNvPr>
                <p:cNvSpPr/>
                <p:nvPr/>
              </p:nvSpPr>
              <p:spPr bwMode="auto">
                <a:xfrm>
                  <a:off x="2343" y="1854"/>
                  <a:ext cx="37" cy="51"/>
                </a:xfrm>
                <a:custGeom>
                  <a:gdLst>
                    <a:gd name="T0" fmla="*/ 18 w 20"/>
                    <a:gd name="T1" fmla="*/ 0 h 28"/>
                    <a:gd name="T2" fmla="*/ 18 w 20"/>
                    <a:gd name="T3" fmla="*/ 17 h 28"/>
                    <a:gd name="T4" fmla="*/ 3 w 20"/>
                    <a:gd name="T5" fmla="*/ 27 h 28"/>
                    <a:gd name="T6" fmla="*/ 1 w 20"/>
                    <a:gd name="T7" fmla="*/ 4 h 28"/>
                    <a:gd name="T8" fmla="*/ 18 w 20"/>
                    <a:gd name="T9" fmla="*/ 0 h 28"/>
                  </a:gdLst>
                  <a:cxnLst>
                    <a:cxn ang="0">
                      <a:pos x="T0" y="T1"/>
                    </a:cxn>
                    <a:cxn ang="0">
                      <a:pos x="T2" y="T3"/>
                    </a:cxn>
                    <a:cxn ang="0">
                      <a:pos x="T4" y="T5"/>
                    </a:cxn>
                    <a:cxn ang="0">
                      <a:pos x="T6" y="T7"/>
                    </a:cxn>
                    <a:cxn ang="0">
                      <a:pos x="T8" y="T9"/>
                    </a:cxn>
                  </a:cxnLst>
                  <a:rect l="0" t="0" r="r" b="b"/>
                  <a:pathLst>
                    <a:path w="20" h="28">
                      <a:moveTo>
                        <a:pt x="18" y="0"/>
                      </a:moveTo>
                      <a:cubicBezTo>
                        <a:pt x="18" y="0"/>
                        <a:pt x="20" y="11"/>
                        <a:pt x="18" y="17"/>
                      </a:cubicBezTo>
                      <a:cubicBezTo>
                        <a:pt x="16" y="22"/>
                        <a:pt x="6" y="27"/>
                        <a:pt x="3" y="27"/>
                      </a:cubicBezTo>
                      <a:cubicBezTo>
                        <a:pt x="0" y="28"/>
                        <a:pt x="1" y="4"/>
                        <a:pt x="1" y="4"/>
                      </a:cubicBezTo>
                      <a:lnTo>
                        <a:pt x="18" y="0"/>
                      </a:lnTo>
                      <a:close/>
                    </a:path>
                  </a:pathLst>
                </a:custGeom>
                <a:solidFill>
                  <a:srgbClr val="FE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61" name="Freeform 180">
                  <a:extLst>
                    <a:ext uri="{FF2B5EF4-FFF2-40B4-BE49-F238E27FC236}">
                      <a16:creationId xmlns:a16="http://schemas.microsoft.com/office/drawing/2014/main" id="{56CB29DE-CB23-9A8F-6C34-82BF669A2B8A}"/>
                    </a:ext>
                  </a:extLst>
                </p:cNvPr>
                <p:cNvSpPr/>
                <p:nvPr/>
              </p:nvSpPr>
              <p:spPr bwMode="auto">
                <a:xfrm>
                  <a:off x="2321" y="1840"/>
                  <a:ext cx="40" cy="64"/>
                </a:xfrm>
                <a:custGeom>
                  <a:gdLst>
                    <a:gd name="T0" fmla="*/ 6 w 22"/>
                    <a:gd name="T1" fmla="*/ 0 h 35"/>
                    <a:gd name="T2" fmla="*/ 0 w 22"/>
                    <a:gd name="T3" fmla="*/ 20 h 35"/>
                    <a:gd name="T4" fmla="*/ 0 w 22"/>
                    <a:gd name="T5" fmla="*/ 26 h 35"/>
                    <a:gd name="T6" fmla="*/ 8 w 22"/>
                    <a:gd name="T7" fmla="*/ 35 h 35"/>
                    <a:gd name="T8" fmla="*/ 22 w 22"/>
                    <a:gd name="T9" fmla="*/ 27 h 35"/>
                    <a:gd name="T10" fmla="*/ 6 w 22"/>
                    <a:gd name="T11" fmla="*/ 0 h 35"/>
                  </a:gdLst>
                  <a:cxnLst>
                    <a:cxn ang="0">
                      <a:pos x="T0" y="T1"/>
                    </a:cxn>
                    <a:cxn ang="0">
                      <a:pos x="T2" y="T3"/>
                    </a:cxn>
                    <a:cxn ang="0">
                      <a:pos x="T4" y="T5"/>
                    </a:cxn>
                    <a:cxn ang="0">
                      <a:pos x="T6" y="T7"/>
                    </a:cxn>
                    <a:cxn ang="0">
                      <a:pos x="T8" y="T9"/>
                    </a:cxn>
                    <a:cxn ang="0">
                      <a:pos x="T10" y="T11"/>
                    </a:cxn>
                  </a:cxnLst>
                  <a:rect l="0" t="0" r="r" b="b"/>
                  <a:pathLst>
                    <a:path w="22" h="35">
                      <a:moveTo>
                        <a:pt x="6" y="0"/>
                      </a:moveTo>
                      <a:cubicBezTo>
                        <a:pt x="6" y="0"/>
                        <a:pt x="1" y="12"/>
                        <a:pt x="0" y="20"/>
                      </a:cubicBezTo>
                      <a:cubicBezTo>
                        <a:pt x="0" y="22"/>
                        <a:pt x="0" y="24"/>
                        <a:pt x="0" y="26"/>
                      </a:cubicBezTo>
                      <a:cubicBezTo>
                        <a:pt x="1" y="31"/>
                        <a:pt x="3" y="35"/>
                        <a:pt x="8" y="35"/>
                      </a:cubicBezTo>
                      <a:cubicBezTo>
                        <a:pt x="15" y="35"/>
                        <a:pt x="22" y="27"/>
                        <a:pt x="22" y="27"/>
                      </a:cubicBezTo>
                      <a:cubicBezTo>
                        <a:pt x="22" y="27"/>
                        <a:pt x="12" y="5"/>
                        <a:pt x="6" y="0"/>
                      </a:cubicBezTo>
                      <a:close/>
                    </a:path>
                  </a:pathLst>
                </a:custGeom>
                <a:solidFill>
                  <a:srgbClr val="5653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62" name="Freeform 181">
                  <a:extLst>
                    <a:ext uri="{FF2B5EF4-FFF2-40B4-BE49-F238E27FC236}">
                      <a16:creationId xmlns:a16="http://schemas.microsoft.com/office/drawing/2014/main" id="{11E3B425-1DF5-0FAE-1796-A8D2CFDF17DF}"/>
                    </a:ext>
                  </a:extLst>
                </p:cNvPr>
                <p:cNvSpPr/>
                <p:nvPr/>
              </p:nvSpPr>
              <p:spPr bwMode="auto">
                <a:xfrm>
                  <a:off x="2328" y="1885"/>
                  <a:ext cx="48" cy="57"/>
                </a:xfrm>
                <a:custGeom>
                  <a:gdLst>
                    <a:gd name="T0" fmla="*/ 26 w 26"/>
                    <a:gd name="T1" fmla="*/ 0 h 31"/>
                    <a:gd name="T2" fmla="*/ 20 w 26"/>
                    <a:gd name="T3" fmla="*/ 26 h 31"/>
                    <a:gd name="T4" fmla="*/ 4 w 26"/>
                    <a:gd name="T5" fmla="*/ 31 h 31"/>
                    <a:gd name="T6" fmla="*/ 0 w 26"/>
                    <a:gd name="T7" fmla="*/ 4 h 31"/>
                    <a:gd name="T8" fmla="*/ 26 w 26"/>
                    <a:gd name="T9" fmla="*/ 0 h 31"/>
                  </a:gdLst>
                  <a:cxnLst>
                    <a:cxn ang="0">
                      <a:pos x="T0" y="T1"/>
                    </a:cxn>
                    <a:cxn ang="0">
                      <a:pos x="T2" y="T3"/>
                    </a:cxn>
                    <a:cxn ang="0">
                      <a:pos x="T4" y="T5"/>
                    </a:cxn>
                    <a:cxn ang="0">
                      <a:pos x="T6" y="T7"/>
                    </a:cxn>
                    <a:cxn ang="0">
                      <a:pos x="T8" y="T9"/>
                    </a:cxn>
                  </a:cxnLst>
                  <a:rect l="0" t="0" r="r" b="b"/>
                  <a:pathLst>
                    <a:path w="26" h="31">
                      <a:moveTo>
                        <a:pt x="26" y="0"/>
                      </a:moveTo>
                      <a:cubicBezTo>
                        <a:pt x="26" y="0"/>
                        <a:pt x="23" y="22"/>
                        <a:pt x="20" y="26"/>
                      </a:cubicBezTo>
                      <a:cubicBezTo>
                        <a:pt x="17" y="31"/>
                        <a:pt x="7" y="31"/>
                        <a:pt x="4" y="31"/>
                      </a:cubicBezTo>
                      <a:cubicBezTo>
                        <a:pt x="0" y="30"/>
                        <a:pt x="0" y="4"/>
                        <a:pt x="0" y="4"/>
                      </a:cubicBezTo>
                      <a:lnTo>
                        <a:pt x="26" y="0"/>
                      </a:lnTo>
                      <a:close/>
                    </a:path>
                  </a:pathLst>
                </a:custGeom>
                <a:solidFill>
                  <a:srgbClr val="8C2A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63" name="Freeform 182">
                  <a:extLst>
                    <a:ext uri="{FF2B5EF4-FFF2-40B4-BE49-F238E27FC236}">
                      <a16:creationId xmlns:a16="http://schemas.microsoft.com/office/drawing/2014/main" id="{FFAD0EF0-86F7-39CE-37FC-4DCEB9521CA1}"/>
                    </a:ext>
                  </a:extLst>
                </p:cNvPr>
                <p:cNvSpPr/>
                <p:nvPr/>
              </p:nvSpPr>
              <p:spPr bwMode="auto">
                <a:xfrm>
                  <a:off x="2325" y="1924"/>
                  <a:ext cx="45" cy="56"/>
                </a:xfrm>
                <a:custGeom>
                  <a:gdLst>
                    <a:gd name="T0" fmla="*/ 24 w 25"/>
                    <a:gd name="T1" fmla="*/ 0 h 31"/>
                    <a:gd name="T2" fmla="*/ 20 w 25"/>
                    <a:gd name="T3" fmla="*/ 23 h 31"/>
                    <a:gd name="T4" fmla="*/ 11 w 25"/>
                    <a:gd name="T5" fmla="*/ 28 h 31"/>
                    <a:gd name="T6" fmla="*/ 2 w 25"/>
                    <a:gd name="T7" fmla="*/ 10 h 31"/>
                    <a:gd name="T8" fmla="*/ 24 w 25"/>
                    <a:gd name="T9" fmla="*/ 0 h 31"/>
                  </a:gdLst>
                  <a:cxnLst>
                    <a:cxn ang="0">
                      <a:pos x="T0" y="T1"/>
                    </a:cxn>
                    <a:cxn ang="0">
                      <a:pos x="T2" y="T3"/>
                    </a:cxn>
                    <a:cxn ang="0">
                      <a:pos x="T4" y="T5"/>
                    </a:cxn>
                    <a:cxn ang="0">
                      <a:pos x="T6" y="T7"/>
                    </a:cxn>
                    <a:cxn ang="0">
                      <a:pos x="T8" y="T9"/>
                    </a:cxn>
                  </a:cxnLst>
                  <a:rect l="0" t="0" r="r" b="b"/>
                  <a:pathLst>
                    <a:path w="25" h="31">
                      <a:moveTo>
                        <a:pt x="24" y="0"/>
                      </a:moveTo>
                      <a:cubicBezTo>
                        <a:pt x="24" y="0"/>
                        <a:pt x="25" y="18"/>
                        <a:pt x="20" y="23"/>
                      </a:cubicBezTo>
                      <a:cubicBezTo>
                        <a:pt x="16" y="29"/>
                        <a:pt x="15" y="31"/>
                        <a:pt x="11" y="28"/>
                      </a:cubicBezTo>
                      <a:cubicBezTo>
                        <a:pt x="7" y="25"/>
                        <a:pt x="3" y="19"/>
                        <a:pt x="2" y="10"/>
                      </a:cubicBezTo>
                      <a:cubicBezTo>
                        <a:pt x="0" y="1"/>
                        <a:pt x="24" y="0"/>
                        <a:pt x="24" y="0"/>
                      </a:cubicBezTo>
                      <a:close/>
                    </a:path>
                  </a:pathLst>
                </a:custGeom>
                <a:solidFill>
                  <a:srgbClr val="F7C3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64" name="Freeform 183">
                  <a:extLst>
                    <a:ext uri="{FF2B5EF4-FFF2-40B4-BE49-F238E27FC236}">
                      <a16:creationId xmlns:a16="http://schemas.microsoft.com/office/drawing/2014/main" id="{D2A7DD8B-14DF-EFCE-1562-39AE340DAD47}"/>
                    </a:ext>
                  </a:extLst>
                </p:cNvPr>
                <p:cNvSpPr/>
                <p:nvPr/>
              </p:nvSpPr>
              <p:spPr bwMode="auto">
                <a:xfrm>
                  <a:off x="2319" y="1878"/>
                  <a:ext cx="22" cy="73"/>
                </a:xfrm>
                <a:custGeom>
                  <a:gdLst>
                    <a:gd name="T0" fmla="*/ 10 w 12"/>
                    <a:gd name="T1" fmla="*/ 6 h 40"/>
                    <a:gd name="T2" fmla="*/ 10 w 12"/>
                    <a:gd name="T3" fmla="*/ 34 h 40"/>
                    <a:gd name="T4" fmla="*/ 6 w 12"/>
                    <a:gd name="T5" fmla="*/ 38 h 40"/>
                    <a:gd name="T6" fmla="*/ 1 w 12"/>
                    <a:gd name="T7" fmla="*/ 5 h 40"/>
                    <a:gd name="T8" fmla="*/ 10 w 12"/>
                    <a:gd name="T9" fmla="*/ 6 h 40"/>
                  </a:gdLst>
                  <a:cxnLst>
                    <a:cxn ang="0">
                      <a:pos x="T0" y="T1"/>
                    </a:cxn>
                    <a:cxn ang="0">
                      <a:pos x="T2" y="T3"/>
                    </a:cxn>
                    <a:cxn ang="0">
                      <a:pos x="T4" y="T5"/>
                    </a:cxn>
                    <a:cxn ang="0">
                      <a:pos x="T6" y="T7"/>
                    </a:cxn>
                    <a:cxn ang="0">
                      <a:pos x="T8" y="T9"/>
                    </a:cxn>
                  </a:cxnLst>
                  <a:rect l="0" t="0" r="r" b="b"/>
                  <a:pathLst>
                    <a:path w="12" h="40">
                      <a:moveTo>
                        <a:pt x="10" y="6"/>
                      </a:moveTo>
                      <a:cubicBezTo>
                        <a:pt x="10" y="6"/>
                        <a:pt x="12" y="28"/>
                        <a:pt x="10" y="34"/>
                      </a:cubicBezTo>
                      <a:cubicBezTo>
                        <a:pt x="9" y="40"/>
                        <a:pt x="8" y="40"/>
                        <a:pt x="6" y="38"/>
                      </a:cubicBezTo>
                      <a:cubicBezTo>
                        <a:pt x="4" y="36"/>
                        <a:pt x="0" y="9"/>
                        <a:pt x="1" y="5"/>
                      </a:cubicBezTo>
                      <a:cubicBezTo>
                        <a:pt x="2" y="0"/>
                        <a:pt x="10" y="6"/>
                        <a:pt x="10" y="6"/>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65" name="Freeform 184">
                  <a:extLst>
                    <a:ext uri="{FF2B5EF4-FFF2-40B4-BE49-F238E27FC236}">
                      <a16:creationId xmlns:a16="http://schemas.microsoft.com/office/drawing/2014/main" id="{98918149-5B2D-6F3E-3309-4E89EFCA4A17}"/>
                    </a:ext>
                  </a:extLst>
                </p:cNvPr>
                <p:cNvSpPr/>
                <p:nvPr/>
              </p:nvSpPr>
              <p:spPr bwMode="auto">
                <a:xfrm>
                  <a:off x="2327" y="1790"/>
                  <a:ext cx="14" cy="19"/>
                </a:xfrm>
                <a:custGeom>
                  <a:gdLst>
                    <a:gd name="T0" fmla="*/ 6 w 8"/>
                    <a:gd name="T1" fmla="*/ 6 h 10"/>
                    <a:gd name="T2" fmla="*/ 1 w 8"/>
                    <a:gd name="T3" fmla="*/ 10 h 10"/>
                    <a:gd name="T4" fmla="*/ 2 w 8"/>
                    <a:gd name="T5" fmla="*/ 4 h 10"/>
                    <a:gd name="T6" fmla="*/ 7 w 8"/>
                    <a:gd name="T7" fmla="*/ 0 h 10"/>
                    <a:gd name="T8" fmla="*/ 6 w 8"/>
                    <a:gd name="T9" fmla="*/ 6 h 10"/>
                  </a:gdLst>
                  <a:cxnLst>
                    <a:cxn ang="0">
                      <a:pos x="T0" y="T1"/>
                    </a:cxn>
                    <a:cxn ang="0">
                      <a:pos x="T2" y="T3"/>
                    </a:cxn>
                    <a:cxn ang="0">
                      <a:pos x="T4" y="T5"/>
                    </a:cxn>
                    <a:cxn ang="0">
                      <a:pos x="T6" y="T7"/>
                    </a:cxn>
                    <a:cxn ang="0">
                      <a:pos x="T8" y="T9"/>
                    </a:cxn>
                  </a:cxnLst>
                  <a:rect l="0" t="0" r="r" b="b"/>
                  <a:pathLst>
                    <a:path w="8" h="10">
                      <a:moveTo>
                        <a:pt x="6" y="6"/>
                      </a:moveTo>
                      <a:cubicBezTo>
                        <a:pt x="5" y="9"/>
                        <a:pt x="2" y="10"/>
                        <a:pt x="1" y="10"/>
                      </a:cubicBezTo>
                      <a:cubicBezTo>
                        <a:pt x="0" y="9"/>
                        <a:pt x="1" y="6"/>
                        <a:pt x="2" y="4"/>
                      </a:cubicBezTo>
                      <a:cubicBezTo>
                        <a:pt x="4" y="1"/>
                        <a:pt x="6" y="0"/>
                        <a:pt x="7" y="0"/>
                      </a:cubicBezTo>
                      <a:cubicBezTo>
                        <a:pt x="8" y="1"/>
                        <a:pt x="8" y="4"/>
                        <a:pt x="6"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66" name="Freeform 185">
                  <a:extLst>
                    <a:ext uri="{FF2B5EF4-FFF2-40B4-BE49-F238E27FC236}">
                      <a16:creationId xmlns:a16="http://schemas.microsoft.com/office/drawing/2014/main" id="{47563CE0-E459-2368-2D56-73B75379259A}"/>
                    </a:ext>
                  </a:extLst>
                </p:cNvPr>
                <p:cNvSpPr/>
                <p:nvPr/>
              </p:nvSpPr>
              <p:spPr bwMode="auto">
                <a:xfrm>
                  <a:off x="2359" y="1801"/>
                  <a:ext cx="19" cy="13"/>
                </a:xfrm>
                <a:custGeom>
                  <a:gdLst>
                    <a:gd name="T0" fmla="*/ 6 w 10"/>
                    <a:gd name="T1" fmla="*/ 2 h 7"/>
                    <a:gd name="T2" fmla="*/ 10 w 10"/>
                    <a:gd name="T3" fmla="*/ 6 h 7"/>
                    <a:gd name="T4" fmla="*/ 4 w 10"/>
                    <a:gd name="T5" fmla="*/ 5 h 7"/>
                    <a:gd name="T6" fmla="*/ 0 w 10"/>
                    <a:gd name="T7" fmla="*/ 1 h 7"/>
                    <a:gd name="T8" fmla="*/ 6 w 10"/>
                    <a:gd name="T9" fmla="*/ 2 h 7"/>
                  </a:gdLst>
                  <a:cxnLst>
                    <a:cxn ang="0">
                      <a:pos x="T0" y="T1"/>
                    </a:cxn>
                    <a:cxn ang="0">
                      <a:pos x="T2" y="T3"/>
                    </a:cxn>
                    <a:cxn ang="0">
                      <a:pos x="T4" y="T5"/>
                    </a:cxn>
                    <a:cxn ang="0">
                      <a:pos x="T6" y="T7"/>
                    </a:cxn>
                    <a:cxn ang="0">
                      <a:pos x="T8" y="T9"/>
                    </a:cxn>
                  </a:cxnLst>
                  <a:rect l="0" t="0" r="r" b="b"/>
                  <a:pathLst>
                    <a:path w="10" h="7">
                      <a:moveTo>
                        <a:pt x="6" y="2"/>
                      </a:moveTo>
                      <a:cubicBezTo>
                        <a:pt x="9" y="3"/>
                        <a:pt x="10" y="5"/>
                        <a:pt x="10" y="6"/>
                      </a:cubicBezTo>
                      <a:cubicBezTo>
                        <a:pt x="9" y="7"/>
                        <a:pt x="7" y="7"/>
                        <a:pt x="4" y="5"/>
                      </a:cubicBezTo>
                      <a:cubicBezTo>
                        <a:pt x="1" y="4"/>
                        <a:pt x="0" y="2"/>
                        <a:pt x="0" y="1"/>
                      </a:cubicBezTo>
                      <a:cubicBezTo>
                        <a:pt x="1" y="0"/>
                        <a:pt x="4" y="0"/>
                        <a:pt x="6" y="2"/>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67" name="Freeform 186">
                  <a:extLst>
                    <a:ext uri="{FF2B5EF4-FFF2-40B4-BE49-F238E27FC236}">
                      <a16:creationId xmlns:a16="http://schemas.microsoft.com/office/drawing/2014/main" id="{91830AE0-23D8-1638-F251-CF7D333E7CC6}"/>
                    </a:ext>
                  </a:extLst>
                </p:cNvPr>
                <p:cNvSpPr/>
                <p:nvPr/>
              </p:nvSpPr>
              <p:spPr bwMode="auto">
                <a:xfrm>
                  <a:off x="2330" y="1986"/>
                  <a:ext cx="20" cy="11"/>
                </a:xfrm>
                <a:custGeom>
                  <a:gdLst>
                    <a:gd name="T0" fmla="*/ 5 w 11"/>
                    <a:gd name="T1" fmla="*/ 5 h 6"/>
                    <a:gd name="T2" fmla="*/ 1 w 11"/>
                    <a:gd name="T3" fmla="*/ 1 h 6"/>
                    <a:gd name="T4" fmla="*/ 6 w 11"/>
                    <a:gd name="T5" fmla="*/ 1 h 6"/>
                    <a:gd name="T6" fmla="*/ 11 w 11"/>
                    <a:gd name="T7" fmla="*/ 5 h 6"/>
                    <a:gd name="T8" fmla="*/ 5 w 11"/>
                    <a:gd name="T9" fmla="*/ 5 h 6"/>
                  </a:gdLst>
                  <a:cxnLst>
                    <a:cxn ang="0">
                      <a:pos x="T0" y="T1"/>
                    </a:cxn>
                    <a:cxn ang="0">
                      <a:pos x="T2" y="T3"/>
                    </a:cxn>
                    <a:cxn ang="0">
                      <a:pos x="T4" y="T5"/>
                    </a:cxn>
                    <a:cxn ang="0">
                      <a:pos x="T6" y="T7"/>
                    </a:cxn>
                    <a:cxn ang="0">
                      <a:pos x="T8" y="T9"/>
                    </a:cxn>
                  </a:cxnLst>
                  <a:rect l="0" t="0" r="r" b="b"/>
                  <a:pathLst>
                    <a:path w="11" h="6">
                      <a:moveTo>
                        <a:pt x="5" y="5"/>
                      </a:moveTo>
                      <a:cubicBezTo>
                        <a:pt x="2" y="4"/>
                        <a:pt x="0" y="3"/>
                        <a:pt x="1" y="1"/>
                      </a:cubicBezTo>
                      <a:cubicBezTo>
                        <a:pt x="1" y="0"/>
                        <a:pt x="4" y="0"/>
                        <a:pt x="6" y="1"/>
                      </a:cubicBezTo>
                      <a:cubicBezTo>
                        <a:pt x="9" y="2"/>
                        <a:pt x="11" y="4"/>
                        <a:pt x="11" y="5"/>
                      </a:cubicBezTo>
                      <a:cubicBezTo>
                        <a:pt x="10" y="6"/>
                        <a:pt x="8" y="6"/>
                        <a:pt x="5" y="5"/>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68" name="Freeform 187">
                  <a:extLst>
                    <a:ext uri="{FF2B5EF4-FFF2-40B4-BE49-F238E27FC236}">
                      <a16:creationId xmlns:a16="http://schemas.microsoft.com/office/drawing/2014/main" id="{35CDE2B8-FBA9-2138-B5EF-8EFB82DF045C}"/>
                    </a:ext>
                  </a:extLst>
                </p:cNvPr>
                <p:cNvSpPr/>
                <p:nvPr/>
              </p:nvSpPr>
              <p:spPr bwMode="auto">
                <a:xfrm>
                  <a:off x="2343" y="1778"/>
                  <a:ext cx="20" cy="12"/>
                </a:xfrm>
                <a:custGeom>
                  <a:gdLst>
                    <a:gd name="T0" fmla="*/ 6 w 11"/>
                    <a:gd name="T1" fmla="*/ 1 h 7"/>
                    <a:gd name="T2" fmla="*/ 11 w 11"/>
                    <a:gd name="T3" fmla="*/ 5 h 7"/>
                    <a:gd name="T4" fmla="*/ 5 w 11"/>
                    <a:gd name="T5" fmla="*/ 6 h 7"/>
                    <a:gd name="T6" fmla="*/ 0 w 11"/>
                    <a:gd name="T7" fmla="*/ 2 h 7"/>
                    <a:gd name="T8" fmla="*/ 6 w 11"/>
                    <a:gd name="T9" fmla="*/ 1 h 7"/>
                  </a:gdLst>
                  <a:cxnLst>
                    <a:cxn ang="0">
                      <a:pos x="T0" y="T1"/>
                    </a:cxn>
                    <a:cxn ang="0">
                      <a:pos x="T2" y="T3"/>
                    </a:cxn>
                    <a:cxn ang="0">
                      <a:pos x="T4" y="T5"/>
                    </a:cxn>
                    <a:cxn ang="0">
                      <a:pos x="T6" y="T7"/>
                    </a:cxn>
                    <a:cxn ang="0">
                      <a:pos x="T8" y="T9"/>
                    </a:cxn>
                  </a:cxnLst>
                  <a:rect l="0" t="0" r="r" b="b"/>
                  <a:pathLst>
                    <a:path w="11" h="7">
                      <a:moveTo>
                        <a:pt x="6" y="1"/>
                      </a:moveTo>
                      <a:cubicBezTo>
                        <a:pt x="9" y="2"/>
                        <a:pt x="11" y="4"/>
                        <a:pt x="11" y="5"/>
                      </a:cubicBezTo>
                      <a:cubicBezTo>
                        <a:pt x="10" y="6"/>
                        <a:pt x="8" y="7"/>
                        <a:pt x="5" y="6"/>
                      </a:cubicBezTo>
                      <a:cubicBezTo>
                        <a:pt x="2" y="5"/>
                        <a:pt x="0" y="3"/>
                        <a:pt x="0" y="2"/>
                      </a:cubicBezTo>
                      <a:cubicBezTo>
                        <a:pt x="1" y="1"/>
                        <a:pt x="3" y="0"/>
                        <a:pt x="6" y="1"/>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69" name="Freeform 188">
                  <a:extLst>
                    <a:ext uri="{FF2B5EF4-FFF2-40B4-BE49-F238E27FC236}">
                      <a16:creationId xmlns:a16="http://schemas.microsoft.com/office/drawing/2014/main" id="{A5E1E794-1170-E4BF-9099-40B91E248EDC}"/>
                    </a:ext>
                  </a:extLst>
                </p:cNvPr>
                <p:cNvSpPr/>
                <p:nvPr/>
              </p:nvSpPr>
              <p:spPr bwMode="auto">
                <a:xfrm>
                  <a:off x="2356" y="1977"/>
                  <a:ext cx="16" cy="18"/>
                </a:xfrm>
                <a:custGeom>
                  <a:gdLst>
                    <a:gd name="T0" fmla="*/ 3 w 9"/>
                    <a:gd name="T1" fmla="*/ 4 h 10"/>
                    <a:gd name="T2" fmla="*/ 8 w 9"/>
                    <a:gd name="T3" fmla="*/ 1 h 10"/>
                    <a:gd name="T4" fmla="*/ 6 w 9"/>
                    <a:gd name="T5" fmla="*/ 7 h 10"/>
                    <a:gd name="T6" fmla="*/ 0 w 9"/>
                    <a:gd name="T7" fmla="*/ 9 h 10"/>
                    <a:gd name="T8" fmla="*/ 3 w 9"/>
                    <a:gd name="T9" fmla="*/ 4 h 10"/>
                  </a:gdLst>
                  <a:cxnLst>
                    <a:cxn ang="0">
                      <a:pos x="T0" y="T1"/>
                    </a:cxn>
                    <a:cxn ang="0">
                      <a:pos x="T2" y="T3"/>
                    </a:cxn>
                    <a:cxn ang="0">
                      <a:pos x="T4" y="T5"/>
                    </a:cxn>
                    <a:cxn ang="0">
                      <a:pos x="T6" y="T7"/>
                    </a:cxn>
                    <a:cxn ang="0">
                      <a:pos x="T8" y="T9"/>
                    </a:cxn>
                  </a:cxnLst>
                  <a:rect l="0" t="0" r="r" b="b"/>
                  <a:pathLst>
                    <a:path w="9" h="10">
                      <a:moveTo>
                        <a:pt x="3" y="4"/>
                      </a:moveTo>
                      <a:cubicBezTo>
                        <a:pt x="5" y="1"/>
                        <a:pt x="7" y="0"/>
                        <a:pt x="8" y="1"/>
                      </a:cubicBezTo>
                      <a:cubicBezTo>
                        <a:pt x="9" y="2"/>
                        <a:pt x="8" y="5"/>
                        <a:pt x="6" y="7"/>
                      </a:cubicBezTo>
                      <a:cubicBezTo>
                        <a:pt x="4" y="9"/>
                        <a:pt x="1" y="10"/>
                        <a:pt x="0" y="9"/>
                      </a:cubicBezTo>
                      <a:cubicBezTo>
                        <a:pt x="0" y="8"/>
                        <a:pt x="1" y="6"/>
                        <a:pt x="3" y="4"/>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70" name="Freeform 189">
                  <a:extLst>
                    <a:ext uri="{FF2B5EF4-FFF2-40B4-BE49-F238E27FC236}">
                      <a16:creationId xmlns:a16="http://schemas.microsoft.com/office/drawing/2014/main" id="{8295A107-07E5-023E-4AAD-84D221194974}"/>
                    </a:ext>
                  </a:extLst>
                </p:cNvPr>
                <p:cNvSpPr/>
                <p:nvPr/>
              </p:nvSpPr>
              <p:spPr bwMode="auto">
                <a:xfrm>
                  <a:off x="2370" y="1947"/>
                  <a:ext cx="10" cy="20"/>
                </a:xfrm>
                <a:custGeom>
                  <a:gdLst>
                    <a:gd name="T0" fmla="*/ 0 w 5"/>
                    <a:gd name="T1" fmla="*/ 6 h 11"/>
                    <a:gd name="T2" fmla="*/ 1 w 5"/>
                    <a:gd name="T3" fmla="*/ 0 h 11"/>
                    <a:gd name="T4" fmla="*/ 4 w 5"/>
                    <a:gd name="T5" fmla="*/ 5 h 11"/>
                    <a:gd name="T6" fmla="*/ 3 w 5"/>
                    <a:gd name="T7" fmla="*/ 11 h 11"/>
                    <a:gd name="T8" fmla="*/ 0 w 5"/>
                    <a:gd name="T9" fmla="*/ 6 h 11"/>
                  </a:gdLst>
                  <a:cxnLst>
                    <a:cxn ang="0">
                      <a:pos x="T0" y="T1"/>
                    </a:cxn>
                    <a:cxn ang="0">
                      <a:pos x="T2" y="T3"/>
                    </a:cxn>
                    <a:cxn ang="0">
                      <a:pos x="T4" y="T5"/>
                    </a:cxn>
                    <a:cxn ang="0">
                      <a:pos x="T6" y="T7"/>
                    </a:cxn>
                    <a:cxn ang="0">
                      <a:pos x="T8" y="T9"/>
                    </a:cxn>
                  </a:cxnLst>
                  <a:rect l="0" t="0" r="r" b="b"/>
                  <a:pathLst>
                    <a:path w="5" h="11">
                      <a:moveTo>
                        <a:pt x="0" y="6"/>
                      </a:moveTo>
                      <a:cubicBezTo>
                        <a:pt x="0" y="3"/>
                        <a:pt x="0" y="0"/>
                        <a:pt x="1" y="0"/>
                      </a:cubicBezTo>
                      <a:cubicBezTo>
                        <a:pt x="3" y="0"/>
                        <a:pt x="4" y="2"/>
                        <a:pt x="4" y="5"/>
                      </a:cubicBezTo>
                      <a:cubicBezTo>
                        <a:pt x="5" y="8"/>
                        <a:pt x="4" y="11"/>
                        <a:pt x="3" y="11"/>
                      </a:cubicBezTo>
                      <a:cubicBezTo>
                        <a:pt x="2" y="11"/>
                        <a:pt x="0" y="9"/>
                        <a:pt x="0"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71" name="Freeform 190">
                  <a:extLst>
                    <a:ext uri="{FF2B5EF4-FFF2-40B4-BE49-F238E27FC236}">
                      <a16:creationId xmlns:a16="http://schemas.microsoft.com/office/drawing/2014/main" id="{2E0C4F0C-68E0-CDB0-5DA7-E24D0A185B90}"/>
                    </a:ext>
                  </a:extLst>
                </p:cNvPr>
                <p:cNvSpPr/>
                <p:nvPr/>
              </p:nvSpPr>
              <p:spPr bwMode="auto">
                <a:xfrm>
                  <a:off x="2314" y="1821"/>
                  <a:ext cx="20" cy="11"/>
                </a:xfrm>
                <a:custGeom>
                  <a:gdLst>
                    <a:gd name="T0" fmla="*/ 6 w 11"/>
                    <a:gd name="T1" fmla="*/ 1 h 6"/>
                    <a:gd name="T2" fmla="*/ 11 w 11"/>
                    <a:gd name="T3" fmla="*/ 5 h 6"/>
                    <a:gd name="T4" fmla="*/ 5 w 11"/>
                    <a:gd name="T5" fmla="*/ 5 h 6"/>
                    <a:gd name="T6" fmla="*/ 0 w 11"/>
                    <a:gd name="T7" fmla="*/ 1 h 6"/>
                    <a:gd name="T8" fmla="*/ 6 w 11"/>
                    <a:gd name="T9" fmla="*/ 1 h 6"/>
                  </a:gdLst>
                  <a:cxnLst>
                    <a:cxn ang="0">
                      <a:pos x="T0" y="T1"/>
                    </a:cxn>
                    <a:cxn ang="0">
                      <a:pos x="T2" y="T3"/>
                    </a:cxn>
                    <a:cxn ang="0">
                      <a:pos x="T4" y="T5"/>
                    </a:cxn>
                    <a:cxn ang="0">
                      <a:pos x="T6" y="T7"/>
                    </a:cxn>
                    <a:cxn ang="0">
                      <a:pos x="T8" y="T9"/>
                    </a:cxn>
                  </a:cxnLst>
                  <a:rect l="0" t="0" r="r" b="b"/>
                  <a:pathLst>
                    <a:path w="11" h="6">
                      <a:moveTo>
                        <a:pt x="6" y="1"/>
                      </a:moveTo>
                      <a:cubicBezTo>
                        <a:pt x="9" y="2"/>
                        <a:pt x="11" y="4"/>
                        <a:pt x="11" y="5"/>
                      </a:cubicBezTo>
                      <a:cubicBezTo>
                        <a:pt x="10" y="6"/>
                        <a:pt x="8" y="6"/>
                        <a:pt x="5" y="5"/>
                      </a:cubicBezTo>
                      <a:cubicBezTo>
                        <a:pt x="2" y="4"/>
                        <a:pt x="0" y="2"/>
                        <a:pt x="0" y="1"/>
                      </a:cubicBezTo>
                      <a:cubicBezTo>
                        <a:pt x="1" y="0"/>
                        <a:pt x="3" y="0"/>
                        <a:pt x="6" y="1"/>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72" name="Freeform 191">
                  <a:extLst>
                    <a:ext uri="{FF2B5EF4-FFF2-40B4-BE49-F238E27FC236}">
                      <a16:creationId xmlns:a16="http://schemas.microsoft.com/office/drawing/2014/main" id="{461C9FEA-5AA6-E0C8-3E20-5910D5738EB1}"/>
                    </a:ext>
                  </a:extLst>
                </p:cNvPr>
                <p:cNvSpPr/>
                <p:nvPr/>
              </p:nvSpPr>
              <p:spPr bwMode="auto">
                <a:xfrm>
                  <a:off x="2310" y="1845"/>
                  <a:ext cx="9" cy="20"/>
                </a:xfrm>
                <a:custGeom>
                  <a:gdLst>
                    <a:gd name="T0" fmla="*/ 4 w 5"/>
                    <a:gd name="T1" fmla="*/ 6 h 11"/>
                    <a:gd name="T2" fmla="*/ 2 w 5"/>
                    <a:gd name="T3" fmla="*/ 11 h 11"/>
                    <a:gd name="T4" fmla="*/ 0 w 5"/>
                    <a:gd name="T5" fmla="*/ 5 h 11"/>
                    <a:gd name="T6" fmla="*/ 3 w 5"/>
                    <a:gd name="T7" fmla="*/ 0 h 11"/>
                    <a:gd name="T8" fmla="*/ 4 w 5"/>
                    <a:gd name="T9" fmla="*/ 6 h 11"/>
                  </a:gdLst>
                  <a:cxnLst>
                    <a:cxn ang="0">
                      <a:pos x="T0" y="T1"/>
                    </a:cxn>
                    <a:cxn ang="0">
                      <a:pos x="T2" y="T3"/>
                    </a:cxn>
                    <a:cxn ang="0">
                      <a:pos x="T4" y="T5"/>
                    </a:cxn>
                    <a:cxn ang="0">
                      <a:pos x="T6" y="T7"/>
                    </a:cxn>
                    <a:cxn ang="0">
                      <a:pos x="T8" y="T9"/>
                    </a:cxn>
                  </a:cxnLst>
                  <a:rect l="0" t="0" r="r" b="b"/>
                  <a:pathLst>
                    <a:path w="5" h="11">
                      <a:moveTo>
                        <a:pt x="4" y="6"/>
                      </a:moveTo>
                      <a:cubicBezTo>
                        <a:pt x="4" y="9"/>
                        <a:pt x="3" y="11"/>
                        <a:pt x="2" y="11"/>
                      </a:cubicBezTo>
                      <a:cubicBezTo>
                        <a:pt x="0" y="11"/>
                        <a:pt x="0" y="8"/>
                        <a:pt x="0" y="5"/>
                      </a:cubicBezTo>
                      <a:cubicBezTo>
                        <a:pt x="0" y="2"/>
                        <a:pt x="2" y="0"/>
                        <a:pt x="3" y="0"/>
                      </a:cubicBezTo>
                      <a:cubicBezTo>
                        <a:pt x="4" y="0"/>
                        <a:pt x="5" y="3"/>
                        <a:pt x="4"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73" name="Freeform 192">
                  <a:extLst>
                    <a:ext uri="{FF2B5EF4-FFF2-40B4-BE49-F238E27FC236}">
                      <a16:creationId xmlns:a16="http://schemas.microsoft.com/office/drawing/2014/main" id="{5BE4EA77-5000-A826-655B-E6F133501B4D}"/>
                    </a:ext>
                  </a:extLst>
                </p:cNvPr>
                <p:cNvSpPr/>
                <p:nvPr/>
              </p:nvSpPr>
              <p:spPr bwMode="auto">
                <a:xfrm>
                  <a:off x="2380" y="1876"/>
                  <a:ext cx="9" cy="20"/>
                </a:xfrm>
                <a:custGeom>
                  <a:gdLst>
                    <a:gd name="T0" fmla="*/ 5 w 5"/>
                    <a:gd name="T1" fmla="*/ 6 h 11"/>
                    <a:gd name="T2" fmla="*/ 2 w 5"/>
                    <a:gd name="T3" fmla="*/ 11 h 11"/>
                    <a:gd name="T4" fmla="*/ 1 w 5"/>
                    <a:gd name="T5" fmla="*/ 5 h 11"/>
                    <a:gd name="T6" fmla="*/ 4 w 5"/>
                    <a:gd name="T7" fmla="*/ 0 h 11"/>
                    <a:gd name="T8" fmla="*/ 5 w 5"/>
                    <a:gd name="T9" fmla="*/ 6 h 11"/>
                  </a:gdLst>
                  <a:cxnLst>
                    <a:cxn ang="0">
                      <a:pos x="T0" y="T1"/>
                    </a:cxn>
                    <a:cxn ang="0">
                      <a:pos x="T2" y="T3"/>
                    </a:cxn>
                    <a:cxn ang="0">
                      <a:pos x="T4" y="T5"/>
                    </a:cxn>
                    <a:cxn ang="0">
                      <a:pos x="T6" y="T7"/>
                    </a:cxn>
                    <a:cxn ang="0">
                      <a:pos x="T8" y="T9"/>
                    </a:cxn>
                  </a:cxnLst>
                  <a:rect l="0" t="0" r="r" b="b"/>
                  <a:pathLst>
                    <a:path w="5" h="11">
                      <a:moveTo>
                        <a:pt x="5" y="6"/>
                      </a:moveTo>
                      <a:cubicBezTo>
                        <a:pt x="5" y="9"/>
                        <a:pt x="3" y="11"/>
                        <a:pt x="2" y="11"/>
                      </a:cubicBezTo>
                      <a:cubicBezTo>
                        <a:pt x="1" y="11"/>
                        <a:pt x="0" y="8"/>
                        <a:pt x="1" y="5"/>
                      </a:cubicBezTo>
                      <a:cubicBezTo>
                        <a:pt x="1" y="2"/>
                        <a:pt x="2" y="0"/>
                        <a:pt x="4" y="0"/>
                      </a:cubicBezTo>
                      <a:cubicBezTo>
                        <a:pt x="5" y="0"/>
                        <a:pt x="5" y="3"/>
                        <a:pt x="5"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74" name="Freeform 193">
                  <a:extLst>
                    <a:ext uri="{FF2B5EF4-FFF2-40B4-BE49-F238E27FC236}">
                      <a16:creationId xmlns:a16="http://schemas.microsoft.com/office/drawing/2014/main" id="{500ABB4A-8C33-0420-1737-CBA8C783C614}"/>
                    </a:ext>
                  </a:extLst>
                </p:cNvPr>
                <p:cNvSpPr/>
                <p:nvPr/>
              </p:nvSpPr>
              <p:spPr bwMode="auto">
                <a:xfrm>
                  <a:off x="2376" y="1829"/>
                  <a:ext cx="11" cy="20"/>
                </a:xfrm>
                <a:custGeom>
                  <a:gdLst>
                    <a:gd name="T0" fmla="*/ 5 w 6"/>
                    <a:gd name="T1" fmla="*/ 5 h 11"/>
                    <a:gd name="T2" fmla="*/ 5 w 6"/>
                    <a:gd name="T3" fmla="*/ 11 h 11"/>
                    <a:gd name="T4" fmla="*/ 1 w 6"/>
                    <a:gd name="T5" fmla="*/ 6 h 11"/>
                    <a:gd name="T6" fmla="*/ 1 w 6"/>
                    <a:gd name="T7" fmla="*/ 1 h 11"/>
                    <a:gd name="T8" fmla="*/ 5 w 6"/>
                    <a:gd name="T9" fmla="*/ 5 h 11"/>
                  </a:gdLst>
                  <a:cxnLst>
                    <a:cxn ang="0">
                      <a:pos x="T0" y="T1"/>
                    </a:cxn>
                    <a:cxn ang="0">
                      <a:pos x="T2" y="T3"/>
                    </a:cxn>
                    <a:cxn ang="0">
                      <a:pos x="T4" y="T5"/>
                    </a:cxn>
                    <a:cxn ang="0">
                      <a:pos x="T6" y="T7"/>
                    </a:cxn>
                    <a:cxn ang="0">
                      <a:pos x="T8" y="T9"/>
                    </a:cxn>
                  </a:cxnLst>
                  <a:rect l="0" t="0" r="r" b="b"/>
                  <a:pathLst>
                    <a:path w="6" h="11">
                      <a:moveTo>
                        <a:pt x="5" y="5"/>
                      </a:moveTo>
                      <a:cubicBezTo>
                        <a:pt x="6" y="8"/>
                        <a:pt x="6" y="10"/>
                        <a:pt x="5" y="11"/>
                      </a:cubicBezTo>
                      <a:cubicBezTo>
                        <a:pt x="4" y="11"/>
                        <a:pt x="2" y="9"/>
                        <a:pt x="1" y="6"/>
                      </a:cubicBezTo>
                      <a:cubicBezTo>
                        <a:pt x="0" y="4"/>
                        <a:pt x="0" y="1"/>
                        <a:pt x="1" y="1"/>
                      </a:cubicBezTo>
                      <a:cubicBezTo>
                        <a:pt x="3" y="0"/>
                        <a:pt x="4" y="2"/>
                        <a:pt x="5" y="5"/>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75" name="Freeform 194">
                  <a:extLst>
                    <a:ext uri="{FF2B5EF4-FFF2-40B4-BE49-F238E27FC236}">
                      <a16:creationId xmlns:a16="http://schemas.microsoft.com/office/drawing/2014/main" id="{B5C018A5-F00C-37AA-B3CF-4A49F0DAEE0D}"/>
                    </a:ext>
                  </a:extLst>
                </p:cNvPr>
                <p:cNvSpPr/>
                <p:nvPr/>
              </p:nvSpPr>
              <p:spPr bwMode="auto">
                <a:xfrm>
                  <a:off x="2310" y="1918"/>
                  <a:ext cx="9" cy="20"/>
                </a:xfrm>
                <a:custGeom>
                  <a:gdLst>
                    <a:gd name="T0" fmla="*/ 5 w 5"/>
                    <a:gd name="T1" fmla="*/ 6 h 11"/>
                    <a:gd name="T2" fmla="*/ 2 w 5"/>
                    <a:gd name="T3" fmla="*/ 11 h 11"/>
                    <a:gd name="T4" fmla="*/ 0 w 5"/>
                    <a:gd name="T5" fmla="*/ 5 h 11"/>
                    <a:gd name="T6" fmla="*/ 3 w 5"/>
                    <a:gd name="T7" fmla="*/ 0 h 11"/>
                    <a:gd name="T8" fmla="*/ 5 w 5"/>
                    <a:gd name="T9" fmla="*/ 6 h 11"/>
                  </a:gdLst>
                  <a:cxnLst>
                    <a:cxn ang="0">
                      <a:pos x="T0" y="T1"/>
                    </a:cxn>
                    <a:cxn ang="0">
                      <a:pos x="T2" y="T3"/>
                    </a:cxn>
                    <a:cxn ang="0">
                      <a:pos x="T4" y="T5"/>
                    </a:cxn>
                    <a:cxn ang="0">
                      <a:pos x="T6" y="T7"/>
                    </a:cxn>
                    <a:cxn ang="0">
                      <a:pos x="T8" y="T9"/>
                    </a:cxn>
                  </a:cxnLst>
                  <a:rect l="0" t="0" r="r" b="b"/>
                  <a:pathLst>
                    <a:path w="5" h="11">
                      <a:moveTo>
                        <a:pt x="5" y="6"/>
                      </a:moveTo>
                      <a:cubicBezTo>
                        <a:pt x="4" y="9"/>
                        <a:pt x="3" y="11"/>
                        <a:pt x="2" y="11"/>
                      </a:cubicBezTo>
                      <a:cubicBezTo>
                        <a:pt x="1" y="11"/>
                        <a:pt x="0" y="8"/>
                        <a:pt x="0" y="5"/>
                      </a:cubicBezTo>
                      <a:cubicBezTo>
                        <a:pt x="1" y="2"/>
                        <a:pt x="2" y="0"/>
                        <a:pt x="3" y="0"/>
                      </a:cubicBezTo>
                      <a:cubicBezTo>
                        <a:pt x="5" y="0"/>
                        <a:pt x="5" y="3"/>
                        <a:pt x="5"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76" name="Freeform 195">
                  <a:extLst>
                    <a:ext uri="{FF2B5EF4-FFF2-40B4-BE49-F238E27FC236}">
                      <a16:creationId xmlns:a16="http://schemas.microsoft.com/office/drawing/2014/main" id="{D0E1E617-6936-EE11-1DF0-866E9546291B}"/>
                    </a:ext>
                  </a:extLst>
                </p:cNvPr>
                <p:cNvSpPr/>
                <p:nvPr/>
              </p:nvSpPr>
              <p:spPr bwMode="auto">
                <a:xfrm>
                  <a:off x="2372" y="1918"/>
                  <a:ext cx="18" cy="17"/>
                </a:xfrm>
                <a:custGeom>
                  <a:gdLst>
                    <a:gd name="T0" fmla="*/ 6 w 10"/>
                    <a:gd name="T1" fmla="*/ 6 h 9"/>
                    <a:gd name="T2" fmla="*/ 1 w 10"/>
                    <a:gd name="T3" fmla="*/ 8 h 9"/>
                    <a:gd name="T4" fmla="*/ 4 w 10"/>
                    <a:gd name="T5" fmla="*/ 3 h 9"/>
                    <a:gd name="T6" fmla="*/ 9 w 10"/>
                    <a:gd name="T7" fmla="*/ 1 h 9"/>
                    <a:gd name="T8" fmla="*/ 6 w 10"/>
                    <a:gd name="T9" fmla="*/ 6 h 9"/>
                  </a:gdLst>
                  <a:cxnLst>
                    <a:cxn ang="0">
                      <a:pos x="T0" y="T1"/>
                    </a:cxn>
                    <a:cxn ang="0">
                      <a:pos x="T2" y="T3"/>
                    </a:cxn>
                    <a:cxn ang="0">
                      <a:pos x="T4" y="T5"/>
                    </a:cxn>
                    <a:cxn ang="0">
                      <a:pos x="T6" y="T7"/>
                    </a:cxn>
                    <a:cxn ang="0">
                      <a:pos x="T8" y="T9"/>
                    </a:cxn>
                  </a:cxnLst>
                  <a:rect l="0" t="0" r="r" b="b"/>
                  <a:pathLst>
                    <a:path w="10" h="9">
                      <a:moveTo>
                        <a:pt x="6" y="6"/>
                      </a:moveTo>
                      <a:cubicBezTo>
                        <a:pt x="4" y="8"/>
                        <a:pt x="2" y="9"/>
                        <a:pt x="1" y="8"/>
                      </a:cubicBezTo>
                      <a:cubicBezTo>
                        <a:pt x="0" y="7"/>
                        <a:pt x="1" y="5"/>
                        <a:pt x="4" y="3"/>
                      </a:cubicBezTo>
                      <a:cubicBezTo>
                        <a:pt x="6" y="1"/>
                        <a:pt x="8" y="0"/>
                        <a:pt x="9" y="1"/>
                      </a:cubicBezTo>
                      <a:cubicBezTo>
                        <a:pt x="10" y="2"/>
                        <a:pt x="9" y="4"/>
                        <a:pt x="6"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77" name="Freeform 196">
                  <a:extLst>
                    <a:ext uri="{FF2B5EF4-FFF2-40B4-BE49-F238E27FC236}">
                      <a16:creationId xmlns:a16="http://schemas.microsoft.com/office/drawing/2014/main" id="{BC064A00-2324-4D21-C95A-CC38DB7C1C64}"/>
                    </a:ext>
                  </a:extLst>
                </p:cNvPr>
                <p:cNvSpPr/>
                <p:nvPr/>
              </p:nvSpPr>
              <p:spPr bwMode="auto">
                <a:xfrm>
                  <a:off x="2307" y="1882"/>
                  <a:ext cx="10" cy="20"/>
                </a:xfrm>
                <a:custGeom>
                  <a:gdLst>
                    <a:gd name="T0" fmla="*/ 5 w 6"/>
                    <a:gd name="T1" fmla="*/ 5 h 11"/>
                    <a:gd name="T2" fmla="*/ 5 w 6"/>
                    <a:gd name="T3" fmla="*/ 11 h 11"/>
                    <a:gd name="T4" fmla="*/ 1 w 6"/>
                    <a:gd name="T5" fmla="*/ 6 h 11"/>
                    <a:gd name="T6" fmla="*/ 1 w 6"/>
                    <a:gd name="T7" fmla="*/ 1 h 11"/>
                    <a:gd name="T8" fmla="*/ 5 w 6"/>
                    <a:gd name="T9" fmla="*/ 5 h 11"/>
                  </a:gdLst>
                  <a:cxnLst>
                    <a:cxn ang="0">
                      <a:pos x="T0" y="T1"/>
                    </a:cxn>
                    <a:cxn ang="0">
                      <a:pos x="T2" y="T3"/>
                    </a:cxn>
                    <a:cxn ang="0">
                      <a:pos x="T4" y="T5"/>
                    </a:cxn>
                    <a:cxn ang="0">
                      <a:pos x="T6" y="T7"/>
                    </a:cxn>
                    <a:cxn ang="0">
                      <a:pos x="T8" y="T9"/>
                    </a:cxn>
                  </a:cxnLst>
                  <a:rect l="0" t="0" r="r" b="b"/>
                  <a:pathLst>
                    <a:path w="6" h="11">
                      <a:moveTo>
                        <a:pt x="5" y="5"/>
                      </a:moveTo>
                      <a:cubicBezTo>
                        <a:pt x="6" y="8"/>
                        <a:pt x="6" y="10"/>
                        <a:pt x="5" y="11"/>
                      </a:cubicBezTo>
                      <a:cubicBezTo>
                        <a:pt x="4" y="11"/>
                        <a:pt x="2" y="9"/>
                        <a:pt x="1" y="6"/>
                      </a:cubicBezTo>
                      <a:cubicBezTo>
                        <a:pt x="0" y="4"/>
                        <a:pt x="0" y="1"/>
                        <a:pt x="1" y="1"/>
                      </a:cubicBezTo>
                      <a:cubicBezTo>
                        <a:pt x="2" y="0"/>
                        <a:pt x="4" y="2"/>
                        <a:pt x="5" y="5"/>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78" name="Freeform 197">
                  <a:extLst>
                    <a:ext uri="{FF2B5EF4-FFF2-40B4-BE49-F238E27FC236}">
                      <a16:creationId xmlns:a16="http://schemas.microsoft.com/office/drawing/2014/main" id="{0FFAD75B-02E8-2741-572D-51F27EA1BAEB}"/>
                    </a:ext>
                  </a:extLst>
                </p:cNvPr>
                <p:cNvSpPr/>
                <p:nvPr/>
              </p:nvSpPr>
              <p:spPr bwMode="auto">
                <a:xfrm>
                  <a:off x="2316" y="1951"/>
                  <a:ext cx="11" cy="20"/>
                </a:xfrm>
                <a:custGeom>
                  <a:gdLst>
                    <a:gd name="T0" fmla="*/ 5 w 6"/>
                    <a:gd name="T1" fmla="*/ 5 h 11"/>
                    <a:gd name="T2" fmla="*/ 5 w 6"/>
                    <a:gd name="T3" fmla="*/ 11 h 11"/>
                    <a:gd name="T4" fmla="*/ 1 w 6"/>
                    <a:gd name="T5" fmla="*/ 6 h 11"/>
                    <a:gd name="T6" fmla="*/ 1 w 6"/>
                    <a:gd name="T7" fmla="*/ 0 h 11"/>
                    <a:gd name="T8" fmla="*/ 5 w 6"/>
                    <a:gd name="T9" fmla="*/ 5 h 11"/>
                  </a:gdLst>
                  <a:cxnLst>
                    <a:cxn ang="0">
                      <a:pos x="T0" y="T1"/>
                    </a:cxn>
                    <a:cxn ang="0">
                      <a:pos x="T2" y="T3"/>
                    </a:cxn>
                    <a:cxn ang="0">
                      <a:pos x="T4" y="T5"/>
                    </a:cxn>
                    <a:cxn ang="0">
                      <a:pos x="T6" y="T7"/>
                    </a:cxn>
                    <a:cxn ang="0">
                      <a:pos x="T8" y="T9"/>
                    </a:cxn>
                  </a:cxnLst>
                  <a:rect l="0" t="0" r="r" b="b"/>
                  <a:pathLst>
                    <a:path w="6" h="11">
                      <a:moveTo>
                        <a:pt x="5" y="5"/>
                      </a:moveTo>
                      <a:cubicBezTo>
                        <a:pt x="6" y="8"/>
                        <a:pt x="6" y="10"/>
                        <a:pt x="5" y="11"/>
                      </a:cubicBezTo>
                      <a:cubicBezTo>
                        <a:pt x="3" y="11"/>
                        <a:pt x="2" y="9"/>
                        <a:pt x="1" y="6"/>
                      </a:cubicBezTo>
                      <a:cubicBezTo>
                        <a:pt x="0" y="3"/>
                        <a:pt x="0" y="1"/>
                        <a:pt x="1" y="0"/>
                      </a:cubicBezTo>
                      <a:cubicBezTo>
                        <a:pt x="2" y="0"/>
                        <a:pt x="4" y="2"/>
                        <a:pt x="5" y="5"/>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79" name="Freeform 198">
                  <a:extLst>
                    <a:ext uri="{FF2B5EF4-FFF2-40B4-BE49-F238E27FC236}">
                      <a16:creationId xmlns:a16="http://schemas.microsoft.com/office/drawing/2014/main" id="{481283D3-5632-7F7E-0F4E-DCF48C603B01}"/>
                    </a:ext>
                  </a:extLst>
                </p:cNvPr>
                <p:cNvSpPr/>
                <p:nvPr/>
              </p:nvSpPr>
              <p:spPr bwMode="auto">
                <a:xfrm>
                  <a:off x="2188" y="1770"/>
                  <a:ext cx="133" cy="55"/>
                </a:xfrm>
                <a:custGeom>
                  <a:gdLst>
                    <a:gd name="T0" fmla="*/ 47 w 73"/>
                    <a:gd name="T1" fmla="*/ 0 h 30"/>
                    <a:gd name="T2" fmla="*/ 19 w 73"/>
                    <a:gd name="T3" fmla="*/ 0 h 30"/>
                    <a:gd name="T4" fmla="*/ 4 w 73"/>
                    <a:gd name="T5" fmla="*/ 17 h 30"/>
                    <a:gd name="T6" fmla="*/ 5 w 73"/>
                    <a:gd name="T7" fmla="*/ 30 h 30"/>
                    <a:gd name="T8" fmla="*/ 12 w 73"/>
                    <a:gd name="T9" fmla="*/ 22 h 30"/>
                    <a:gd name="T10" fmla="*/ 38 w 73"/>
                    <a:gd name="T11" fmla="*/ 9 h 30"/>
                    <a:gd name="T12" fmla="*/ 47 w 73"/>
                    <a:gd name="T13" fmla="*/ 9 h 30"/>
                    <a:gd name="T14" fmla="*/ 63 w 73"/>
                    <a:gd name="T15" fmla="*/ 0 h 30"/>
                    <a:gd name="T16" fmla="*/ 47 w 73"/>
                    <a:gd name="T17" fmla="*/ 0 h 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30">
                      <a:moveTo>
                        <a:pt x="47" y="0"/>
                      </a:moveTo>
                      <a:cubicBezTo>
                        <a:pt x="34" y="0"/>
                        <a:pt x="19" y="0"/>
                        <a:pt x="19" y="0"/>
                      </a:cubicBezTo>
                      <a:cubicBezTo>
                        <a:pt x="15" y="1"/>
                        <a:pt x="11" y="6"/>
                        <a:pt x="4" y="17"/>
                      </a:cubicBezTo>
                      <a:cubicBezTo>
                        <a:pt x="0" y="24"/>
                        <a:pt x="2" y="30"/>
                        <a:pt x="5" y="30"/>
                      </a:cubicBezTo>
                      <a:cubicBezTo>
                        <a:pt x="7" y="30"/>
                        <a:pt x="10" y="27"/>
                        <a:pt x="12" y="22"/>
                      </a:cubicBezTo>
                      <a:cubicBezTo>
                        <a:pt x="16" y="10"/>
                        <a:pt x="26" y="9"/>
                        <a:pt x="38" y="9"/>
                      </a:cubicBezTo>
                      <a:cubicBezTo>
                        <a:pt x="41" y="9"/>
                        <a:pt x="44" y="9"/>
                        <a:pt x="47" y="9"/>
                      </a:cubicBezTo>
                      <a:cubicBezTo>
                        <a:pt x="62" y="9"/>
                        <a:pt x="73" y="2"/>
                        <a:pt x="63" y="0"/>
                      </a:cubicBezTo>
                      <a:cubicBezTo>
                        <a:pt x="59" y="0"/>
                        <a:pt x="53" y="0"/>
                        <a:pt x="47" y="0"/>
                      </a:cubicBezTo>
                    </a:path>
                  </a:pathLst>
                </a:custGeom>
                <a:solidFill>
                  <a:srgbClr val="752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80" name="Freeform 199">
                  <a:extLst>
                    <a:ext uri="{FF2B5EF4-FFF2-40B4-BE49-F238E27FC236}">
                      <a16:creationId xmlns:a16="http://schemas.microsoft.com/office/drawing/2014/main" id="{E266F4FD-FF00-BE15-BD51-6CC10F89DFA1}"/>
                    </a:ext>
                  </a:extLst>
                </p:cNvPr>
                <p:cNvSpPr/>
                <p:nvPr/>
              </p:nvSpPr>
              <p:spPr bwMode="auto">
                <a:xfrm>
                  <a:off x="3228" y="3851"/>
                  <a:ext cx="1357" cy="774"/>
                </a:xfrm>
                <a:custGeom>
                  <a:gdLst>
                    <a:gd name="T0" fmla="*/ 724 w 744"/>
                    <a:gd name="T1" fmla="*/ 0 h 424"/>
                    <a:gd name="T2" fmla="*/ 372 w 744"/>
                    <a:gd name="T3" fmla="*/ 118 h 424"/>
                    <a:gd name="T4" fmla="*/ 20 w 744"/>
                    <a:gd name="T5" fmla="*/ 0 h 424"/>
                    <a:gd name="T6" fmla="*/ 51 w 744"/>
                    <a:gd name="T7" fmla="*/ 424 h 424"/>
                    <a:gd name="T8" fmla="*/ 372 w 744"/>
                    <a:gd name="T9" fmla="*/ 424 h 424"/>
                    <a:gd name="T10" fmla="*/ 693 w 744"/>
                    <a:gd name="T11" fmla="*/ 424 h 424"/>
                    <a:gd name="T12" fmla="*/ 724 w 744"/>
                    <a:gd name="T13" fmla="*/ 0 h 424"/>
                  </a:gdLst>
                  <a:cxnLst>
                    <a:cxn ang="0">
                      <a:pos x="T0" y="T1"/>
                    </a:cxn>
                    <a:cxn ang="0">
                      <a:pos x="T2" y="T3"/>
                    </a:cxn>
                    <a:cxn ang="0">
                      <a:pos x="T4" y="T5"/>
                    </a:cxn>
                    <a:cxn ang="0">
                      <a:pos x="T6" y="T7"/>
                    </a:cxn>
                    <a:cxn ang="0">
                      <a:pos x="T8" y="T9"/>
                    </a:cxn>
                    <a:cxn ang="0">
                      <a:pos x="T10" y="T11"/>
                    </a:cxn>
                    <a:cxn ang="0">
                      <a:pos x="T12" y="T13"/>
                    </a:cxn>
                  </a:cxnLst>
                  <a:rect l="0" t="0" r="r" b="b"/>
                  <a:pathLst>
                    <a:path w="744" h="423">
                      <a:moveTo>
                        <a:pt x="724" y="0"/>
                      </a:moveTo>
                      <a:cubicBezTo>
                        <a:pt x="372" y="118"/>
                        <a:pt x="372" y="118"/>
                        <a:pt x="372" y="118"/>
                      </a:cubicBezTo>
                      <a:cubicBezTo>
                        <a:pt x="20" y="0"/>
                        <a:pt x="20" y="0"/>
                        <a:pt x="20" y="0"/>
                      </a:cubicBezTo>
                      <a:cubicBezTo>
                        <a:pt x="20" y="0"/>
                        <a:pt x="0" y="247"/>
                        <a:pt x="51" y="424"/>
                      </a:cubicBezTo>
                      <a:cubicBezTo>
                        <a:pt x="289" y="424"/>
                        <a:pt x="372" y="424"/>
                        <a:pt x="372" y="424"/>
                      </a:cubicBezTo>
                      <a:cubicBezTo>
                        <a:pt x="372" y="424"/>
                        <a:pt x="455" y="424"/>
                        <a:pt x="693" y="424"/>
                      </a:cubicBezTo>
                      <a:cubicBezTo>
                        <a:pt x="744" y="247"/>
                        <a:pt x="724" y="0"/>
                        <a:pt x="724" y="0"/>
                      </a:cubicBezTo>
                    </a:path>
                  </a:pathLst>
                </a:cu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81" name="Freeform 200">
                  <a:extLst>
                    <a:ext uri="{FF2B5EF4-FFF2-40B4-BE49-F238E27FC236}">
                      <a16:creationId xmlns:a16="http://schemas.microsoft.com/office/drawing/2014/main" id="{1FBFD20C-2B55-C08D-19BA-4C00E3E44476}"/>
                    </a:ext>
                  </a:extLst>
                </p:cNvPr>
                <p:cNvSpPr/>
                <p:nvPr/>
              </p:nvSpPr>
              <p:spPr bwMode="auto">
                <a:xfrm>
                  <a:off x="3824" y="4097"/>
                  <a:ext cx="165" cy="475"/>
                </a:xfrm>
                <a:custGeom>
                  <a:gdLst>
                    <a:gd name="T0" fmla="*/ 86 w 90"/>
                    <a:gd name="T1" fmla="*/ 0 h 260"/>
                    <a:gd name="T2" fmla="*/ 85 w 90"/>
                    <a:gd name="T3" fmla="*/ 8 h 260"/>
                    <a:gd name="T4" fmla="*/ 74 w 90"/>
                    <a:gd name="T5" fmla="*/ 121 h 260"/>
                    <a:gd name="T6" fmla="*/ 43 w 90"/>
                    <a:gd name="T7" fmla="*/ 254 h 260"/>
                    <a:gd name="T8" fmla="*/ 45 w 90"/>
                    <a:gd name="T9" fmla="*/ 255 h 260"/>
                    <a:gd name="T10" fmla="*/ 47 w 90"/>
                    <a:gd name="T11" fmla="*/ 254 h 260"/>
                    <a:gd name="T12" fmla="*/ 24 w 90"/>
                    <a:gd name="T13" fmla="*/ 191 h 260"/>
                    <a:gd name="T14" fmla="*/ 7 w 90"/>
                    <a:gd name="T15" fmla="*/ 71 h 260"/>
                    <a:gd name="T16" fmla="*/ 5 w 90"/>
                    <a:gd name="T17" fmla="*/ 26 h 260"/>
                    <a:gd name="T18" fmla="*/ 5 w 90"/>
                    <a:gd name="T19" fmla="*/ 13 h 260"/>
                    <a:gd name="T20" fmla="*/ 4 w 90"/>
                    <a:gd name="T21" fmla="*/ 9 h 260"/>
                    <a:gd name="T22" fmla="*/ 0 w 90"/>
                    <a:gd name="T23" fmla="*/ 9 h 260"/>
                    <a:gd name="T24" fmla="*/ 6 w 90"/>
                    <a:gd name="T25" fmla="*/ 110 h 260"/>
                    <a:gd name="T26" fmla="*/ 19 w 90"/>
                    <a:gd name="T27" fmla="*/ 192 h 260"/>
                    <a:gd name="T28" fmla="*/ 43 w 90"/>
                    <a:gd name="T29" fmla="*/ 256 h 260"/>
                    <a:gd name="T30" fmla="*/ 46 w 90"/>
                    <a:gd name="T31" fmla="*/ 260 h 260"/>
                    <a:gd name="T32" fmla="*/ 47 w 90"/>
                    <a:gd name="T33" fmla="*/ 256 h 260"/>
                    <a:gd name="T34" fmla="*/ 81 w 90"/>
                    <a:gd name="T35" fmla="*/ 101 h 260"/>
                    <a:gd name="T36" fmla="*/ 90 w 90"/>
                    <a:gd name="T37" fmla="*/ 0 h 260"/>
                    <a:gd name="T38" fmla="*/ 86 w 90"/>
                    <a:gd name="T39" fmla="*/ 0 h 260"/>
                    <a:gd name="T40" fmla="*/ 86 w 90"/>
                    <a:gd name="T41" fmla="*/ 0 h 2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0" h="260">
                      <a:moveTo>
                        <a:pt x="86" y="0"/>
                      </a:moveTo>
                      <a:cubicBezTo>
                        <a:pt x="86" y="0"/>
                        <a:pt x="86" y="3"/>
                        <a:pt x="85" y="8"/>
                      </a:cubicBezTo>
                      <a:cubicBezTo>
                        <a:pt x="84" y="26"/>
                        <a:pt x="80" y="72"/>
                        <a:pt x="74" y="121"/>
                      </a:cubicBezTo>
                      <a:cubicBezTo>
                        <a:pt x="67" y="171"/>
                        <a:pt x="57" y="223"/>
                        <a:pt x="43" y="254"/>
                      </a:cubicBezTo>
                      <a:cubicBezTo>
                        <a:pt x="45" y="255"/>
                        <a:pt x="45" y="255"/>
                        <a:pt x="45" y="255"/>
                      </a:cubicBezTo>
                      <a:cubicBezTo>
                        <a:pt x="47" y="254"/>
                        <a:pt x="47" y="254"/>
                        <a:pt x="47" y="254"/>
                      </a:cubicBezTo>
                      <a:cubicBezTo>
                        <a:pt x="37" y="239"/>
                        <a:pt x="29" y="216"/>
                        <a:pt x="24" y="191"/>
                      </a:cubicBezTo>
                      <a:cubicBezTo>
                        <a:pt x="15" y="152"/>
                        <a:pt x="10" y="106"/>
                        <a:pt x="7" y="71"/>
                      </a:cubicBezTo>
                      <a:cubicBezTo>
                        <a:pt x="6" y="53"/>
                        <a:pt x="5" y="37"/>
                        <a:pt x="5" y="26"/>
                      </a:cubicBezTo>
                      <a:cubicBezTo>
                        <a:pt x="5" y="21"/>
                        <a:pt x="5" y="16"/>
                        <a:pt x="5" y="13"/>
                      </a:cubicBezTo>
                      <a:cubicBezTo>
                        <a:pt x="4" y="10"/>
                        <a:pt x="4" y="9"/>
                        <a:pt x="4" y="9"/>
                      </a:cubicBezTo>
                      <a:cubicBezTo>
                        <a:pt x="0" y="9"/>
                        <a:pt x="0" y="9"/>
                        <a:pt x="0" y="9"/>
                      </a:cubicBezTo>
                      <a:cubicBezTo>
                        <a:pt x="0" y="9"/>
                        <a:pt x="1" y="55"/>
                        <a:pt x="6" y="110"/>
                      </a:cubicBezTo>
                      <a:cubicBezTo>
                        <a:pt x="9" y="137"/>
                        <a:pt x="13" y="166"/>
                        <a:pt x="19" y="192"/>
                      </a:cubicBezTo>
                      <a:cubicBezTo>
                        <a:pt x="25" y="218"/>
                        <a:pt x="33" y="241"/>
                        <a:pt x="43" y="256"/>
                      </a:cubicBezTo>
                      <a:cubicBezTo>
                        <a:pt x="46" y="260"/>
                        <a:pt x="46" y="260"/>
                        <a:pt x="46" y="260"/>
                      </a:cubicBezTo>
                      <a:cubicBezTo>
                        <a:pt x="47" y="256"/>
                        <a:pt x="47" y="256"/>
                        <a:pt x="47" y="256"/>
                      </a:cubicBezTo>
                      <a:cubicBezTo>
                        <a:pt x="63" y="220"/>
                        <a:pt x="74" y="156"/>
                        <a:pt x="81" y="101"/>
                      </a:cubicBezTo>
                      <a:cubicBezTo>
                        <a:pt x="87" y="46"/>
                        <a:pt x="90" y="0"/>
                        <a:pt x="90" y="0"/>
                      </a:cubicBezTo>
                      <a:cubicBezTo>
                        <a:pt x="86" y="0"/>
                        <a:pt x="86" y="0"/>
                        <a:pt x="86" y="0"/>
                      </a:cubicBezTo>
                      <a:cubicBezTo>
                        <a:pt x="86" y="0"/>
                        <a:pt x="86" y="0"/>
                        <a:pt x="86" y="0"/>
                      </a:cubicBezTo>
                    </a:path>
                  </a:pathLst>
                </a:custGeom>
                <a:solidFill>
                  <a:srgbClr val="9B94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82" name="Freeform 201">
                  <a:extLst>
                    <a:ext uri="{FF2B5EF4-FFF2-40B4-BE49-F238E27FC236}">
                      <a16:creationId xmlns:a16="http://schemas.microsoft.com/office/drawing/2014/main" id="{5F0B6EC0-C5FA-F82F-A32F-445E305DEA4E}"/>
                    </a:ext>
                  </a:extLst>
                </p:cNvPr>
                <p:cNvSpPr/>
                <p:nvPr/>
              </p:nvSpPr>
              <p:spPr bwMode="auto">
                <a:xfrm>
                  <a:off x="4394" y="4024"/>
                  <a:ext cx="78" cy="603"/>
                </a:xfrm>
                <a:custGeom>
                  <a:gdLst>
                    <a:gd name="T0" fmla="*/ 39 w 43"/>
                    <a:gd name="T1" fmla="*/ 0 h 330"/>
                    <a:gd name="T2" fmla="*/ 39 w 43"/>
                    <a:gd name="T3" fmla="*/ 10 h 330"/>
                    <a:gd name="T4" fmla="*/ 31 w 43"/>
                    <a:gd name="T5" fmla="*/ 151 h 330"/>
                    <a:gd name="T6" fmla="*/ 0 w 43"/>
                    <a:gd name="T7" fmla="*/ 329 h 330"/>
                    <a:gd name="T8" fmla="*/ 4 w 43"/>
                    <a:gd name="T9" fmla="*/ 330 h 330"/>
                    <a:gd name="T10" fmla="*/ 38 w 43"/>
                    <a:gd name="T11" fmla="*/ 125 h 330"/>
                    <a:gd name="T12" fmla="*/ 43 w 43"/>
                    <a:gd name="T13" fmla="*/ 0 h 330"/>
                    <a:gd name="T14" fmla="*/ 39 w 43"/>
                    <a:gd name="T15" fmla="*/ 0 h 330"/>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330">
                      <a:moveTo>
                        <a:pt x="39" y="0"/>
                      </a:moveTo>
                      <a:cubicBezTo>
                        <a:pt x="39" y="0"/>
                        <a:pt x="39" y="4"/>
                        <a:pt x="39" y="10"/>
                      </a:cubicBezTo>
                      <a:cubicBezTo>
                        <a:pt x="38" y="32"/>
                        <a:pt x="37" y="89"/>
                        <a:pt x="31" y="151"/>
                      </a:cubicBezTo>
                      <a:cubicBezTo>
                        <a:pt x="26" y="214"/>
                        <a:pt x="16" y="283"/>
                        <a:pt x="0" y="329"/>
                      </a:cubicBezTo>
                      <a:cubicBezTo>
                        <a:pt x="4" y="330"/>
                        <a:pt x="4" y="330"/>
                        <a:pt x="4" y="330"/>
                      </a:cubicBezTo>
                      <a:cubicBezTo>
                        <a:pt x="23" y="277"/>
                        <a:pt x="33" y="194"/>
                        <a:pt x="38" y="125"/>
                      </a:cubicBezTo>
                      <a:cubicBezTo>
                        <a:pt x="43" y="56"/>
                        <a:pt x="43" y="0"/>
                        <a:pt x="43" y="0"/>
                      </a:cubicBezTo>
                      <a:cubicBezTo>
                        <a:pt x="39" y="0"/>
                        <a:pt x="39" y="0"/>
                        <a:pt x="39" y="0"/>
                      </a:cubicBezTo>
                    </a:path>
                  </a:pathLst>
                </a:custGeom>
                <a:solidFill>
                  <a:srgbClr val="9B94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83" name="Freeform 202">
                  <a:extLst>
                    <a:ext uri="{FF2B5EF4-FFF2-40B4-BE49-F238E27FC236}">
                      <a16:creationId xmlns:a16="http://schemas.microsoft.com/office/drawing/2014/main" id="{5C8B1321-B32B-02D2-60D7-98ABAFEB26B2}"/>
                    </a:ext>
                  </a:extLst>
                </p:cNvPr>
                <p:cNvSpPr/>
                <p:nvPr/>
              </p:nvSpPr>
              <p:spPr bwMode="auto">
                <a:xfrm>
                  <a:off x="3334" y="4024"/>
                  <a:ext cx="78" cy="603"/>
                </a:xfrm>
                <a:custGeom>
                  <a:gdLst>
                    <a:gd name="T0" fmla="*/ 0 w 43"/>
                    <a:gd name="T1" fmla="*/ 0 h 330"/>
                    <a:gd name="T2" fmla="*/ 5 w 43"/>
                    <a:gd name="T3" fmla="*/ 125 h 330"/>
                    <a:gd name="T4" fmla="*/ 39 w 43"/>
                    <a:gd name="T5" fmla="*/ 330 h 330"/>
                    <a:gd name="T6" fmla="*/ 43 w 43"/>
                    <a:gd name="T7" fmla="*/ 329 h 330"/>
                    <a:gd name="T8" fmla="*/ 10 w 43"/>
                    <a:gd name="T9" fmla="*/ 125 h 330"/>
                    <a:gd name="T10" fmla="*/ 5 w 43"/>
                    <a:gd name="T11" fmla="*/ 37 h 330"/>
                    <a:gd name="T12" fmla="*/ 4 w 43"/>
                    <a:gd name="T13" fmla="*/ 10 h 330"/>
                    <a:gd name="T14" fmla="*/ 4 w 43"/>
                    <a:gd name="T15" fmla="*/ 0 h 330"/>
                    <a:gd name="T16" fmla="*/ 0 w 43"/>
                    <a:gd name="T17" fmla="*/ 0 h 3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330">
                      <a:moveTo>
                        <a:pt x="0" y="0"/>
                      </a:moveTo>
                      <a:cubicBezTo>
                        <a:pt x="0" y="0"/>
                        <a:pt x="0" y="56"/>
                        <a:pt x="5" y="125"/>
                      </a:cubicBezTo>
                      <a:cubicBezTo>
                        <a:pt x="10" y="194"/>
                        <a:pt x="20" y="277"/>
                        <a:pt x="39" y="330"/>
                      </a:cubicBezTo>
                      <a:cubicBezTo>
                        <a:pt x="43" y="329"/>
                        <a:pt x="43" y="329"/>
                        <a:pt x="43" y="329"/>
                      </a:cubicBezTo>
                      <a:cubicBezTo>
                        <a:pt x="24" y="276"/>
                        <a:pt x="15" y="194"/>
                        <a:pt x="10" y="125"/>
                      </a:cubicBezTo>
                      <a:cubicBezTo>
                        <a:pt x="7" y="91"/>
                        <a:pt x="6" y="59"/>
                        <a:pt x="5" y="37"/>
                      </a:cubicBezTo>
                      <a:cubicBezTo>
                        <a:pt x="5" y="26"/>
                        <a:pt x="5" y="16"/>
                        <a:pt x="4" y="10"/>
                      </a:cubicBezTo>
                      <a:cubicBezTo>
                        <a:pt x="4" y="4"/>
                        <a:pt x="4" y="0"/>
                        <a:pt x="4" y="0"/>
                      </a:cubicBezTo>
                      <a:cubicBezTo>
                        <a:pt x="0" y="0"/>
                        <a:pt x="0" y="0"/>
                        <a:pt x="0" y="0"/>
                      </a:cubicBezTo>
                    </a:path>
                  </a:pathLst>
                </a:custGeom>
                <a:solidFill>
                  <a:srgbClr val="9B94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84" name="Freeform 203">
                  <a:extLst>
                    <a:ext uri="{FF2B5EF4-FFF2-40B4-BE49-F238E27FC236}">
                      <a16:creationId xmlns:a16="http://schemas.microsoft.com/office/drawing/2014/main" id="{108EB5D0-4426-D66E-3D3A-E029E4FE9FDC}"/>
                    </a:ext>
                  </a:extLst>
                </p:cNvPr>
                <p:cNvSpPr/>
                <p:nvPr/>
              </p:nvSpPr>
              <p:spPr bwMode="auto">
                <a:xfrm>
                  <a:off x="3252" y="3851"/>
                  <a:ext cx="1308" cy="389"/>
                </a:xfrm>
                <a:custGeom>
                  <a:gdLst>
                    <a:gd name="T0" fmla="*/ 711 w 717"/>
                    <a:gd name="T1" fmla="*/ 0 h 213"/>
                    <a:gd name="T2" fmla="*/ 359 w 717"/>
                    <a:gd name="T3" fmla="*/ 118 h 213"/>
                    <a:gd name="T4" fmla="*/ 7 w 717"/>
                    <a:gd name="T5" fmla="*/ 0 h 213"/>
                    <a:gd name="T6" fmla="*/ 7 w 717"/>
                    <a:gd name="T7" fmla="*/ 0 h 213"/>
                    <a:gd name="T8" fmla="*/ 5 w 717"/>
                    <a:gd name="T9" fmla="*/ 189 h 213"/>
                    <a:gd name="T10" fmla="*/ 49 w 717"/>
                    <a:gd name="T11" fmla="*/ 197 h 213"/>
                    <a:gd name="T12" fmla="*/ 45 w 717"/>
                    <a:gd name="T13" fmla="*/ 95 h 213"/>
                    <a:gd name="T14" fmla="*/ 49 w 717"/>
                    <a:gd name="T15" fmla="*/ 95 h 213"/>
                    <a:gd name="T16" fmla="*/ 49 w 717"/>
                    <a:gd name="T17" fmla="*/ 105 h 213"/>
                    <a:gd name="T18" fmla="*/ 50 w 717"/>
                    <a:gd name="T19" fmla="*/ 132 h 213"/>
                    <a:gd name="T20" fmla="*/ 53 w 717"/>
                    <a:gd name="T21" fmla="*/ 197 h 213"/>
                    <a:gd name="T22" fmla="*/ 276 w 717"/>
                    <a:gd name="T23" fmla="*/ 213 h 213"/>
                    <a:gd name="T24" fmla="*/ 318 w 717"/>
                    <a:gd name="T25" fmla="*/ 212 h 213"/>
                    <a:gd name="T26" fmla="*/ 314 w 717"/>
                    <a:gd name="T27" fmla="*/ 144 h 213"/>
                    <a:gd name="T28" fmla="*/ 318 w 717"/>
                    <a:gd name="T29" fmla="*/ 144 h 213"/>
                    <a:gd name="T30" fmla="*/ 319 w 717"/>
                    <a:gd name="T31" fmla="*/ 148 h 213"/>
                    <a:gd name="T32" fmla="*/ 319 w 717"/>
                    <a:gd name="T33" fmla="*/ 161 h 213"/>
                    <a:gd name="T34" fmla="*/ 321 w 717"/>
                    <a:gd name="T35" fmla="*/ 206 h 213"/>
                    <a:gd name="T36" fmla="*/ 322 w 717"/>
                    <a:gd name="T37" fmla="*/ 212 h 213"/>
                    <a:gd name="T38" fmla="*/ 393 w 717"/>
                    <a:gd name="T39" fmla="*/ 209 h 213"/>
                    <a:gd name="T40" fmla="*/ 399 w 717"/>
                    <a:gd name="T41" fmla="*/ 143 h 213"/>
                    <a:gd name="T42" fmla="*/ 400 w 717"/>
                    <a:gd name="T43" fmla="*/ 135 h 213"/>
                    <a:gd name="T44" fmla="*/ 400 w 717"/>
                    <a:gd name="T45" fmla="*/ 135 h 213"/>
                    <a:gd name="T46" fmla="*/ 404 w 717"/>
                    <a:gd name="T47" fmla="*/ 135 h 213"/>
                    <a:gd name="T48" fmla="*/ 398 w 717"/>
                    <a:gd name="T49" fmla="*/ 209 h 213"/>
                    <a:gd name="T50" fmla="*/ 662 w 717"/>
                    <a:gd name="T51" fmla="*/ 178 h 213"/>
                    <a:gd name="T52" fmla="*/ 665 w 717"/>
                    <a:gd name="T53" fmla="*/ 105 h 213"/>
                    <a:gd name="T54" fmla="*/ 665 w 717"/>
                    <a:gd name="T55" fmla="*/ 95 h 213"/>
                    <a:gd name="T56" fmla="*/ 669 w 717"/>
                    <a:gd name="T57" fmla="*/ 95 h 213"/>
                    <a:gd name="T58" fmla="*/ 666 w 717"/>
                    <a:gd name="T59" fmla="*/ 177 h 213"/>
                    <a:gd name="T60" fmla="*/ 714 w 717"/>
                    <a:gd name="T61" fmla="*/ 168 h 213"/>
                    <a:gd name="T62" fmla="*/ 711 w 717"/>
                    <a:gd name="T63" fmla="*/ 0 h 213"/>
                    <a:gd name="T64" fmla="*/ 711 w 717"/>
                    <a:gd name="T65" fmla="*/ 0 h 213"/>
                    <a:gd name="T66" fmla="*/ 711 w 717"/>
                    <a:gd name="T67" fmla="*/ 0 h 213"/>
                    <a:gd name="T68" fmla="*/ 711 w 717"/>
                    <a:gd name="T69" fmla="*/ 0 h 213"/>
                    <a:gd name="T70" fmla="*/ 711 w 717"/>
                    <a:gd name="T71" fmla="*/ 0 h 213"/>
                    <a:gd name="T72" fmla="*/ 711 w 717"/>
                    <a:gd name="T73" fmla="*/ 0 h 213"/>
                    <a:gd name="T74" fmla="*/ 711 w 717"/>
                    <a:gd name="T75" fmla="*/ 0 h 213"/>
                    <a:gd name="T76" fmla="*/ 711 w 717"/>
                    <a:gd name="T77" fmla="*/ 0 h 2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17" h="213">
                      <a:moveTo>
                        <a:pt x="711" y="0"/>
                      </a:moveTo>
                      <a:cubicBezTo>
                        <a:pt x="359" y="118"/>
                        <a:pt x="359" y="118"/>
                        <a:pt x="359" y="118"/>
                      </a:cubicBezTo>
                      <a:cubicBezTo>
                        <a:pt x="7" y="0"/>
                        <a:pt x="7" y="0"/>
                        <a:pt x="7" y="0"/>
                      </a:cubicBezTo>
                      <a:cubicBezTo>
                        <a:pt x="7" y="0"/>
                        <a:pt x="7" y="0"/>
                        <a:pt x="7" y="0"/>
                      </a:cubicBezTo>
                      <a:cubicBezTo>
                        <a:pt x="7" y="1"/>
                        <a:pt x="0" y="85"/>
                        <a:pt x="5" y="189"/>
                      </a:cubicBezTo>
                      <a:cubicBezTo>
                        <a:pt x="19" y="192"/>
                        <a:pt x="34" y="195"/>
                        <a:pt x="49" y="197"/>
                      </a:cubicBezTo>
                      <a:cubicBezTo>
                        <a:pt x="45" y="139"/>
                        <a:pt x="45" y="95"/>
                        <a:pt x="45" y="95"/>
                      </a:cubicBezTo>
                      <a:cubicBezTo>
                        <a:pt x="49" y="95"/>
                        <a:pt x="49" y="95"/>
                        <a:pt x="49" y="95"/>
                      </a:cubicBezTo>
                      <a:cubicBezTo>
                        <a:pt x="49" y="95"/>
                        <a:pt x="49" y="99"/>
                        <a:pt x="49" y="105"/>
                      </a:cubicBezTo>
                      <a:cubicBezTo>
                        <a:pt x="50" y="111"/>
                        <a:pt x="50" y="121"/>
                        <a:pt x="50" y="132"/>
                      </a:cubicBezTo>
                      <a:cubicBezTo>
                        <a:pt x="51" y="149"/>
                        <a:pt x="52" y="172"/>
                        <a:pt x="53" y="197"/>
                      </a:cubicBezTo>
                      <a:cubicBezTo>
                        <a:pt x="128" y="208"/>
                        <a:pt x="203" y="213"/>
                        <a:pt x="276" y="213"/>
                      </a:cubicBezTo>
                      <a:cubicBezTo>
                        <a:pt x="290" y="213"/>
                        <a:pt x="304" y="212"/>
                        <a:pt x="318" y="212"/>
                      </a:cubicBezTo>
                      <a:cubicBezTo>
                        <a:pt x="315" y="173"/>
                        <a:pt x="314" y="144"/>
                        <a:pt x="314" y="144"/>
                      </a:cubicBezTo>
                      <a:cubicBezTo>
                        <a:pt x="318" y="144"/>
                        <a:pt x="318" y="144"/>
                        <a:pt x="318" y="144"/>
                      </a:cubicBezTo>
                      <a:cubicBezTo>
                        <a:pt x="318" y="144"/>
                        <a:pt x="318" y="145"/>
                        <a:pt x="319" y="148"/>
                      </a:cubicBezTo>
                      <a:cubicBezTo>
                        <a:pt x="319" y="151"/>
                        <a:pt x="319" y="156"/>
                        <a:pt x="319" y="161"/>
                      </a:cubicBezTo>
                      <a:cubicBezTo>
                        <a:pt x="319" y="172"/>
                        <a:pt x="320" y="188"/>
                        <a:pt x="321" y="206"/>
                      </a:cubicBezTo>
                      <a:cubicBezTo>
                        <a:pt x="322" y="208"/>
                        <a:pt x="322" y="210"/>
                        <a:pt x="322" y="212"/>
                      </a:cubicBezTo>
                      <a:cubicBezTo>
                        <a:pt x="346" y="211"/>
                        <a:pt x="370" y="210"/>
                        <a:pt x="393" y="209"/>
                      </a:cubicBezTo>
                      <a:cubicBezTo>
                        <a:pt x="396" y="179"/>
                        <a:pt x="398" y="155"/>
                        <a:pt x="399" y="143"/>
                      </a:cubicBezTo>
                      <a:cubicBezTo>
                        <a:pt x="400" y="138"/>
                        <a:pt x="400" y="135"/>
                        <a:pt x="400" y="135"/>
                      </a:cubicBezTo>
                      <a:cubicBezTo>
                        <a:pt x="400" y="135"/>
                        <a:pt x="400" y="135"/>
                        <a:pt x="400" y="135"/>
                      </a:cubicBezTo>
                      <a:cubicBezTo>
                        <a:pt x="404" y="135"/>
                        <a:pt x="404" y="135"/>
                        <a:pt x="404" y="135"/>
                      </a:cubicBezTo>
                      <a:cubicBezTo>
                        <a:pt x="404" y="135"/>
                        <a:pt x="402" y="167"/>
                        <a:pt x="398" y="209"/>
                      </a:cubicBezTo>
                      <a:cubicBezTo>
                        <a:pt x="502" y="203"/>
                        <a:pt x="595" y="189"/>
                        <a:pt x="662" y="178"/>
                      </a:cubicBezTo>
                      <a:cubicBezTo>
                        <a:pt x="664" y="145"/>
                        <a:pt x="664" y="119"/>
                        <a:pt x="665" y="105"/>
                      </a:cubicBezTo>
                      <a:cubicBezTo>
                        <a:pt x="665" y="99"/>
                        <a:pt x="665" y="95"/>
                        <a:pt x="665" y="95"/>
                      </a:cubicBezTo>
                      <a:cubicBezTo>
                        <a:pt x="669" y="95"/>
                        <a:pt x="669" y="95"/>
                        <a:pt x="669" y="95"/>
                      </a:cubicBezTo>
                      <a:cubicBezTo>
                        <a:pt x="669" y="95"/>
                        <a:pt x="669" y="129"/>
                        <a:pt x="666" y="177"/>
                      </a:cubicBezTo>
                      <a:cubicBezTo>
                        <a:pt x="685" y="174"/>
                        <a:pt x="701" y="171"/>
                        <a:pt x="714" y="168"/>
                      </a:cubicBezTo>
                      <a:cubicBezTo>
                        <a:pt x="717" y="74"/>
                        <a:pt x="711" y="2"/>
                        <a:pt x="711" y="0"/>
                      </a:cubicBezTo>
                      <a:cubicBezTo>
                        <a:pt x="711" y="0"/>
                        <a:pt x="711" y="0"/>
                        <a:pt x="711" y="0"/>
                      </a:cubicBezTo>
                      <a:cubicBezTo>
                        <a:pt x="711" y="0"/>
                        <a:pt x="711" y="0"/>
                        <a:pt x="711" y="0"/>
                      </a:cubicBezTo>
                      <a:cubicBezTo>
                        <a:pt x="711" y="0"/>
                        <a:pt x="711" y="0"/>
                        <a:pt x="711" y="0"/>
                      </a:cubicBezTo>
                      <a:cubicBezTo>
                        <a:pt x="711" y="0"/>
                        <a:pt x="711" y="0"/>
                        <a:pt x="711" y="0"/>
                      </a:cubicBezTo>
                      <a:cubicBezTo>
                        <a:pt x="711" y="0"/>
                        <a:pt x="711" y="0"/>
                        <a:pt x="711" y="0"/>
                      </a:cubicBezTo>
                      <a:cubicBezTo>
                        <a:pt x="711" y="0"/>
                        <a:pt x="711" y="0"/>
                        <a:pt x="711" y="0"/>
                      </a:cubicBezTo>
                      <a:cubicBezTo>
                        <a:pt x="711" y="0"/>
                        <a:pt x="711" y="0"/>
                        <a:pt x="711" y="0"/>
                      </a:cubicBezTo>
                    </a:path>
                  </a:pathLst>
                </a:custGeom>
                <a:solidFill>
                  <a:srgbClr val="D3CA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85" name="Freeform 204">
                  <a:extLst>
                    <a:ext uri="{FF2B5EF4-FFF2-40B4-BE49-F238E27FC236}">
                      <a16:creationId xmlns:a16="http://schemas.microsoft.com/office/drawing/2014/main" id="{330E5C33-B2F4-14ED-6053-AE66E1EA9D56}"/>
                    </a:ext>
                  </a:extLst>
                </p:cNvPr>
                <p:cNvSpPr>
                  <a:spLocks noEditPoints="1"/>
                </p:cNvSpPr>
                <p:nvPr/>
              </p:nvSpPr>
              <p:spPr bwMode="auto">
                <a:xfrm>
                  <a:off x="3824" y="4097"/>
                  <a:ext cx="165" cy="141"/>
                </a:xfrm>
                <a:custGeom>
                  <a:gdLst>
                    <a:gd name="T0" fmla="*/ 4 w 90"/>
                    <a:gd name="T1" fmla="*/ 9 h 77"/>
                    <a:gd name="T2" fmla="*/ 0 w 90"/>
                    <a:gd name="T3" fmla="*/ 9 h 77"/>
                    <a:gd name="T4" fmla="*/ 4 w 90"/>
                    <a:gd name="T5" fmla="*/ 77 h 77"/>
                    <a:gd name="T6" fmla="*/ 8 w 90"/>
                    <a:gd name="T7" fmla="*/ 77 h 77"/>
                    <a:gd name="T8" fmla="*/ 7 w 90"/>
                    <a:gd name="T9" fmla="*/ 71 h 77"/>
                    <a:gd name="T10" fmla="*/ 5 w 90"/>
                    <a:gd name="T11" fmla="*/ 26 h 77"/>
                    <a:gd name="T12" fmla="*/ 5 w 90"/>
                    <a:gd name="T13" fmla="*/ 13 h 77"/>
                    <a:gd name="T14" fmla="*/ 4 w 90"/>
                    <a:gd name="T15" fmla="*/ 9 h 77"/>
                    <a:gd name="T16" fmla="*/ 86 w 90"/>
                    <a:gd name="T17" fmla="*/ 0 h 77"/>
                    <a:gd name="T18" fmla="*/ 86 w 90"/>
                    <a:gd name="T19" fmla="*/ 0 h 77"/>
                    <a:gd name="T20" fmla="*/ 85 w 90"/>
                    <a:gd name="T21" fmla="*/ 8 h 77"/>
                    <a:gd name="T22" fmla="*/ 79 w 90"/>
                    <a:gd name="T23" fmla="*/ 74 h 77"/>
                    <a:gd name="T24" fmla="*/ 84 w 90"/>
                    <a:gd name="T25" fmla="*/ 74 h 77"/>
                    <a:gd name="T26" fmla="*/ 90 w 90"/>
                    <a:gd name="T27" fmla="*/ 0 h 77"/>
                    <a:gd name="T28" fmla="*/ 86 w 90"/>
                    <a:gd name="T29" fmla="*/ 0 h 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77">
                      <a:moveTo>
                        <a:pt x="4" y="9"/>
                      </a:moveTo>
                      <a:cubicBezTo>
                        <a:pt x="0" y="9"/>
                        <a:pt x="0" y="9"/>
                        <a:pt x="0" y="9"/>
                      </a:cubicBezTo>
                      <a:cubicBezTo>
                        <a:pt x="0" y="9"/>
                        <a:pt x="1" y="38"/>
                        <a:pt x="4" y="77"/>
                      </a:cubicBezTo>
                      <a:cubicBezTo>
                        <a:pt x="5" y="77"/>
                        <a:pt x="6" y="77"/>
                        <a:pt x="8" y="77"/>
                      </a:cubicBezTo>
                      <a:cubicBezTo>
                        <a:pt x="8" y="75"/>
                        <a:pt x="8" y="73"/>
                        <a:pt x="7" y="71"/>
                      </a:cubicBezTo>
                      <a:cubicBezTo>
                        <a:pt x="6" y="53"/>
                        <a:pt x="5" y="37"/>
                        <a:pt x="5" y="26"/>
                      </a:cubicBezTo>
                      <a:cubicBezTo>
                        <a:pt x="5" y="21"/>
                        <a:pt x="5" y="16"/>
                        <a:pt x="5" y="13"/>
                      </a:cubicBezTo>
                      <a:cubicBezTo>
                        <a:pt x="4" y="10"/>
                        <a:pt x="4" y="9"/>
                        <a:pt x="4" y="9"/>
                      </a:cubicBezTo>
                      <a:moveTo>
                        <a:pt x="86" y="0"/>
                      </a:moveTo>
                      <a:cubicBezTo>
                        <a:pt x="86" y="0"/>
                        <a:pt x="86" y="0"/>
                        <a:pt x="86" y="0"/>
                      </a:cubicBezTo>
                      <a:cubicBezTo>
                        <a:pt x="86" y="0"/>
                        <a:pt x="86" y="3"/>
                        <a:pt x="85" y="8"/>
                      </a:cubicBezTo>
                      <a:cubicBezTo>
                        <a:pt x="84" y="20"/>
                        <a:pt x="82" y="44"/>
                        <a:pt x="79" y="74"/>
                      </a:cubicBezTo>
                      <a:cubicBezTo>
                        <a:pt x="81" y="74"/>
                        <a:pt x="82" y="74"/>
                        <a:pt x="84" y="74"/>
                      </a:cubicBezTo>
                      <a:cubicBezTo>
                        <a:pt x="88" y="32"/>
                        <a:pt x="90" y="0"/>
                        <a:pt x="90" y="0"/>
                      </a:cubicBezTo>
                      <a:cubicBezTo>
                        <a:pt x="86" y="0"/>
                        <a:pt x="86" y="0"/>
                        <a:pt x="86" y="0"/>
                      </a:cubicBezTo>
                    </a:path>
                  </a:pathLst>
                </a:custGeom>
                <a:solidFill>
                  <a:srgbClr val="887F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86" name="Freeform 205">
                  <a:extLst>
                    <a:ext uri="{FF2B5EF4-FFF2-40B4-BE49-F238E27FC236}">
                      <a16:creationId xmlns:a16="http://schemas.microsoft.com/office/drawing/2014/main" id="{46468F95-80D9-634A-916D-CE93F4D31467}"/>
                    </a:ext>
                  </a:extLst>
                </p:cNvPr>
                <p:cNvSpPr/>
                <p:nvPr/>
              </p:nvSpPr>
              <p:spPr bwMode="auto">
                <a:xfrm>
                  <a:off x="4459" y="4024"/>
                  <a:ext cx="13" cy="152"/>
                </a:xfrm>
                <a:custGeom>
                  <a:gdLst>
                    <a:gd name="T0" fmla="*/ 3 w 7"/>
                    <a:gd name="T1" fmla="*/ 0 h 83"/>
                    <a:gd name="T2" fmla="*/ 3 w 7"/>
                    <a:gd name="T3" fmla="*/ 10 h 83"/>
                    <a:gd name="T4" fmla="*/ 0 w 7"/>
                    <a:gd name="T5" fmla="*/ 83 h 83"/>
                    <a:gd name="T6" fmla="*/ 4 w 7"/>
                    <a:gd name="T7" fmla="*/ 82 h 83"/>
                    <a:gd name="T8" fmla="*/ 7 w 7"/>
                    <a:gd name="T9" fmla="*/ 0 h 83"/>
                    <a:gd name="T10" fmla="*/ 3 w 7"/>
                    <a:gd name="T11" fmla="*/ 0 h 83"/>
                  </a:gdLst>
                  <a:cxnLst>
                    <a:cxn ang="0">
                      <a:pos x="T0" y="T1"/>
                    </a:cxn>
                    <a:cxn ang="0">
                      <a:pos x="T2" y="T3"/>
                    </a:cxn>
                    <a:cxn ang="0">
                      <a:pos x="T4" y="T5"/>
                    </a:cxn>
                    <a:cxn ang="0">
                      <a:pos x="T6" y="T7"/>
                    </a:cxn>
                    <a:cxn ang="0">
                      <a:pos x="T8" y="T9"/>
                    </a:cxn>
                    <a:cxn ang="0">
                      <a:pos x="T10" y="T11"/>
                    </a:cxn>
                  </a:cxnLst>
                  <a:rect l="0" t="0" r="r" b="b"/>
                  <a:pathLst>
                    <a:path w="7" h="83">
                      <a:moveTo>
                        <a:pt x="3" y="0"/>
                      </a:moveTo>
                      <a:cubicBezTo>
                        <a:pt x="3" y="0"/>
                        <a:pt x="3" y="4"/>
                        <a:pt x="3" y="10"/>
                      </a:cubicBezTo>
                      <a:cubicBezTo>
                        <a:pt x="2" y="24"/>
                        <a:pt x="2" y="50"/>
                        <a:pt x="0" y="83"/>
                      </a:cubicBezTo>
                      <a:cubicBezTo>
                        <a:pt x="1" y="83"/>
                        <a:pt x="3" y="82"/>
                        <a:pt x="4" y="82"/>
                      </a:cubicBezTo>
                      <a:cubicBezTo>
                        <a:pt x="7" y="34"/>
                        <a:pt x="7" y="0"/>
                        <a:pt x="7" y="0"/>
                      </a:cubicBezTo>
                      <a:cubicBezTo>
                        <a:pt x="3" y="0"/>
                        <a:pt x="3" y="0"/>
                        <a:pt x="3" y="0"/>
                      </a:cubicBezTo>
                    </a:path>
                  </a:pathLst>
                </a:custGeom>
                <a:solidFill>
                  <a:srgbClr val="887F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87" name="Freeform 206">
                  <a:extLst>
                    <a:ext uri="{FF2B5EF4-FFF2-40B4-BE49-F238E27FC236}">
                      <a16:creationId xmlns:a16="http://schemas.microsoft.com/office/drawing/2014/main" id="{CF9A9779-FA73-CF17-303D-18830C622E2C}"/>
                    </a:ext>
                  </a:extLst>
                </p:cNvPr>
                <p:cNvSpPr/>
                <p:nvPr/>
              </p:nvSpPr>
              <p:spPr bwMode="auto">
                <a:xfrm>
                  <a:off x="3334" y="4024"/>
                  <a:ext cx="14" cy="186"/>
                </a:xfrm>
                <a:custGeom>
                  <a:gdLst>
                    <a:gd name="T0" fmla="*/ 4 w 8"/>
                    <a:gd name="T1" fmla="*/ 0 h 102"/>
                    <a:gd name="T2" fmla="*/ 0 w 8"/>
                    <a:gd name="T3" fmla="*/ 0 h 102"/>
                    <a:gd name="T4" fmla="*/ 4 w 8"/>
                    <a:gd name="T5" fmla="*/ 102 h 102"/>
                    <a:gd name="T6" fmla="*/ 8 w 8"/>
                    <a:gd name="T7" fmla="*/ 102 h 102"/>
                    <a:gd name="T8" fmla="*/ 5 w 8"/>
                    <a:gd name="T9" fmla="*/ 37 h 102"/>
                    <a:gd name="T10" fmla="*/ 4 w 8"/>
                    <a:gd name="T11" fmla="*/ 10 h 102"/>
                    <a:gd name="T12" fmla="*/ 4 w 8"/>
                    <a:gd name="T13" fmla="*/ 0 h 102"/>
                  </a:gdLst>
                  <a:cxnLst>
                    <a:cxn ang="0">
                      <a:pos x="T0" y="T1"/>
                    </a:cxn>
                    <a:cxn ang="0">
                      <a:pos x="T2" y="T3"/>
                    </a:cxn>
                    <a:cxn ang="0">
                      <a:pos x="T4" y="T5"/>
                    </a:cxn>
                    <a:cxn ang="0">
                      <a:pos x="T6" y="T7"/>
                    </a:cxn>
                    <a:cxn ang="0">
                      <a:pos x="T8" y="T9"/>
                    </a:cxn>
                    <a:cxn ang="0">
                      <a:pos x="T10" y="T11"/>
                    </a:cxn>
                    <a:cxn ang="0">
                      <a:pos x="T12" y="T13"/>
                    </a:cxn>
                  </a:cxnLst>
                  <a:rect l="0" t="0" r="r" b="b"/>
                  <a:pathLst>
                    <a:path w="8" h="102">
                      <a:moveTo>
                        <a:pt x="4" y="0"/>
                      </a:moveTo>
                      <a:cubicBezTo>
                        <a:pt x="0" y="0"/>
                        <a:pt x="0" y="0"/>
                        <a:pt x="0" y="0"/>
                      </a:cubicBezTo>
                      <a:cubicBezTo>
                        <a:pt x="0" y="0"/>
                        <a:pt x="0" y="44"/>
                        <a:pt x="4" y="102"/>
                      </a:cubicBezTo>
                      <a:cubicBezTo>
                        <a:pt x="5" y="102"/>
                        <a:pt x="7" y="102"/>
                        <a:pt x="8" y="102"/>
                      </a:cubicBezTo>
                      <a:cubicBezTo>
                        <a:pt x="7" y="77"/>
                        <a:pt x="6" y="54"/>
                        <a:pt x="5" y="37"/>
                      </a:cubicBezTo>
                      <a:cubicBezTo>
                        <a:pt x="5" y="26"/>
                        <a:pt x="5" y="16"/>
                        <a:pt x="4" y="10"/>
                      </a:cubicBezTo>
                      <a:cubicBezTo>
                        <a:pt x="4" y="4"/>
                        <a:pt x="4" y="0"/>
                        <a:pt x="4" y="0"/>
                      </a:cubicBezTo>
                    </a:path>
                  </a:pathLst>
                </a:custGeom>
                <a:solidFill>
                  <a:srgbClr val="887F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88" name="Freeform 207">
                  <a:extLst>
                    <a:ext uri="{FF2B5EF4-FFF2-40B4-BE49-F238E27FC236}">
                      <a16:creationId xmlns:a16="http://schemas.microsoft.com/office/drawing/2014/main" id="{B3EBFC89-D90D-DF71-7EAA-E074A0CB480A}"/>
                    </a:ext>
                  </a:extLst>
                </p:cNvPr>
                <p:cNvSpPr/>
                <p:nvPr/>
              </p:nvSpPr>
              <p:spPr bwMode="auto">
                <a:xfrm>
                  <a:off x="1666" y="2071"/>
                  <a:ext cx="850" cy="479"/>
                </a:xfrm>
                <a:custGeom>
                  <a:gdLst>
                    <a:gd name="T0" fmla="*/ 466 w 466"/>
                    <a:gd name="T1" fmla="*/ 155 h 262"/>
                    <a:gd name="T2" fmla="*/ 324 w 466"/>
                    <a:gd name="T3" fmla="*/ 19 h 262"/>
                    <a:gd name="T4" fmla="*/ 0 w 466"/>
                    <a:gd name="T5" fmla="*/ 6 h 262"/>
                    <a:gd name="T6" fmla="*/ 200 w 466"/>
                    <a:gd name="T7" fmla="*/ 103 h 262"/>
                    <a:gd name="T8" fmla="*/ 340 w 466"/>
                    <a:gd name="T9" fmla="*/ 262 h 262"/>
                    <a:gd name="T10" fmla="*/ 466 w 466"/>
                    <a:gd name="T11" fmla="*/ 155 h 262"/>
                  </a:gdLst>
                  <a:cxnLst>
                    <a:cxn ang="0">
                      <a:pos x="T0" y="T1"/>
                    </a:cxn>
                    <a:cxn ang="0">
                      <a:pos x="T2" y="T3"/>
                    </a:cxn>
                    <a:cxn ang="0">
                      <a:pos x="T4" y="T5"/>
                    </a:cxn>
                    <a:cxn ang="0">
                      <a:pos x="T6" y="T7"/>
                    </a:cxn>
                    <a:cxn ang="0">
                      <a:pos x="T8" y="T9"/>
                    </a:cxn>
                    <a:cxn ang="0">
                      <a:pos x="T10" y="T11"/>
                    </a:cxn>
                  </a:cxnLst>
                  <a:rect l="0" t="0" r="r" b="b"/>
                  <a:pathLst>
                    <a:path w="466" h="262">
                      <a:moveTo>
                        <a:pt x="466" y="155"/>
                      </a:moveTo>
                      <a:cubicBezTo>
                        <a:pt x="466" y="155"/>
                        <a:pt x="378" y="39"/>
                        <a:pt x="324" y="19"/>
                      </a:cubicBezTo>
                      <a:cubicBezTo>
                        <a:pt x="271" y="0"/>
                        <a:pt x="0" y="6"/>
                        <a:pt x="0" y="6"/>
                      </a:cubicBezTo>
                      <a:cubicBezTo>
                        <a:pt x="0" y="6"/>
                        <a:pt x="17" y="88"/>
                        <a:pt x="200" y="103"/>
                      </a:cubicBezTo>
                      <a:cubicBezTo>
                        <a:pt x="275" y="125"/>
                        <a:pt x="340" y="262"/>
                        <a:pt x="340" y="262"/>
                      </a:cubicBezTo>
                      <a:cubicBezTo>
                        <a:pt x="340" y="262"/>
                        <a:pt x="436" y="204"/>
                        <a:pt x="466" y="155"/>
                      </a:cubicBezTo>
                      <a:close/>
                    </a:path>
                  </a:pathLst>
                </a:custGeom>
                <a:solidFill>
                  <a:srgbClr val="FB8F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89" name="Freeform 208">
                  <a:extLst>
                    <a:ext uri="{FF2B5EF4-FFF2-40B4-BE49-F238E27FC236}">
                      <a16:creationId xmlns:a16="http://schemas.microsoft.com/office/drawing/2014/main" id="{5DDE0EF3-F30E-91A1-E669-715E53839D8E}"/>
                    </a:ext>
                  </a:extLst>
                </p:cNvPr>
                <p:cNvSpPr/>
                <p:nvPr/>
              </p:nvSpPr>
              <p:spPr bwMode="auto">
                <a:xfrm>
                  <a:off x="2175" y="1685"/>
                  <a:ext cx="1179" cy="1688"/>
                </a:xfrm>
                <a:custGeom>
                  <a:gdLst>
                    <a:gd name="T0" fmla="*/ 636 w 646"/>
                    <a:gd name="T1" fmla="*/ 0 h 925"/>
                    <a:gd name="T2" fmla="*/ 445 w 646"/>
                    <a:gd name="T3" fmla="*/ 255 h 925"/>
                    <a:gd name="T4" fmla="*/ 340 w 646"/>
                    <a:gd name="T5" fmla="*/ 504 h 925"/>
                    <a:gd name="T6" fmla="*/ 189 w 646"/>
                    <a:gd name="T7" fmla="*/ 324 h 925"/>
                    <a:gd name="T8" fmla="*/ 0 w 646"/>
                    <a:gd name="T9" fmla="*/ 468 h 925"/>
                    <a:gd name="T10" fmla="*/ 428 w 646"/>
                    <a:gd name="T11" fmla="*/ 915 h 925"/>
                    <a:gd name="T12" fmla="*/ 601 w 646"/>
                    <a:gd name="T13" fmla="*/ 574 h 925"/>
                    <a:gd name="T14" fmla="*/ 636 w 646"/>
                    <a:gd name="T15" fmla="*/ 0 h 925"/>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6" h="924">
                      <a:moveTo>
                        <a:pt x="636" y="0"/>
                      </a:moveTo>
                      <a:cubicBezTo>
                        <a:pt x="636" y="0"/>
                        <a:pt x="527" y="66"/>
                        <a:pt x="445" y="255"/>
                      </a:cubicBezTo>
                      <a:cubicBezTo>
                        <a:pt x="363" y="444"/>
                        <a:pt x="340" y="504"/>
                        <a:pt x="340" y="504"/>
                      </a:cubicBezTo>
                      <a:cubicBezTo>
                        <a:pt x="189" y="324"/>
                        <a:pt x="189" y="324"/>
                        <a:pt x="189" y="324"/>
                      </a:cubicBezTo>
                      <a:cubicBezTo>
                        <a:pt x="189" y="324"/>
                        <a:pt x="127" y="444"/>
                        <a:pt x="0" y="468"/>
                      </a:cubicBezTo>
                      <a:cubicBezTo>
                        <a:pt x="267" y="878"/>
                        <a:pt x="308" y="925"/>
                        <a:pt x="428" y="915"/>
                      </a:cubicBezTo>
                      <a:cubicBezTo>
                        <a:pt x="548" y="904"/>
                        <a:pt x="601" y="574"/>
                        <a:pt x="601" y="574"/>
                      </a:cubicBezTo>
                      <a:cubicBezTo>
                        <a:pt x="601" y="574"/>
                        <a:pt x="646" y="149"/>
                        <a:pt x="636" y="0"/>
                      </a:cubicBezTo>
                      <a:close/>
                    </a:path>
                  </a:pathLst>
                </a:custGeom>
                <a:solidFill>
                  <a:srgbClr val="E0DB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90" name="Freeform 209">
                  <a:extLst>
                    <a:ext uri="{FF2B5EF4-FFF2-40B4-BE49-F238E27FC236}">
                      <a16:creationId xmlns:a16="http://schemas.microsoft.com/office/drawing/2014/main" id="{9BEBEBF3-F13B-989D-9822-852C4C3C0407}"/>
                    </a:ext>
                  </a:extLst>
                </p:cNvPr>
                <p:cNvSpPr/>
                <p:nvPr/>
              </p:nvSpPr>
              <p:spPr bwMode="auto">
                <a:xfrm>
                  <a:off x="3109" y="1655"/>
                  <a:ext cx="794" cy="2510"/>
                </a:xfrm>
                <a:custGeom>
                  <a:gdLst>
                    <a:gd name="T0" fmla="*/ 322 w 435"/>
                    <a:gd name="T1" fmla="*/ 36 h 1375"/>
                    <a:gd name="T2" fmla="*/ 124 w 435"/>
                    <a:gd name="T3" fmla="*/ 16 h 1375"/>
                    <a:gd name="T4" fmla="*/ 89 w 435"/>
                    <a:gd name="T5" fmla="*/ 590 h 1375"/>
                    <a:gd name="T6" fmla="*/ 0 w 435"/>
                    <a:gd name="T7" fmla="*/ 1309 h 1375"/>
                    <a:gd name="T8" fmla="*/ 435 w 435"/>
                    <a:gd name="T9" fmla="*/ 1370 h 1375"/>
                    <a:gd name="T10" fmla="*/ 435 w 435"/>
                    <a:gd name="T11" fmla="*/ 112 h 1375"/>
                    <a:gd name="T12" fmla="*/ 322 w 435"/>
                    <a:gd name="T13" fmla="*/ 36 h 1375"/>
                  </a:gdLst>
                  <a:cxnLst>
                    <a:cxn ang="0">
                      <a:pos x="T0" y="T1"/>
                    </a:cxn>
                    <a:cxn ang="0">
                      <a:pos x="T2" y="T3"/>
                    </a:cxn>
                    <a:cxn ang="0">
                      <a:pos x="T4" y="T5"/>
                    </a:cxn>
                    <a:cxn ang="0">
                      <a:pos x="T6" y="T7"/>
                    </a:cxn>
                    <a:cxn ang="0">
                      <a:pos x="T8" y="T9"/>
                    </a:cxn>
                    <a:cxn ang="0">
                      <a:pos x="T10" y="T11"/>
                    </a:cxn>
                    <a:cxn ang="0">
                      <a:pos x="T12" y="T13"/>
                    </a:cxn>
                  </a:cxnLst>
                  <a:rect l="0" t="0" r="r" b="b"/>
                  <a:pathLst>
                    <a:path w="435" h="1375">
                      <a:moveTo>
                        <a:pt x="322" y="36"/>
                      </a:moveTo>
                      <a:cubicBezTo>
                        <a:pt x="322" y="36"/>
                        <a:pt x="224" y="0"/>
                        <a:pt x="124" y="16"/>
                      </a:cubicBezTo>
                      <a:cubicBezTo>
                        <a:pt x="52" y="499"/>
                        <a:pt x="66" y="453"/>
                        <a:pt x="89" y="590"/>
                      </a:cubicBezTo>
                      <a:cubicBezTo>
                        <a:pt x="109" y="702"/>
                        <a:pt x="15" y="1123"/>
                        <a:pt x="0" y="1309"/>
                      </a:cubicBezTo>
                      <a:cubicBezTo>
                        <a:pt x="339" y="1375"/>
                        <a:pt x="435" y="1370"/>
                        <a:pt x="435" y="1370"/>
                      </a:cubicBezTo>
                      <a:cubicBezTo>
                        <a:pt x="435" y="112"/>
                        <a:pt x="435" y="112"/>
                        <a:pt x="435" y="112"/>
                      </a:cubicBezTo>
                      <a:lnTo>
                        <a:pt x="322" y="36"/>
                      </a:lnTo>
                      <a:close/>
                    </a:path>
                  </a:pathLst>
                </a:cu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91" name="Freeform 210">
                  <a:extLst>
                    <a:ext uri="{FF2B5EF4-FFF2-40B4-BE49-F238E27FC236}">
                      <a16:creationId xmlns:a16="http://schemas.microsoft.com/office/drawing/2014/main" id="{DB9B9655-3383-1982-E41A-23CBE611F66A}"/>
                    </a:ext>
                  </a:extLst>
                </p:cNvPr>
                <p:cNvSpPr/>
                <p:nvPr/>
              </p:nvSpPr>
              <p:spPr bwMode="auto">
                <a:xfrm>
                  <a:off x="1666" y="2071"/>
                  <a:ext cx="675" cy="187"/>
                </a:xfrm>
                <a:custGeom>
                  <a:gdLst>
                    <a:gd name="T0" fmla="*/ 370 w 370"/>
                    <a:gd name="T1" fmla="*/ 49 h 102"/>
                    <a:gd name="T2" fmla="*/ 324 w 370"/>
                    <a:gd name="T3" fmla="*/ 19 h 102"/>
                    <a:gd name="T4" fmla="*/ 0 w 370"/>
                    <a:gd name="T5" fmla="*/ 6 h 102"/>
                    <a:gd name="T6" fmla="*/ 185 w 370"/>
                    <a:gd name="T7" fmla="*/ 102 h 102"/>
                    <a:gd name="T8" fmla="*/ 370 w 370"/>
                    <a:gd name="T9" fmla="*/ 49 h 102"/>
                  </a:gdLst>
                  <a:cxnLst>
                    <a:cxn ang="0">
                      <a:pos x="T0" y="T1"/>
                    </a:cxn>
                    <a:cxn ang="0">
                      <a:pos x="T2" y="T3"/>
                    </a:cxn>
                    <a:cxn ang="0">
                      <a:pos x="T4" y="T5"/>
                    </a:cxn>
                    <a:cxn ang="0">
                      <a:pos x="T6" y="T7"/>
                    </a:cxn>
                    <a:cxn ang="0">
                      <a:pos x="T8" y="T9"/>
                    </a:cxn>
                  </a:cxnLst>
                  <a:rect l="0" t="0" r="r" b="b"/>
                  <a:pathLst>
                    <a:path w="370" h="102">
                      <a:moveTo>
                        <a:pt x="370" y="49"/>
                      </a:moveTo>
                      <a:cubicBezTo>
                        <a:pt x="354" y="35"/>
                        <a:pt x="338" y="24"/>
                        <a:pt x="324" y="19"/>
                      </a:cubicBezTo>
                      <a:cubicBezTo>
                        <a:pt x="271" y="0"/>
                        <a:pt x="0" y="6"/>
                        <a:pt x="0" y="6"/>
                      </a:cubicBezTo>
                      <a:cubicBezTo>
                        <a:pt x="0" y="6"/>
                        <a:pt x="16" y="83"/>
                        <a:pt x="185" y="102"/>
                      </a:cubicBezTo>
                      <a:cubicBezTo>
                        <a:pt x="238" y="72"/>
                        <a:pt x="316" y="57"/>
                        <a:pt x="370" y="49"/>
                      </a:cubicBezTo>
                      <a:close/>
                    </a:path>
                  </a:pathLst>
                </a:custGeom>
                <a:solidFill>
                  <a:srgbClr val="C691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92" name="Freeform 211">
                  <a:extLst>
                    <a:ext uri="{FF2B5EF4-FFF2-40B4-BE49-F238E27FC236}">
                      <a16:creationId xmlns:a16="http://schemas.microsoft.com/office/drawing/2014/main" id="{5BA27736-AB3D-DBED-740D-C1A0450B9307}"/>
                    </a:ext>
                  </a:extLst>
                </p:cNvPr>
                <p:cNvSpPr/>
                <p:nvPr/>
              </p:nvSpPr>
              <p:spPr bwMode="auto">
                <a:xfrm>
                  <a:off x="1666" y="2071"/>
                  <a:ext cx="675" cy="187"/>
                </a:xfrm>
                <a:custGeom>
                  <a:gdLst>
                    <a:gd name="T0" fmla="*/ 370 w 370"/>
                    <a:gd name="T1" fmla="*/ 49 h 102"/>
                    <a:gd name="T2" fmla="*/ 324 w 370"/>
                    <a:gd name="T3" fmla="*/ 19 h 102"/>
                    <a:gd name="T4" fmla="*/ 0 w 370"/>
                    <a:gd name="T5" fmla="*/ 6 h 102"/>
                    <a:gd name="T6" fmla="*/ 185 w 370"/>
                    <a:gd name="T7" fmla="*/ 102 h 102"/>
                    <a:gd name="T8" fmla="*/ 370 w 370"/>
                    <a:gd name="T9" fmla="*/ 49 h 102"/>
                  </a:gdLst>
                  <a:cxnLst>
                    <a:cxn ang="0">
                      <a:pos x="T0" y="T1"/>
                    </a:cxn>
                    <a:cxn ang="0">
                      <a:pos x="T2" y="T3"/>
                    </a:cxn>
                    <a:cxn ang="0">
                      <a:pos x="T4" y="T5"/>
                    </a:cxn>
                    <a:cxn ang="0">
                      <a:pos x="T6" y="T7"/>
                    </a:cxn>
                    <a:cxn ang="0">
                      <a:pos x="T8" y="T9"/>
                    </a:cxn>
                  </a:cxnLst>
                  <a:rect l="0" t="0" r="r" b="b"/>
                  <a:pathLst>
                    <a:path w="370" h="102">
                      <a:moveTo>
                        <a:pt x="370" y="49"/>
                      </a:moveTo>
                      <a:cubicBezTo>
                        <a:pt x="354" y="35"/>
                        <a:pt x="338" y="24"/>
                        <a:pt x="324" y="19"/>
                      </a:cubicBezTo>
                      <a:cubicBezTo>
                        <a:pt x="271" y="0"/>
                        <a:pt x="0" y="6"/>
                        <a:pt x="0" y="6"/>
                      </a:cubicBezTo>
                      <a:cubicBezTo>
                        <a:pt x="0" y="6"/>
                        <a:pt x="16" y="83"/>
                        <a:pt x="185" y="102"/>
                      </a:cubicBezTo>
                      <a:cubicBezTo>
                        <a:pt x="238" y="72"/>
                        <a:pt x="316" y="57"/>
                        <a:pt x="370" y="49"/>
                      </a:cubicBezTo>
                      <a:close/>
                    </a:path>
                  </a:pathLst>
                </a:custGeom>
                <a:solidFill>
                  <a:srgbClr val="D86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93" name="Freeform 212">
                  <a:extLst>
                    <a:ext uri="{FF2B5EF4-FFF2-40B4-BE49-F238E27FC236}">
                      <a16:creationId xmlns:a16="http://schemas.microsoft.com/office/drawing/2014/main" id="{3A213D48-B153-A5B4-662B-4946D49C90EB}"/>
                    </a:ext>
                  </a:extLst>
                </p:cNvPr>
                <p:cNvSpPr/>
                <p:nvPr/>
              </p:nvSpPr>
              <p:spPr bwMode="auto">
                <a:xfrm>
                  <a:off x="2175" y="2276"/>
                  <a:ext cx="482" cy="434"/>
                </a:xfrm>
                <a:custGeom>
                  <a:gdLst>
                    <a:gd name="T0" fmla="*/ 189 w 264"/>
                    <a:gd name="T1" fmla="*/ 0 h 238"/>
                    <a:gd name="T2" fmla="*/ 264 w 264"/>
                    <a:gd name="T3" fmla="*/ 89 h 238"/>
                    <a:gd name="T4" fmla="*/ 62 w 264"/>
                    <a:gd name="T5" fmla="*/ 238 h 238"/>
                    <a:gd name="T6" fmla="*/ 0 w 264"/>
                    <a:gd name="T7" fmla="*/ 144 h 238"/>
                    <a:gd name="T8" fmla="*/ 189 w 264"/>
                    <a:gd name="T9" fmla="*/ 0 h 238"/>
                  </a:gdLst>
                  <a:cxnLst>
                    <a:cxn ang="0">
                      <a:pos x="T0" y="T1"/>
                    </a:cxn>
                    <a:cxn ang="0">
                      <a:pos x="T2" y="T3"/>
                    </a:cxn>
                    <a:cxn ang="0">
                      <a:pos x="T4" y="T5"/>
                    </a:cxn>
                    <a:cxn ang="0">
                      <a:pos x="T6" y="T7"/>
                    </a:cxn>
                    <a:cxn ang="0">
                      <a:pos x="T8" y="T9"/>
                    </a:cxn>
                  </a:cxnLst>
                  <a:rect l="0" t="0" r="r" b="b"/>
                  <a:pathLst>
                    <a:path w="264" h="238">
                      <a:moveTo>
                        <a:pt x="189" y="0"/>
                      </a:moveTo>
                      <a:cubicBezTo>
                        <a:pt x="264" y="89"/>
                        <a:pt x="264" y="89"/>
                        <a:pt x="264" y="89"/>
                      </a:cubicBezTo>
                      <a:cubicBezTo>
                        <a:pt x="222" y="137"/>
                        <a:pt x="149" y="208"/>
                        <a:pt x="62" y="238"/>
                      </a:cubicBezTo>
                      <a:cubicBezTo>
                        <a:pt x="43" y="209"/>
                        <a:pt x="23" y="178"/>
                        <a:pt x="0" y="144"/>
                      </a:cubicBezTo>
                      <a:cubicBezTo>
                        <a:pt x="127" y="120"/>
                        <a:pt x="189" y="0"/>
                        <a:pt x="189" y="0"/>
                      </a:cubicBezTo>
                      <a:close/>
                    </a:path>
                  </a:pathLst>
                </a:custGeom>
                <a:solidFill>
                  <a:srgbClr val="D3C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94" name="Freeform 213">
                  <a:extLst>
                    <a:ext uri="{FF2B5EF4-FFF2-40B4-BE49-F238E27FC236}">
                      <a16:creationId xmlns:a16="http://schemas.microsoft.com/office/drawing/2014/main" id="{5ABE7759-B284-EBA2-1A5F-2E1B20DE5BFA}"/>
                    </a:ext>
                  </a:extLst>
                </p:cNvPr>
                <p:cNvSpPr/>
                <p:nvPr/>
              </p:nvSpPr>
              <p:spPr bwMode="auto">
                <a:xfrm>
                  <a:off x="2792" y="2603"/>
                  <a:ext cx="237" cy="275"/>
                </a:xfrm>
                <a:custGeom>
                  <a:gdLst>
                    <a:gd name="T0" fmla="*/ 0 w 237"/>
                    <a:gd name="T1" fmla="*/ 5 h 275"/>
                    <a:gd name="T2" fmla="*/ 232 w 237"/>
                    <a:gd name="T3" fmla="*/ 275 h 275"/>
                    <a:gd name="T4" fmla="*/ 237 w 237"/>
                    <a:gd name="T5" fmla="*/ 270 h 275"/>
                    <a:gd name="T6" fmla="*/ 7 w 237"/>
                    <a:gd name="T7" fmla="*/ 0 h 275"/>
                    <a:gd name="T8" fmla="*/ 0 w 237"/>
                    <a:gd name="T9" fmla="*/ 5 h 275"/>
                  </a:gdLst>
                  <a:cxnLst>
                    <a:cxn ang="0">
                      <a:pos x="T0" y="T1"/>
                    </a:cxn>
                    <a:cxn ang="0">
                      <a:pos x="T2" y="T3"/>
                    </a:cxn>
                    <a:cxn ang="0">
                      <a:pos x="T4" y="T5"/>
                    </a:cxn>
                    <a:cxn ang="0">
                      <a:pos x="T6" y="T7"/>
                    </a:cxn>
                    <a:cxn ang="0">
                      <a:pos x="T8" y="T9"/>
                    </a:cxn>
                  </a:cxnLst>
                  <a:rect l="0" t="0" r="r" b="b"/>
                  <a:pathLst>
                    <a:path w="236" h="275">
                      <a:moveTo>
                        <a:pt x="0" y="5"/>
                      </a:moveTo>
                      <a:lnTo>
                        <a:pt x="232" y="275"/>
                      </a:lnTo>
                      <a:lnTo>
                        <a:pt x="237" y="270"/>
                      </a:lnTo>
                      <a:lnTo>
                        <a:pt x="7" y="0"/>
                      </a:lnTo>
                      <a:lnTo>
                        <a:pt x="0" y="5"/>
                      </a:lnTo>
                      <a:close/>
                    </a:path>
                  </a:pathLst>
                </a:custGeom>
                <a:solidFill>
                  <a:srgbClr val="9B94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95" name="Freeform 214">
                  <a:extLst>
                    <a:ext uri="{FF2B5EF4-FFF2-40B4-BE49-F238E27FC236}">
                      <a16:creationId xmlns:a16="http://schemas.microsoft.com/office/drawing/2014/main" id="{E4457CBC-22D9-C023-0B12-D69AD57C425E}"/>
                    </a:ext>
                  </a:extLst>
                </p:cNvPr>
                <p:cNvSpPr/>
                <p:nvPr/>
              </p:nvSpPr>
              <p:spPr bwMode="auto">
                <a:xfrm>
                  <a:off x="2792" y="2603"/>
                  <a:ext cx="237" cy="275"/>
                </a:xfrm>
                <a:custGeom>
                  <a:gdLst>
                    <a:gd name="T0" fmla="*/ 0 w 237"/>
                    <a:gd name="T1" fmla="*/ 5 h 275"/>
                    <a:gd name="T2" fmla="*/ 232 w 237"/>
                    <a:gd name="T3" fmla="*/ 275 h 275"/>
                    <a:gd name="T4" fmla="*/ 237 w 237"/>
                    <a:gd name="T5" fmla="*/ 270 h 275"/>
                    <a:gd name="T6" fmla="*/ 7 w 237"/>
                    <a:gd name="T7" fmla="*/ 0 h 275"/>
                  </a:gdLst>
                  <a:cxnLst>
                    <a:cxn ang="0">
                      <a:pos x="T0" y="T1"/>
                    </a:cxn>
                    <a:cxn ang="0">
                      <a:pos x="T2" y="T3"/>
                    </a:cxn>
                    <a:cxn ang="0">
                      <a:pos x="T4" y="T5"/>
                    </a:cxn>
                    <a:cxn ang="0">
                      <a:pos x="T6" y="T7"/>
                    </a:cxn>
                  </a:cxnLst>
                  <a:rect l="0" t="0" r="r" b="b"/>
                  <a:pathLst>
                    <a:path w="236" h="275">
                      <a:moveTo>
                        <a:pt x="0" y="5"/>
                      </a:moveTo>
                      <a:lnTo>
                        <a:pt x="232" y="275"/>
                      </a:lnTo>
                      <a:lnTo>
                        <a:pt x="237" y="270"/>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96" name="Freeform 215">
                  <a:extLst>
                    <a:ext uri="{FF2B5EF4-FFF2-40B4-BE49-F238E27FC236}">
                      <a16:creationId xmlns:a16="http://schemas.microsoft.com/office/drawing/2014/main" id="{3D826BC2-2F17-397B-3A3F-65EE5EAB53A9}"/>
                    </a:ext>
                  </a:extLst>
                </p:cNvPr>
                <p:cNvSpPr/>
                <p:nvPr/>
              </p:nvSpPr>
              <p:spPr bwMode="auto">
                <a:xfrm>
                  <a:off x="2876" y="2707"/>
                  <a:ext cx="184" cy="82"/>
                </a:xfrm>
                <a:custGeom>
                  <a:gdLst>
                    <a:gd name="T0" fmla="*/ 184 w 184"/>
                    <a:gd name="T1" fmla="*/ 74 h 82"/>
                    <a:gd name="T2" fmla="*/ 3 w 184"/>
                    <a:gd name="T3" fmla="*/ 0 h 82"/>
                    <a:gd name="T4" fmla="*/ 0 w 184"/>
                    <a:gd name="T5" fmla="*/ 7 h 82"/>
                    <a:gd name="T6" fmla="*/ 180 w 184"/>
                    <a:gd name="T7" fmla="*/ 82 h 82"/>
                    <a:gd name="T8" fmla="*/ 184 w 184"/>
                    <a:gd name="T9" fmla="*/ 74 h 82"/>
                  </a:gdLst>
                  <a:cxnLst>
                    <a:cxn ang="0">
                      <a:pos x="T0" y="T1"/>
                    </a:cxn>
                    <a:cxn ang="0">
                      <a:pos x="T2" y="T3"/>
                    </a:cxn>
                    <a:cxn ang="0">
                      <a:pos x="T4" y="T5"/>
                    </a:cxn>
                    <a:cxn ang="0">
                      <a:pos x="T6" y="T7"/>
                    </a:cxn>
                    <a:cxn ang="0">
                      <a:pos x="T8" y="T9"/>
                    </a:cxn>
                  </a:cxnLst>
                  <a:rect l="0" t="0" r="r" b="b"/>
                  <a:pathLst>
                    <a:path w="184" h="82">
                      <a:moveTo>
                        <a:pt x="184" y="74"/>
                      </a:moveTo>
                      <a:lnTo>
                        <a:pt x="3" y="0"/>
                      </a:lnTo>
                      <a:lnTo>
                        <a:pt x="0" y="7"/>
                      </a:lnTo>
                      <a:lnTo>
                        <a:pt x="180" y="82"/>
                      </a:lnTo>
                      <a:lnTo>
                        <a:pt x="184" y="74"/>
                      </a:lnTo>
                      <a:close/>
                    </a:path>
                  </a:pathLst>
                </a:custGeom>
                <a:solidFill>
                  <a:srgbClr val="9B94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97" name="Freeform 216">
                  <a:extLst>
                    <a:ext uri="{FF2B5EF4-FFF2-40B4-BE49-F238E27FC236}">
                      <a16:creationId xmlns:a16="http://schemas.microsoft.com/office/drawing/2014/main" id="{304C2870-C49E-8C91-B88B-6947C1E4769F}"/>
                    </a:ext>
                  </a:extLst>
                </p:cNvPr>
                <p:cNvSpPr/>
                <p:nvPr/>
              </p:nvSpPr>
              <p:spPr bwMode="auto">
                <a:xfrm>
                  <a:off x="2876" y="2707"/>
                  <a:ext cx="184" cy="82"/>
                </a:xfrm>
                <a:custGeom>
                  <a:gdLst>
                    <a:gd name="T0" fmla="*/ 184 w 184"/>
                    <a:gd name="T1" fmla="*/ 74 h 82"/>
                    <a:gd name="T2" fmla="*/ 3 w 184"/>
                    <a:gd name="T3" fmla="*/ 0 h 82"/>
                    <a:gd name="T4" fmla="*/ 0 w 184"/>
                    <a:gd name="T5" fmla="*/ 7 h 82"/>
                    <a:gd name="T6" fmla="*/ 180 w 184"/>
                    <a:gd name="T7" fmla="*/ 82 h 82"/>
                  </a:gdLst>
                  <a:cxnLst>
                    <a:cxn ang="0">
                      <a:pos x="T0" y="T1"/>
                    </a:cxn>
                    <a:cxn ang="0">
                      <a:pos x="T2" y="T3"/>
                    </a:cxn>
                    <a:cxn ang="0">
                      <a:pos x="T4" y="T5"/>
                    </a:cxn>
                    <a:cxn ang="0">
                      <a:pos x="T6" y="T7"/>
                    </a:cxn>
                  </a:cxnLst>
                  <a:rect l="0" t="0" r="r" b="b"/>
                  <a:pathLst>
                    <a:path w="184" h="82">
                      <a:moveTo>
                        <a:pt x="184" y="74"/>
                      </a:moveTo>
                      <a:lnTo>
                        <a:pt x="3" y="0"/>
                      </a:lnTo>
                      <a:lnTo>
                        <a:pt x="0" y="7"/>
                      </a:lnTo>
                      <a:lnTo>
                        <a:pt x="180" y="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98" name="Freeform 217">
                  <a:extLst>
                    <a:ext uri="{FF2B5EF4-FFF2-40B4-BE49-F238E27FC236}">
                      <a16:creationId xmlns:a16="http://schemas.microsoft.com/office/drawing/2014/main" id="{F0350027-7D56-BC28-A4F2-7AB1E0BA335E}"/>
                    </a:ext>
                  </a:extLst>
                </p:cNvPr>
                <p:cNvSpPr/>
                <p:nvPr/>
              </p:nvSpPr>
              <p:spPr bwMode="auto">
                <a:xfrm>
                  <a:off x="2662" y="3083"/>
                  <a:ext cx="449" cy="281"/>
                </a:xfrm>
                <a:custGeom>
                  <a:gdLst>
                    <a:gd name="T0" fmla="*/ 0 w 246"/>
                    <a:gd name="T1" fmla="*/ 81 h 154"/>
                    <a:gd name="T2" fmla="*/ 123 w 246"/>
                    <a:gd name="T3" fmla="*/ 0 h 154"/>
                    <a:gd name="T4" fmla="*/ 246 w 246"/>
                    <a:gd name="T5" fmla="*/ 80 h 154"/>
                    <a:gd name="T6" fmla="*/ 161 w 246"/>
                    <a:gd name="T7" fmla="*/ 149 h 154"/>
                    <a:gd name="T8" fmla="*/ 0 w 246"/>
                    <a:gd name="T9" fmla="*/ 81 h 154"/>
                  </a:gdLst>
                  <a:cxnLst>
                    <a:cxn ang="0">
                      <a:pos x="T0" y="T1"/>
                    </a:cxn>
                    <a:cxn ang="0">
                      <a:pos x="T2" y="T3"/>
                    </a:cxn>
                    <a:cxn ang="0">
                      <a:pos x="T4" y="T5"/>
                    </a:cxn>
                    <a:cxn ang="0">
                      <a:pos x="T6" y="T7"/>
                    </a:cxn>
                    <a:cxn ang="0">
                      <a:pos x="T8" y="T9"/>
                    </a:cxn>
                  </a:cxnLst>
                  <a:rect l="0" t="0" r="r" b="b"/>
                  <a:pathLst>
                    <a:path w="246" h="154">
                      <a:moveTo>
                        <a:pt x="0" y="81"/>
                      </a:moveTo>
                      <a:cubicBezTo>
                        <a:pt x="21" y="34"/>
                        <a:pt x="68" y="0"/>
                        <a:pt x="123" y="0"/>
                      </a:cubicBezTo>
                      <a:cubicBezTo>
                        <a:pt x="178" y="0"/>
                        <a:pt x="225" y="33"/>
                        <a:pt x="246" y="80"/>
                      </a:cubicBezTo>
                      <a:cubicBezTo>
                        <a:pt x="223" y="118"/>
                        <a:pt x="194" y="146"/>
                        <a:pt x="161" y="149"/>
                      </a:cubicBezTo>
                      <a:cubicBezTo>
                        <a:pt x="100" y="154"/>
                        <a:pt x="60" y="145"/>
                        <a:pt x="0" y="81"/>
                      </a:cubicBezTo>
                      <a:close/>
                    </a:path>
                  </a:pathLst>
                </a:custGeom>
                <a:solidFill>
                  <a:srgbClr val="D3C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99" name="Oval 218">
                  <a:extLst>
                    <a:ext uri="{FF2B5EF4-FFF2-40B4-BE49-F238E27FC236}">
                      <a16:creationId xmlns:a16="http://schemas.microsoft.com/office/drawing/2014/main" id="{F65DF474-45FB-8AEB-E6B6-F3C75C41487A}"/>
                    </a:ext>
                  </a:extLst>
                </p:cNvPr>
                <p:cNvSpPr>
                  <a:spLocks noChangeArrowheads="1"/>
                </p:cNvSpPr>
                <p:nvPr/>
              </p:nvSpPr>
              <p:spPr bwMode="auto">
                <a:xfrm>
                  <a:off x="3695" y="2081"/>
                  <a:ext cx="93" cy="93"/>
                </a:xfrm>
                <a:prstGeom prst="ellipse">
                  <a:avLst/>
                </a:prstGeom>
                <a:solidFill>
                  <a:srgbClr val="2D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00" name="Oval 219">
                  <a:extLst>
                    <a:ext uri="{FF2B5EF4-FFF2-40B4-BE49-F238E27FC236}">
                      <a16:creationId xmlns:a16="http://schemas.microsoft.com/office/drawing/2014/main" id="{D47C88D2-0424-F14C-D53D-30A8D30378A3}"/>
                    </a:ext>
                  </a:extLst>
                </p:cNvPr>
                <p:cNvSpPr>
                  <a:spLocks noChangeArrowheads="1"/>
                </p:cNvSpPr>
                <p:nvPr/>
              </p:nvSpPr>
              <p:spPr bwMode="auto">
                <a:xfrm>
                  <a:off x="3695" y="2497"/>
                  <a:ext cx="93" cy="93"/>
                </a:xfrm>
                <a:prstGeom prst="ellipse">
                  <a:avLst/>
                </a:prstGeom>
                <a:solidFill>
                  <a:srgbClr val="2D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01" name="Oval 220">
                  <a:extLst>
                    <a:ext uri="{FF2B5EF4-FFF2-40B4-BE49-F238E27FC236}">
                      <a16:creationId xmlns:a16="http://schemas.microsoft.com/office/drawing/2014/main" id="{6B57084C-56A3-2097-72C7-D135A9507E62}"/>
                    </a:ext>
                  </a:extLst>
                </p:cNvPr>
                <p:cNvSpPr>
                  <a:spLocks noChangeArrowheads="1"/>
                </p:cNvSpPr>
                <p:nvPr/>
              </p:nvSpPr>
              <p:spPr bwMode="auto">
                <a:xfrm>
                  <a:off x="3695" y="2913"/>
                  <a:ext cx="93" cy="91"/>
                </a:xfrm>
                <a:prstGeom prst="ellipse">
                  <a:avLst/>
                </a:prstGeom>
                <a:solidFill>
                  <a:srgbClr val="2D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02" name="Oval 221">
                  <a:extLst>
                    <a:ext uri="{FF2B5EF4-FFF2-40B4-BE49-F238E27FC236}">
                      <a16:creationId xmlns:a16="http://schemas.microsoft.com/office/drawing/2014/main" id="{C84BECCD-3E6F-E550-33EF-E3CF93873369}"/>
                    </a:ext>
                  </a:extLst>
                </p:cNvPr>
                <p:cNvSpPr>
                  <a:spLocks noChangeArrowheads="1"/>
                </p:cNvSpPr>
                <p:nvPr/>
              </p:nvSpPr>
              <p:spPr bwMode="auto">
                <a:xfrm>
                  <a:off x="3695" y="3329"/>
                  <a:ext cx="93" cy="91"/>
                </a:xfrm>
                <a:prstGeom prst="ellipse">
                  <a:avLst/>
                </a:prstGeom>
                <a:solidFill>
                  <a:srgbClr val="2D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03" name="Oval 222">
                  <a:extLst>
                    <a:ext uri="{FF2B5EF4-FFF2-40B4-BE49-F238E27FC236}">
                      <a16:creationId xmlns:a16="http://schemas.microsoft.com/office/drawing/2014/main" id="{14EA424E-E19E-B0E5-CAD9-70F4A36FA42F}"/>
                    </a:ext>
                  </a:extLst>
                </p:cNvPr>
                <p:cNvSpPr>
                  <a:spLocks noChangeArrowheads="1"/>
                </p:cNvSpPr>
                <p:nvPr/>
              </p:nvSpPr>
              <p:spPr bwMode="auto">
                <a:xfrm>
                  <a:off x="3695" y="3743"/>
                  <a:ext cx="93" cy="93"/>
                </a:xfrm>
                <a:prstGeom prst="ellipse">
                  <a:avLst/>
                </a:prstGeom>
                <a:solidFill>
                  <a:srgbClr val="2D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04" name="Freeform 223">
                  <a:extLst>
                    <a:ext uri="{FF2B5EF4-FFF2-40B4-BE49-F238E27FC236}">
                      <a16:creationId xmlns:a16="http://schemas.microsoft.com/office/drawing/2014/main" id="{015B6226-D701-5A36-7627-AC15F35A77D5}"/>
                    </a:ext>
                  </a:extLst>
                </p:cNvPr>
                <p:cNvSpPr/>
                <p:nvPr/>
              </p:nvSpPr>
              <p:spPr bwMode="auto">
                <a:xfrm>
                  <a:off x="3233" y="1683"/>
                  <a:ext cx="106" cy="1053"/>
                </a:xfrm>
                <a:custGeom>
                  <a:gdLst>
                    <a:gd name="T0" fmla="*/ 54 w 58"/>
                    <a:gd name="T1" fmla="*/ 0 h 577"/>
                    <a:gd name="T2" fmla="*/ 27 w 58"/>
                    <a:gd name="T3" fmla="*/ 175 h 577"/>
                    <a:gd name="T4" fmla="*/ 0 w 58"/>
                    <a:gd name="T5" fmla="*/ 440 h 577"/>
                    <a:gd name="T6" fmla="*/ 1 w 58"/>
                    <a:gd name="T7" fmla="*/ 459 h 577"/>
                    <a:gd name="T8" fmla="*/ 13 w 58"/>
                    <a:gd name="T9" fmla="*/ 556 h 577"/>
                    <a:gd name="T10" fmla="*/ 20 w 58"/>
                    <a:gd name="T11" fmla="*/ 577 h 577"/>
                    <a:gd name="T12" fmla="*/ 23 w 58"/>
                    <a:gd name="T13" fmla="*/ 574 h 577"/>
                    <a:gd name="T14" fmla="*/ 22 w 58"/>
                    <a:gd name="T15" fmla="*/ 575 h 577"/>
                    <a:gd name="T16" fmla="*/ 23 w 58"/>
                    <a:gd name="T17" fmla="*/ 574 h 577"/>
                    <a:gd name="T18" fmla="*/ 23 w 58"/>
                    <a:gd name="T19" fmla="*/ 574 h 577"/>
                    <a:gd name="T20" fmla="*/ 22 w 58"/>
                    <a:gd name="T21" fmla="*/ 575 h 577"/>
                    <a:gd name="T22" fmla="*/ 23 w 58"/>
                    <a:gd name="T23" fmla="*/ 574 h 577"/>
                    <a:gd name="T24" fmla="*/ 16 w 58"/>
                    <a:gd name="T25" fmla="*/ 553 h 577"/>
                    <a:gd name="T26" fmla="*/ 5 w 58"/>
                    <a:gd name="T27" fmla="*/ 459 h 577"/>
                    <a:gd name="T28" fmla="*/ 5 w 58"/>
                    <a:gd name="T29" fmla="*/ 440 h 577"/>
                    <a:gd name="T30" fmla="*/ 31 w 58"/>
                    <a:gd name="T31" fmla="*/ 175 h 577"/>
                    <a:gd name="T32" fmla="*/ 50 w 58"/>
                    <a:gd name="T33" fmla="*/ 53 h 577"/>
                    <a:gd name="T34" fmla="*/ 56 w 58"/>
                    <a:gd name="T35" fmla="*/ 15 h 577"/>
                    <a:gd name="T36" fmla="*/ 58 w 58"/>
                    <a:gd name="T37" fmla="*/ 1 h 577"/>
                    <a:gd name="T38" fmla="*/ 54 w 58"/>
                    <a:gd name="T39" fmla="*/ 0 h 5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 h="577">
                      <a:moveTo>
                        <a:pt x="54" y="0"/>
                      </a:moveTo>
                      <a:cubicBezTo>
                        <a:pt x="54" y="0"/>
                        <a:pt x="40" y="80"/>
                        <a:pt x="27" y="175"/>
                      </a:cubicBezTo>
                      <a:cubicBezTo>
                        <a:pt x="14" y="270"/>
                        <a:pt x="0" y="380"/>
                        <a:pt x="0" y="440"/>
                      </a:cubicBezTo>
                      <a:cubicBezTo>
                        <a:pt x="0" y="447"/>
                        <a:pt x="1" y="453"/>
                        <a:pt x="1" y="459"/>
                      </a:cubicBezTo>
                      <a:cubicBezTo>
                        <a:pt x="4" y="510"/>
                        <a:pt x="9" y="539"/>
                        <a:pt x="13" y="556"/>
                      </a:cubicBezTo>
                      <a:cubicBezTo>
                        <a:pt x="16" y="572"/>
                        <a:pt x="19" y="576"/>
                        <a:pt x="20" y="577"/>
                      </a:cubicBezTo>
                      <a:cubicBezTo>
                        <a:pt x="23" y="574"/>
                        <a:pt x="23" y="574"/>
                        <a:pt x="23" y="574"/>
                      </a:cubicBezTo>
                      <a:cubicBezTo>
                        <a:pt x="22" y="575"/>
                        <a:pt x="22" y="575"/>
                        <a:pt x="22" y="575"/>
                      </a:cubicBezTo>
                      <a:cubicBezTo>
                        <a:pt x="23" y="574"/>
                        <a:pt x="23" y="574"/>
                        <a:pt x="23" y="574"/>
                      </a:cubicBezTo>
                      <a:cubicBezTo>
                        <a:pt x="23" y="574"/>
                        <a:pt x="23" y="574"/>
                        <a:pt x="23" y="574"/>
                      </a:cubicBezTo>
                      <a:cubicBezTo>
                        <a:pt x="22" y="575"/>
                        <a:pt x="22" y="575"/>
                        <a:pt x="22" y="575"/>
                      </a:cubicBezTo>
                      <a:cubicBezTo>
                        <a:pt x="23" y="574"/>
                        <a:pt x="23" y="574"/>
                        <a:pt x="23" y="574"/>
                      </a:cubicBezTo>
                      <a:cubicBezTo>
                        <a:pt x="23" y="574"/>
                        <a:pt x="20" y="570"/>
                        <a:pt x="16" y="553"/>
                      </a:cubicBezTo>
                      <a:cubicBezTo>
                        <a:pt x="13" y="537"/>
                        <a:pt x="9" y="508"/>
                        <a:pt x="5" y="459"/>
                      </a:cubicBezTo>
                      <a:cubicBezTo>
                        <a:pt x="5" y="453"/>
                        <a:pt x="5" y="447"/>
                        <a:pt x="5" y="440"/>
                      </a:cubicBezTo>
                      <a:cubicBezTo>
                        <a:pt x="5" y="380"/>
                        <a:pt x="18" y="270"/>
                        <a:pt x="31" y="175"/>
                      </a:cubicBezTo>
                      <a:cubicBezTo>
                        <a:pt x="38" y="128"/>
                        <a:pt x="45" y="85"/>
                        <a:pt x="50" y="53"/>
                      </a:cubicBezTo>
                      <a:cubicBezTo>
                        <a:pt x="52" y="37"/>
                        <a:pt x="54" y="24"/>
                        <a:pt x="56" y="15"/>
                      </a:cubicBezTo>
                      <a:cubicBezTo>
                        <a:pt x="57" y="6"/>
                        <a:pt x="58" y="1"/>
                        <a:pt x="58" y="1"/>
                      </a:cubicBezTo>
                      <a:cubicBezTo>
                        <a:pt x="54" y="0"/>
                        <a:pt x="54" y="0"/>
                        <a:pt x="54" y="0"/>
                      </a:cubicBezTo>
                      <a:close/>
                    </a:path>
                  </a:pathLst>
                </a:custGeom>
                <a:solidFill>
                  <a:srgbClr val="9B94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05" name="Freeform 224">
                  <a:extLst>
                    <a:ext uri="{FF2B5EF4-FFF2-40B4-BE49-F238E27FC236}">
                      <a16:creationId xmlns:a16="http://schemas.microsoft.com/office/drawing/2014/main" id="{FA806E5B-CC68-4C65-A1BC-672A62E5107B}"/>
                    </a:ext>
                  </a:extLst>
                </p:cNvPr>
                <p:cNvSpPr/>
                <p:nvPr/>
              </p:nvSpPr>
              <p:spPr bwMode="auto">
                <a:xfrm>
                  <a:off x="1768" y="2081"/>
                  <a:ext cx="196" cy="89"/>
                </a:xfrm>
                <a:custGeom>
                  <a:gdLst>
                    <a:gd name="T0" fmla="*/ 0 w 107"/>
                    <a:gd name="T1" fmla="*/ 1 h 49"/>
                    <a:gd name="T2" fmla="*/ 19 w 107"/>
                    <a:gd name="T3" fmla="*/ 24 h 49"/>
                    <a:gd name="T4" fmla="*/ 107 w 107"/>
                    <a:gd name="T5" fmla="*/ 49 h 49"/>
                    <a:gd name="T6" fmla="*/ 107 w 107"/>
                    <a:gd name="T7" fmla="*/ 45 h 49"/>
                    <a:gd name="T8" fmla="*/ 21 w 107"/>
                    <a:gd name="T9" fmla="*/ 20 h 49"/>
                    <a:gd name="T10" fmla="*/ 7 w 107"/>
                    <a:gd name="T11" fmla="*/ 6 h 49"/>
                    <a:gd name="T12" fmla="*/ 5 w 107"/>
                    <a:gd name="T13" fmla="*/ 1 h 49"/>
                    <a:gd name="T14" fmla="*/ 4 w 107"/>
                    <a:gd name="T15" fmla="*/ 0 h 49"/>
                    <a:gd name="T16" fmla="*/ 4 w 107"/>
                    <a:gd name="T17" fmla="*/ 0 h 49"/>
                    <a:gd name="T18" fmla="*/ 4 w 107"/>
                    <a:gd name="T19" fmla="*/ 0 h 49"/>
                    <a:gd name="T20" fmla="*/ 4 w 107"/>
                    <a:gd name="T21" fmla="*/ 0 h 49"/>
                    <a:gd name="T22" fmla="*/ 4 w 107"/>
                    <a:gd name="T23" fmla="*/ 0 h 49"/>
                    <a:gd name="T24" fmla="*/ 4 w 107"/>
                    <a:gd name="T25" fmla="*/ 0 h 49"/>
                    <a:gd name="T26" fmla="*/ 4 w 107"/>
                    <a:gd name="T27" fmla="*/ 0 h 49"/>
                    <a:gd name="T28" fmla="*/ 4 w 107"/>
                    <a:gd name="T29" fmla="*/ 0 h 49"/>
                    <a:gd name="T30" fmla="*/ 0 w 107"/>
                    <a:gd name="T31" fmla="*/ 1 h 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7" h="49">
                      <a:moveTo>
                        <a:pt x="0" y="1"/>
                      </a:moveTo>
                      <a:cubicBezTo>
                        <a:pt x="0" y="1"/>
                        <a:pt x="4" y="12"/>
                        <a:pt x="19" y="24"/>
                      </a:cubicBezTo>
                      <a:cubicBezTo>
                        <a:pt x="34" y="35"/>
                        <a:pt x="61" y="47"/>
                        <a:pt x="107" y="49"/>
                      </a:cubicBezTo>
                      <a:cubicBezTo>
                        <a:pt x="107" y="45"/>
                        <a:pt x="107" y="45"/>
                        <a:pt x="107" y="45"/>
                      </a:cubicBezTo>
                      <a:cubicBezTo>
                        <a:pt x="61" y="43"/>
                        <a:pt x="36" y="31"/>
                        <a:pt x="21" y="20"/>
                      </a:cubicBezTo>
                      <a:cubicBezTo>
                        <a:pt x="14" y="15"/>
                        <a:pt x="10" y="10"/>
                        <a:pt x="7" y="6"/>
                      </a:cubicBezTo>
                      <a:cubicBezTo>
                        <a:pt x="6" y="4"/>
                        <a:pt x="5" y="2"/>
                        <a:pt x="5" y="1"/>
                      </a:cubicBezTo>
                      <a:cubicBezTo>
                        <a:pt x="4" y="1"/>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0" y="1"/>
                        <a:pt x="0" y="1"/>
                        <a:pt x="0" y="1"/>
                      </a:cubicBezTo>
                      <a:close/>
                    </a:path>
                  </a:pathLst>
                </a:custGeom>
                <a:solidFill>
                  <a:srgbClr val="931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06" name="Freeform 225">
                  <a:extLst>
                    <a:ext uri="{FF2B5EF4-FFF2-40B4-BE49-F238E27FC236}">
                      <a16:creationId xmlns:a16="http://schemas.microsoft.com/office/drawing/2014/main" id="{A0CCA293-16C1-F652-C03D-1FD8E4DC2E84}"/>
                    </a:ext>
                  </a:extLst>
                </p:cNvPr>
                <p:cNvSpPr/>
                <p:nvPr/>
              </p:nvSpPr>
              <p:spPr bwMode="auto">
                <a:xfrm>
                  <a:off x="1332" y="2017"/>
                  <a:ext cx="1314" cy="85"/>
                </a:xfrm>
                <a:custGeom>
                  <a:gdLst>
                    <a:gd name="T0" fmla="*/ 9 w 720"/>
                    <a:gd name="T1" fmla="*/ 47 h 47"/>
                    <a:gd name="T2" fmla="*/ 712 w 720"/>
                    <a:gd name="T3" fmla="*/ 47 h 47"/>
                    <a:gd name="T4" fmla="*/ 720 w 720"/>
                    <a:gd name="T5" fmla="*/ 39 h 47"/>
                    <a:gd name="T6" fmla="*/ 720 w 720"/>
                    <a:gd name="T7" fmla="*/ 8 h 47"/>
                    <a:gd name="T8" fmla="*/ 712 w 720"/>
                    <a:gd name="T9" fmla="*/ 0 h 47"/>
                    <a:gd name="T10" fmla="*/ 9 w 720"/>
                    <a:gd name="T11" fmla="*/ 0 h 47"/>
                    <a:gd name="T12" fmla="*/ 0 w 720"/>
                    <a:gd name="T13" fmla="*/ 8 h 47"/>
                    <a:gd name="T14" fmla="*/ 0 w 720"/>
                    <a:gd name="T15" fmla="*/ 39 h 47"/>
                    <a:gd name="T16" fmla="*/ 9 w 720"/>
                    <a:gd name="T17" fmla="*/ 47 h 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0" h="47">
                      <a:moveTo>
                        <a:pt x="9" y="47"/>
                      </a:moveTo>
                      <a:cubicBezTo>
                        <a:pt x="712" y="47"/>
                        <a:pt x="712" y="47"/>
                        <a:pt x="712" y="47"/>
                      </a:cubicBezTo>
                      <a:cubicBezTo>
                        <a:pt x="716" y="47"/>
                        <a:pt x="720" y="43"/>
                        <a:pt x="720" y="39"/>
                      </a:cubicBezTo>
                      <a:cubicBezTo>
                        <a:pt x="720" y="8"/>
                        <a:pt x="720" y="8"/>
                        <a:pt x="720" y="8"/>
                      </a:cubicBezTo>
                      <a:cubicBezTo>
                        <a:pt x="720" y="4"/>
                        <a:pt x="716" y="0"/>
                        <a:pt x="712" y="0"/>
                      </a:cubicBezTo>
                      <a:cubicBezTo>
                        <a:pt x="9" y="0"/>
                        <a:pt x="9" y="0"/>
                        <a:pt x="9" y="0"/>
                      </a:cubicBezTo>
                      <a:cubicBezTo>
                        <a:pt x="4" y="0"/>
                        <a:pt x="0" y="4"/>
                        <a:pt x="0" y="8"/>
                      </a:cubicBezTo>
                      <a:cubicBezTo>
                        <a:pt x="0" y="39"/>
                        <a:pt x="0" y="39"/>
                        <a:pt x="0" y="39"/>
                      </a:cubicBezTo>
                      <a:cubicBezTo>
                        <a:pt x="0" y="43"/>
                        <a:pt x="4" y="47"/>
                        <a:pt x="9" y="47"/>
                      </a:cubicBezTo>
                      <a:close/>
                    </a:path>
                  </a:pathLst>
                </a:custGeom>
                <a:solidFill>
                  <a:srgbClr val="C1B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07" name="Freeform 226">
                  <a:extLst>
                    <a:ext uri="{FF2B5EF4-FFF2-40B4-BE49-F238E27FC236}">
                      <a16:creationId xmlns:a16="http://schemas.microsoft.com/office/drawing/2014/main" id="{1DCFC625-CE85-5E02-28AA-B0D864633A24}"/>
                    </a:ext>
                  </a:extLst>
                </p:cNvPr>
                <p:cNvSpPr/>
                <p:nvPr/>
              </p:nvSpPr>
              <p:spPr bwMode="auto">
                <a:xfrm>
                  <a:off x="3259" y="2466"/>
                  <a:ext cx="299" cy="753"/>
                </a:xfrm>
                <a:custGeom>
                  <a:gdLst>
                    <a:gd name="T0" fmla="*/ 43 w 164"/>
                    <a:gd name="T1" fmla="*/ 0 h 413"/>
                    <a:gd name="T2" fmla="*/ 164 w 164"/>
                    <a:gd name="T3" fmla="*/ 413 h 413"/>
                    <a:gd name="T4" fmla="*/ 43 w 164"/>
                    <a:gd name="T5" fmla="*/ 0 h 413"/>
                  </a:gdLst>
                  <a:cxnLst>
                    <a:cxn ang="0">
                      <a:pos x="T0" y="T1"/>
                    </a:cxn>
                    <a:cxn ang="0">
                      <a:pos x="T2" y="T3"/>
                    </a:cxn>
                    <a:cxn ang="0">
                      <a:pos x="T4" y="T5"/>
                    </a:cxn>
                  </a:cxnLst>
                  <a:rect l="0" t="0" r="r" b="b"/>
                  <a:pathLst>
                    <a:path w="164" h="412">
                      <a:moveTo>
                        <a:pt x="43" y="0"/>
                      </a:moveTo>
                      <a:cubicBezTo>
                        <a:pt x="43" y="0"/>
                        <a:pt x="0" y="170"/>
                        <a:pt x="164" y="413"/>
                      </a:cubicBezTo>
                      <a:cubicBezTo>
                        <a:pt x="119" y="292"/>
                        <a:pt x="53" y="106"/>
                        <a:pt x="43" y="0"/>
                      </a:cubicBezTo>
                      <a:close/>
                    </a:path>
                  </a:pathLst>
                </a:custGeom>
                <a:solidFill>
                  <a:srgbClr val="E0DB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08" name="Freeform 227">
                  <a:extLst>
                    <a:ext uri="{FF2B5EF4-FFF2-40B4-BE49-F238E27FC236}">
                      <a16:creationId xmlns:a16="http://schemas.microsoft.com/office/drawing/2014/main" id="{EED4B565-2F69-CB3A-53FC-6C59B547B7D7}"/>
                    </a:ext>
                  </a:extLst>
                </p:cNvPr>
                <p:cNvSpPr/>
                <p:nvPr/>
              </p:nvSpPr>
              <p:spPr bwMode="auto">
                <a:xfrm>
                  <a:off x="3323" y="1747"/>
                  <a:ext cx="363" cy="34"/>
                </a:xfrm>
                <a:custGeom>
                  <a:gdLst>
                    <a:gd name="T0" fmla="*/ 199 w 199"/>
                    <a:gd name="T1" fmla="*/ 15 h 19"/>
                    <a:gd name="T2" fmla="*/ 68 w 199"/>
                    <a:gd name="T3" fmla="*/ 0 h 19"/>
                    <a:gd name="T4" fmla="*/ 0 w 199"/>
                    <a:gd name="T5" fmla="*/ 5 h 19"/>
                    <a:gd name="T6" fmla="*/ 0 w 199"/>
                    <a:gd name="T7" fmla="*/ 9 h 19"/>
                    <a:gd name="T8" fmla="*/ 68 w 199"/>
                    <a:gd name="T9" fmla="*/ 5 h 19"/>
                    <a:gd name="T10" fmla="*/ 160 w 199"/>
                    <a:gd name="T11" fmla="*/ 12 h 19"/>
                    <a:gd name="T12" fmla="*/ 188 w 199"/>
                    <a:gd name="T13" fmla="*/ 17 h 19"/>
                    <a:gd name="T14" fmla="*/ 195 w 199"/>
                    <a:gd name="T15" fmla="*/ 18 h 19"/>
                    <a:gd name="T16" fmla="*/ 198 w 199"/>
                    <a:gd name="T17" fmla="*/ 19 h 19"/>
                    <a:gd name="T18" fmla="*/ 199 w 199"/>
                    <a:gd name="T19" fmla="*/ 15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9" h="19">
                      <a:moveTo>
                        <a:pt x="199" y="15"/>
                      </a:moveTo>
                      <a:cubicBezTo>
                        <a:pt x="199" y="15"/>
                        <a:pt x="140" y="0"/>
                        <a:pt x="68" y="0"/>
                      </a:cubicBezTo>
                      <a:cubicBezTo>
                        <a:pt x="46" y="0"/>
                        <a:pt x="23" y="2"/>
                        <a:pt x="0" y="5"/>
                      </a:cubicBezTo>
                      <a:cubicBezTo>
                        <a:pt x="0" y="9"/>
                        <a:pt x="0" y="9"/>
                        <a:pt x="0" y="9"/>
                      </a:cubicBezTo>
                      <a:cubicBezTo>
                        <a:pt x="23" y="6"/>
                        <a:pt x="46" y="5"/>
                        <a:pt x="68" y="5"/>
                      </a:cubicBezTo>
                      <a:cubicBezTo>
                        <a:pt x="104" y="5"/>
                        <a:pt x="136" y="8"/>
                        <a:pt x="160" y="12"/>
                      </a:cubicBezTo>
                      <a:cubicBezTo>
                        <a:pt x="171" y="14"/>
                        <a:pt x="181" y="15"/>
                        <a:pt x="188" y="17"/>
                      </a:cubicBezTo>
                      <a:cubicBezTo>
                        <a:pt x="191" y="17"/>
                        <a:pt x="193" y="18"/>
                        <a:pt x="195" y="18"/>
                      </a:cubicBezTo>
                      <a:cubicBezTo>
                        <a:pt x="197" y="19"/>
                        <a:pt x="198" y="19"/>
                        <a:pt x="198" y="19"/>
                      </a:cubicBezTo>
                      <a:cubicBezTo>
                        <a:pt x="199" y="15"/>
                        <a:pt x="199" y="15"/>
                        <a:pt x="199" y="15"/>
                      </a:cubicBezTo>
                      <a:close/>
                    </a:path>
                  </a:pathLst>
                </a:custGeom>
                <a:solidFill>
                  <a:srgbClr val="9B94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09" name="Freeform 228">
                  <a:extLst>
                    <a:ext uri="{FF2B5EF4-FFF2-40B4-BE49-F238E27FC236}">
                      <a16:creationId xmlns:a16="http://schemas.microsoft.com/office/drawing/2014/main" id="{B7627827-F49A-834F-6B8C-5069CEE2B240}"/>
                    </a:ext>
                  </a:extLst>
                </p:cNvPr>
                <p:cNvSpPr/>
                <p:nvPr/>
              </p:nvSpPr>
              <p:spPr bwMode="auto">
                <a:xfrm>
                  <a:off x="5290" y="2071"/>
                  <a:ext cx="850" cy="479"/>
                </a:xfrm>
                <a:custGeom>
                  <a:gdLst>
                    <a:gd name="T0" fmla="*/ 0 w 466"/>
                    <a:gd name="T1" fmla="*/ 155 h 262"/>
                    <a:gd name="T2" fmla="*/ 142 w 466"/>
                    <a:gd name="T3" fmla="*/ 19 h 262"/>
                    <a:gd name="T4" fmla="*/ 466 w 466"/>
                    <a:gd name="T5" fmla="*/ 6 h 262"/>
                    <a:gd name="T6" fmla="*/ 266 w 466"/>
                    <a:gd name="T7" fmla="*/ 103 h 262"/>
                    <a:gd name="T8" fmla="*/ 127 w 466"/>
                    <a:gd name="T9" fmla="*/ 262 h 262"/>
                    <a:gd name="T10" fmla="*/ 0 w 466"/>
                    <a:gd name="T11" fmla="*/ 155 h 262"/>
                  </a:gdLst>
                  <a:cxnLst>
                    <a:cxn ang="0">
                      <a:pos x="T0" y="T1"/>
                    </a:cxn>
                    <a:cxn ang="0">
                      <a:pos x="T2" y="T3"/>
                    </a:cxn>
                    <a:cxn ang="0">
                      <a:pos x="T4" y="T5"/>
                    </a:cxn>
                    <a:cxn ang="0">
                      <a:pos x="T6" y="T7"/>
                    </a:cxn>
                    <a:cxn ang="0">
                      <a:pos x="T8" y="T9"/>
                    </a:cxn>
                    <a:cxn ang="0">
                      <a:pos x="T10" y="T11"/>
                    </a:cxn>
                  </a:cxnLst>
                  <a:rect l="0" t="0" r="r" b="b"/>
                  <a:pathLst>
                    <a:path w="466" h="262">
                      <a:moveTo>
                        <a:pt x="0" y="155"/>
                      </a:moveTo>
                      <a:cubicBezTo>
                        <a:pt x="0" y="155"/>
                        <a:pt x="88" y="39"/>
                        <a:pt x="142" y="19"/>
                      </a:cubicBezTo>
                      <a:cubicBezTo>
                        <a:pt x="195" y="0"/>
                        <a:pt x="466" y="6"/>
                        <a:pt x="466" y="6"/>
                      </a:cubicBezTo>
                      <a:cubicBezTo>
                        <a:pt x="466" y="6"/>
                        <a:pt x="449" y="88"/>
                        <a:pt x="266" y="103"/>
                      </a:cubicBezTo>
                      <a:cubicBezTo>
                        <a:pt x="191" y="125"/>
                        <a:pt x="127" y="262"/>
                        <a:pt x="127" y="262"/>
                      </a:cubicBezTo>
                      <a:cubicBezTo>
                        <a:pt x="127" y="262"/>
                        <a:pt x="30" y="204"/>
                        <a:pt x="0" y="155"/>
                      </a:cubicBezTo>
                      <a:close/>
                    </a:path>
                  </a:pathLst>
                </a:custGeom>
                <a:solidFill>
                  <a:srgbClr val="FB8F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10" name="Freeform 229">
                  <a:extLst>
                    <a:ext uri="{FF2B5EF4-FFF2-40B4-BE49-F238E27FC236}">
                      <a16:creationId xmlns:a16="http://schemas.microsoft.com/office/drawing/2014/main" id="{638AF551-A095-5F3C-BE55-25E09B02F9F1}"/>
                    </a:ext>
                  </a:extLst>
                </p:cNvPr>
                <p:cNvSpPr/>
                <p:nvPr/>
              </p:nvSpPr>
              <p:spPr bwMode="auto">
                <a:xfrm>
                  <a:off x="4452" y="1685"/>
                  <a:ext cx="1179" cy="1688"/>
                </a:xfrm>
                <a:custGeom>
                  <a:gdLst>
                    <a:gd name="T0" fmla="*/ 10 w 646"/>
                    <a:gd name="T1" fmla="*/ 0 h 925"/>
                    <a:gd name="T2" fmla="*/ 201 w 646"/>
                    <a:gd name="T3" fmla="*/ 255 h 925"/>
                    <a:gd name="T4" fmla="*/ 306 w 646"/>
                    <a:gd name="T5" fmla="*/ 504 h 925"/>
                    <a:gd name="T6" fmla="*/ 457 w 646"/>
                    <a:gd name="T7" fmla="*/ 324 h 925"/>
                    <a:gd name="T8" fmla="*/ 646 w 646"/>
                    <a:gd name="T9" fmla="*/ 468 h 925"/>
                    <a:gd name="T10" fmla="*/ 218 w 646"/>
                    <a:gd name="T11" fmla="*/ 915 h 925"/>
                    <a:gd name="T12" fmla="*/ 45 w 646"/>
                    <a:gd name="T13" fmla="*/ 574 h 925"/>
                    <a:gd name="T14" fmla="*/ 10 w 646"/>
                    <a:gd name="T15" fmla="*/ 0 h 925"/>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6" h="924">
                      <a:moveTo>
                        <a:pt x="10" y="0"/>
                      </a:moveTo>
                      <a:cubicBezTo>
                        <a:pt x="10" y="0"/>
                        <a:pt x="119" y="66"/>
                        <a:pt x="201" y="255"/>
                      </a:cubicBezTo>
                      <a:cubicBezTo>
                        <a:pt x="283" y="444"/>
                        <a:pt x="306" y="504"/>
                        <a:pt x="306" y="504"/>
                      </a:cubicBezTo>
                      <a:cubicBezTo>
                        <a:pt x="457" y="324"/>
                        <a:pt x="457" y="324"/>
                        <a:pt x="457" y="324"/>
                      </a:cubicBezTo>
                      <a:cubicBezTo>
                        <a:pt x="457" y="324"/>
                        <a:pt x="519" y="444"/>
                        <a:pt x="646" y="468"/>
                      </a:cubicBezTo>
                      <a:cubicBezTo>
                        <a:pt x="379" y="878"/>
                        <a:pt x="338" y="925"/>
                        <a:pt x="218" y="915"/>
                      </a:cubicBezTo>
                      <a:cubicBezTo>
                        <a:pt x="98" y="904"/>
                        <a:pt x="45" y="574"/>
                        <a:pt x="45" y="574"/>
                      </a:cubicBezTo>
                      <a:cubicBezTo>
                        <a:pt x="45" y="574"/>
                        <a:pt x="0" y="149"/>
                        <a:pt x="10" y="0"/>
                      </a:cubicBezTo>
                      <a:close/>
                    </a:path>
                  </a:pathLst>
                </a:custGeom>
                <a:solidFill>
                  <a:srgbClr val="E0DB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11" name="Freeform 230">
                  <a:extLst>
                    <a:ext uri="{FF2B5EF4-FFF2-40B4-BE49-F238E27FC236}">
                      <a16:creationId xmlns:a16="http://schemas.microsoft.com/office/drawing/2014/main" id="{F790BE9F-494C-903A-EE5A-43708F40A33A}"/>
                    </a:ext>
                  </a:extLst>
                </p:cNvPr>
                <p:cNvSpPr/>
                <p:nvPr/>
              </p:nvSpPr>
              <p:spPr bwMode="auto">
                <a:xfrm>
                  <a:off x="3903" y="1655"/>
                  <a:ext cx="794" cy="2510"/>
                </a:xfrm>
                <a:custGeom>
                  <a:gdLst>
                    <a:gd name="T0" fmla="*/ 113 w 435"/>
                    <a:gd name="T1" fmla="*/ 36 h 1375"/>
                    <a:gd name="T2" fmla="*/ 311 w 435"/>
                    <a:gd name="T3" fmla="*/ 16 h 1375"/>
                    <a:gd name="T4" fmla="*/ 346 w 435"/>
                    <a:gd name="T5" fmla="*/ 590 h 1375"/>
                    <a:gd name="T6" fmla="*/ 435 w 435"/>
                    <a:gd name="T7" fmla="*/ 1309 h 1375"/>
                    <a:gd name="T8" fmla="*/ 0 w 435"/>
                    <a:gd name="T9" fmla="*/ 1370 h 1375"/>
                    <a:gd name="T10" fmla="*/ 0 w 435"/>
                    <a:gd name="T11" fmla="*/ 112 h 1375"/>
                    <a:gd name="T12" fmla="*/ 113 w 435"/>
                    <a:gd name="T13" fmla="*/ 36 h 1375"/>
                  </a:gdLst>
                  <a:cxnLst>
                    <a:cxn ang="0">
                      <a:pos x="T0" y="T1"/>
                    </a:cxn>
                    <a:cxn ang="0">
                      <a:pos x="T2" y="T3"/>
                    </a:cxn>
                    <a:cxn ang="0">
                      <a:pos x="T4" y="T5"/>
                    </a:cxn>
                    <a:cxn ang="0">
                      <a:pos x="T6" y="T7"/>
                    </a:cxn>
                    <a:cxn ang="0">
                      <a:pos x="T8" y="T9"/>
                    </a:cxn>
                    <a:cxn ang="0">
                      <a:pos x="T10" y="T11"/>
                    </a:cxn>
                    <a:cxn ang="0">
                      <a:pos x="T12" y="T13"/>
                    </a:cxn>
                  </a:cxnLst>
                  <a:rect l="0" t="0" r="r" b="b"/>
                  <a:pathLst>
                    <a:path w="435" h="1375">
                      <a:moveTo>
                        <a:pt x="113" y="36"/>
                      </a:moveTo>
                      <a:cubicBezTo>
                        <a:pt x="113" y="36"/>
                        <a:pt x="211" y="0"/>
                        <a:pt x="311" y="16"/>
                      </a:cubicBezTo>
                      <a:cubicBezTo>
                        <a:pt x="383" y="499"/>
                        <a:pt x="369" y="453"/>
                        <a:pt x="346" y="590"/>
                      </a:cubicBezTo>
                      <a:cubicBezTo>
                        <a:pt x="326" y="702"/>
                        <a:pt x="420" y="1123"/>
                        <a:pt x="435" y="1309"/>
                      </a:cubicBezTo>
                      <a:cubicBezTo>
                        <a:pt x="97" y="1375"/>
                        <a:pt x="0" y="1370"/>
                        <a:pt x="0" y="1370"/>
                      </a:cubicBezTo>
                      <a:cubicBezTo>
                        <a:pt x="0" y="112"/>
                        <a:pt x="0" y="112"/>
                        <a:pt x="0" y="112"/>
                      </a:cubicBezTo>
                      <a:lnTo>
                        <a:pt x="113" y="36"/>
                      </a:lnTo>
                      <a:close/>
                    </a:path>
                  </a:pathLst>
                </a:cu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12" name="Freeform 231">
                  <a:extLst>
                    <a:ext uri="{FF2B5EF4-FFF2-40B4-BE49-F238E27FC236}">
                      <a16:creationId xmlns:a16="http://schemas.microsoft.com/office/drawing/2014/main" id="{7075728A-A8A8-226F-74FA-C0EBC74FF18D}"/>
                    </a:ext>
                  </a:extLst>
                </p:cNvPr>
                <p:cNvSpPr/>
                <p:nvPr/>
              </p:nvSpPr>
              <p:spPr bwMode="auto">
                <a:xfrm>
                  <a:off x="3164" y="201"/>
                  <a:ext cx="1416" cy="567"/>
                </a:xfrm>
                <a:custGeom>
                  <a:gdLst>
                    <a:gd name="T0" fmla="*/ 245 w 776"/>
                    <a:gd name="T1" fmla="*/ 247 h 311"/>
                    <a:gd name="T2" fmla="*/ 108 w 776"/>
                    <a:gd name="T3" fmla="*/ 281 h 311"/>
                    <a:gd name="T4" fmla="*/ 189 w 776"/>
                    <a:gd name="T5" fmla="*/ 161 h 311"/>
                    <a:gd name="T6" fmla="*/ 307 w 776"/>
                    <a:gd name="T7" fmla="*/ 21 h 311"/>
                    <a:gd name="T8" fmla="*/ 486 w 776"/>
                    <a:gd name="T9" fmla="*/ 92 h 311"/>
                    <a:gd name="T10" fmla="*/ 666 w 776"/>
                    <a:gd name="T11" fmla="*/ 165 h 311"/>
                    <a:gd name="T12" fmla="*/ 679 w 776"/>
                    <a:gd name="T13" fmla="*/ 275 h 311"/>
                    <a:gd name="T14" fmla="*/ 541 w 776"/>
                    <a:gd name="T15" fmla="*/ 226 h 311"/>
                    <a:gd name="T16" fmla="*/ 245 w 776"/>
                    <a:gd name="T17" fmla="*/ 247 h 3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6" h="311">
                      <a:moveTo>
                        <a:pt x="245" y="247"/>
                      </a:moveTo>
                      <a:cubicBezTo>
                        <a:pt x="245" y="247"/>
                        <a:pt x="215" y="311"/>
                        <a:pt x="108" y="281"/>
                      </a:cubicBezTo>
                      <a:cubicBezTo>
                        <a:pt x="0" y="251"/>
                        <a:pt x="70" y="172"/>
                        <a:pt x="189" y="161"/>
                      </a:cubicBezTo>
                      <a:cubicBezTo>
                        <a:pt x="189" y="77"/>
                        <a:pt x="253" y="33"/>
                        <a:pt x="307" y="21"/>
                      </a:cubicBezTo>
                      <a:cubicBezTo>
                        <a:pt x="407" y="0"/>
                        <a:pt x="458" y="60"/>
                        <a:pt x="486" y="92"/>
                      </a:cubicBezTo>
                      <a:cubicBezTo>
                        <a:pt x="578" y="51"/>
                        <a:pt x="671" y="75"/>
                        <a:pt x="666" y="165"/>
                      </a:cubicBezTo>
                      <a:cubicBezTo>
                        <a:pt x="756" y="174"/>
                        <a:pt x="776" y="279"/>
                        <a:pt x="679" y="275"/>
                      </a:cubicBezTo>
                      <a:cubicBezTo>
                        <a:pt x="582" y="271"/>
                        <a:pt x="541" y="226"/>
                        <a:pt x="541" y="226"/>
                      </a:cubicBezTo>
                      <a:lnTo>
                        <a:pt x="245" y="247"/>
                      </a:lnTo>
                      <a:close/>
                    </a:path>
                  </a:pathLst>
                </a:custGeom>
                <a:solidFill>
                  <a:srgbClr val="E0DB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13" name="Freeform 232">
                  <a:extLst>
                    <a:ext uri="{FF2B5EF4-FFF2-40B4-BE49-F238E27FC236}">
                      <a16:creationId xmlns:a16="http://schemas.microsoft.com/office/drawing/2014/main" id="{A47BE013-1D13-5043-5138-B4680309603F}"/>
                    </a:ext>
                  </a:extLst>
                </p:cNvPr>
                <p:cNvSpPr/>
                <p:nvPr/>
              </p:nvSpPr>
              <p:spPr bwMode="auto">
                <a:xfrm>
                  <a:off x="5463" y="2071"/>
                  <a:ext cx="677" cy="187"/>
                </a:xfrm>
                <a:custGeom>
                  <a:gdLst>
                    <a:gd name="T0" fmla="*/ 0 w 371"/>
                    <a:gd name="T1" fmla="*/ 49 h 102"/>
                    <a:gd name="T2" fmla="*/ 46 w 371"/>
                    <a:gd name="T3" fmla="*/ 19 h 102"/>
                    <a:gd name="T4" fmla="*/ 371 w 371"/>
                    <a:gd name="T5" fmla="*/ 6 h 102"/>
                    <a:gd name="T6" fmla="*/ 186 w 371"/>
                    <a:gd name="T7" fmla="*/ 102 h 102"/>
                    <a:gd name="T8" fmla="*/ 0 w 371"/>
                    <a:gd name="T9" fmla="*/ 49 h 102"/>
                  </a:gdLst>
                  <a:cxnLst>
                    <a:cxn ang="0">
                      <a:pos x="T0" y="T1"/>
                    </a:cxn>
                    <a:cxn ang="0">
                      <a:pos x="T2" y="T3"/>
                    </a:cxn>
                    <a:cxn ang="0">
                      <a:pos x="T4" y="T5"/>
                    </a:cxn>
                    <a:cxn ang="0">
                      <a:pos x="T6" y="T7"/>
                    </a:cxn>
                    <a:cxn ang="0">
                      <a:pos x="T8" y="T9"/>
                    </a:cxn>
                  </a:cxnLst>
                  <a:rect l="0" t="0" r="r" b="b"/>
                  <a:pathLst>
                    <a:path w="371" h="102">
                      <a:moveTo>
                        <a:pt x="0" y="49"/>
                      </a:moveTo>
                      <a:cubicBezTo>
                        <a:pt x="17" y="35"/>
                        <a:pt x="33" y="24"/>
                        <a:pt x="46" y="19"/>
                      </a:cubicBezTo>
                      <a:cubicBezTo>
                        <a:pt x="100" y="0"/>
                        <a:pt x="371" y="6"/>
                        <a:pt x="371" y="6"/>
                      </a:cubicBezTo>
                      <a:cubicBezTo>
                        <a:pt x="371" y="6"/>
                        <a:pt x="355" y="83"/>
                        <a:pt x="186" y="102"/>
                      </a:cubicBezTo>
                      <a:cubicBezTo>
                        <a:pt x="133" y="72"/>
                        <a:pt x="55" y="57"/>
                        <a:pt x="0" y="49"/>
                      </a:cubicBezTo>
                      <a:close/>
                    </a:path>
                  </a:pathLst>
                </a:custGeom>
                <a:solidFill>
                  <a:srgbClr val="D86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14" name="Freeform 233">
                  <a:extLst>
                    <a:ext uri="{FF2B5EF4-FFF2-40B4-BE49-F238E27FC236}">
                      <a16:creationId xmlns:a16="http://schemas.microsoft.com/office/drawing/2014/main" id="{CD46E17D-378E-481E-C1BD-E7B1710F5D7D}"/>
                    </a:ext>
                  </a:extLst>
                </p:cNvPr>
                <p:cNvSpPr/>
                <p:nvPr/>
              </p:nvSpPr>
              <p:spPr bwMode="auto">
                <a:xfrm>
                  <a:off x="3164" y="228"/>
                  <a:ext cx="701" cy="528"/>
                </a:xfrm>
                <a:custGeom>
                  <a:gdLst>
                    <a:gd name="T0" fmla="*/ 231 w 384"/>
                    <a:gd name="T1" fmla="*/ 232 h 289"/>
                    <a:gd name="T2" fmla="*/ 249 w 384"/>
                    <a:gd name="T3" fmla="*/ 148 h 289"/>
                    <a:gd name="T4" fmla="*/ 384 w 384"/>
                    <a:gd name="T5" fmla="*/ 6 h 289"/>
                    <a:gd name="T6" fmla="*/ 307 w 384"/>
                    <a:gd name="T7" fmla="*/ 6 h 289"/>
                    <a:gd name="T8" fmla="*/ 189 w 384"/>
                    <a:gd name="T9" fmla="*/ 146 h 289"/>
                    <a:gd name="T10" fmla="*/ 108 w 384"/>
                    <a:gd name="T11" fmla="*/ 266 h 289"/>
                    <a:gd name="T12" fmla="*/ 239 w 384"/>
                    <a:gd name="T13" fmla="*/ 242 h 289"/>
                    <a:gd name="T14" fmla="*/ 231 w 384"/>
                    <a:gd name="T15" fmla="*/ 232 h 28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4" h="289">
                      <a:moveTo>
                        <a:pt x="231" y="232"/>
                      </a:moveTo>
                      <a:cubicBezTo>
                        <a:pt x="111" y="214"/>
                        <a:pt x="157" y="170"/>
                        <a:pt x="249" y="148"/>
                      </a:cubicBezTo>
                      <a:cubicBezTo>
                        <a:pt x="257" y="36"/>
                        <a:pt x="384" y="6"/>
                        <a:pt x="384" y="6"/>
                      </a:cubicBezTo>
                      <a:cubicBezTo>
                        <a:pt x="362" y="1"/>
                        <a:pt x="337" y="0"/>
                        <a:pt x="307" y="6"/>
                      </a:cubicBezTo>
                      <a:cubicBezTo>
                        <a:pt x="253" y="18"/>
                        <a:pt x="189" y="62"/>
                        <a:pt x="189" y="146"/>
                      </a:cubicBezTo>
                      <a:cubicBezTo>
                        <a:pt x="70" y="157"/>
                        <a:pt x="0" y="236"/>
                        <a:pt x="108" y="266"/>
                      </a:cubicBezTo>
                      <a:cubicBezTo>
                        <a:pt x="188" y="289"/>
                        <a:pt x="225" y="258"/>
                        <a:pt x="239" y="242"/>
                      </a:cubicBezTo>
                      <a:cubicBezTo>
                        <a:pt x="236" y="238"/>
                        <a:pt x="234" y="235"/>
                        <a:pt x="231" y="232"/>
                      </a:cubicBezTo>
                      <a:close/>
                    </a:path>
                  </a:pathLst>
                </a:custGeom>
                <a:solidFill>
                  <a:srgbClr val="C1B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15" name="Freeform 234">
                  <a:extLst>
                    <a:ext uri="{FF2B5EF4-FFF2-40B4-BE49-F238E27FC236}">
                      <a16:creationId xmlns:a16="http://schemas.microsoft.com/office/drawing/2014/main" id="{E796E2CD-A0B8-5D7C-1AF5-4300FC69D480}"/>
                    </a:ext>
                  </a:extLst>
                </p:cNvPr>
                <p:cNvSpPr/>
                <p:nvPr/>
              </p:nvSpPr>
              <p:spPr bwMode="auto">
                <a:xfrm>
                  <a:off x="3540" y="460"/>
                  <a:ext cx="367" cy="383"/>
                </a:xfrm>
                <a:custGeom>
                  <a:gdLst>
                    <a:gd name="T0" fmla="*/ 31 w 201"/>
                    <a:gd name="T1" fmla="*/ 210 h 210"/>
                    <a:gd name="T2" fmla="*/ 0 w 201"/>
                    <a:gd name="T3" fmla="*/ 90 h 210"/>
                    <a:gd name="T4" fmla="*/ 201 w 201"/>
                    <a:gd name="T5" fmla="*/ 0 h 210"/>
                    <a:gd name="T6" fmla="*/ 201 w 201"/>
                    <a:gd name="T7" fmla="*/ 139 h 210"/>
                    <a:gd name="T8" fmla="*/ 31 w 201"/>
                    <a:gd name="T9" fmla="*/ 210 h 210"/>
                  </a:gdLst>
                  <a:cxnLst>
                    <a:cxn ang="0">
                      <a:pos x="T0" y="T1"/>
                    </a:cxn>
                    <a:cxn ang="0">
                      <a:pos x="T2" y="T3"/>
                    </a:cxn>
                    <a:cxn ang="0">
                      <a:pos x="T4" y="T5"/>
                    </a:cxn>
                    <a:cxn ang="0">
                      <a:pos x="T6" y="T7"/>
                    </a:cxn>
                    <a:cxn ang="0">
                      <a:pos x="T8" y="T9"/>
                    </a:cxn>
                  </a:cxnLst>
                  <a:rect l="0" t="0" r="r" b="b"/>
                  <a:pathLst>
                    <a:path w="201" h="210">
                      <a:moveTo>
                        <a:pt x="31" y="210"/>
                      </a:moveTo>
                      <a:cubicBezTo>
                        <a:pt x="0" y="90"/>
                        <a:pt x="0" y="90"/>
                        <a:pt x="0" y="90"/>
                      </a:cubicBezTo>
                      <a:cubicBezTo>
                        <a:pt x="0" y="90"/>
                        <a:pt x="77" y="0"/>
                        <a:pt x="201" y="0"/>
                      </a:cubicBezTo>
                      <a:cubicBezTo>
                        <a:pt x="201" y="139"/>
                        <a:pt x="201" y="139"/>
                        <a:pt x="201" y="139"/>
                      </a:cubicBezTo>
                      <a:lnTo>
                        <a:pt x="31" y="210"/>
                      </a:lnTo>
                      <a:close/>
                    </a:path>
                  </a:pathLst>
                </a:cu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16" name="Freeform 235">
                  <a:extLst>
                    <a:ext uri="{FF2B5EF4-FFF2-40B4-BE49-F238E27FC236}">
                      <a16:creationId xmlns:a16="http://schemas.microsoft.com/office/drawing/2014/main" id="{B955704F-6F91-8323-3067-80837DAC7D3F}"/>
                    </a:ext>
                  </a:extLst>
                </p:cNvPr>
                <p:cNvSpPr/>
                <p:nvPr/>
              </p:nvSpPr>
              <p:spPr bwMode="auto">
                <a:xfrm>
                  <a:off x="4051" y="283"/>
                  <a:ext cx="503" cy="394"/>
                </a:xfrm>
                <a:custGeom>
                  <a:gdLst>
                    <a:gd name="T0" fmla="*/ 140 w 276"/>
                    <a:gd name="T1" fmla="*/ 125 h 216"/>
                    <a:gd name="T2" fmla="*/ 245 w 276"/>
                    <a:gd name="T3" fmla="*/ 216 h 216"/>
                    <a:gd name="T4" fmla="*/ 180 w 276"/>
                    <a:gd name="T5" fmla="*/ 120 h 216"/>
                    <a:gd name="T6" fmla="*/ 0 w 276"/>
                    <a:gd name="T7" fmla="*/ 47 h 216"/>
                    <a:gd name="T8" fmla="*/ 140 w 276"/>
                    <a:gd name="T9" fmla="*/ 125 h 216"/>
                  </a:gdLst>
                  <a:cxnLst>
                    <a:cxn ang="0">
                      <a:pos x="T0" y="T1"/>
                    </a:cxn>
                    <a:cxn ang="0">
                      <a:pos x="T2" y="T3"/>
                    </a:cxn>
                    <a:cxn ang="0">
                      <a:pos x="T4" y="T5"/>
                    </a:cxn>
                    <a:cxn ang="0">
                      <a:pos x="T6" y="T7"/>
                    </a:cxn>
                    <a:cxn ang="0">
                      <a:pos x="T8" y="T9"/>
                    </a:cxn>
                  </a:cxnLst>
                  <a:rect l="0" t="0" r="r" b="b"/>
                  <a:pathLst>
                    <a:path w="276" h="216">
                      <a:moveTo>
                        <a:pt x="140" y="125"/>
                      </a:moveTo>
                      <a:cubicBezTo>
                        <a:pt x="175" y="138"/>
                        <a:pt x="245" y="164"/>
                        <a:pt x="245" y="216"/>
                      </a:cubicBezTo>
                      <a:cubicBezTo>
                        <a:pt x="276" y="187"/>
                        <a:pt x="248" y="127"/>
                        <a:pt x="180" y="120"/>
                      </a:cubicBezTo>
                      <a:cubicBezTo>
                        <a:pt x="185" y="30"/>
                        <a:pt x="92" y="6"/>
                        <a:pt x="0" y="47"/>
                      </a:cubicBezTo>
                      <a:cubicBezTo>
                        <a:pt x="0" y="47"/>
                        <a:pt x="131" y="0"/>
                        <a:pt x="140" y="125"/>
                      </a:cubicBezTo>
                      <a:close/>
                    </a:path>
                  </a:pathLst>
                </a:cu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17" name="Freeform 236">
                  <a:extLst>
                    <a:ext uri="{FF2B5EF4-FFF2-40B4-BE49-F238E27FC236}">
                      <a16:creationId xmlns:a16="http://schemas.microsoft.com/office/drawing/2014/main" id="{20A8D3FE-D60F-71C4-8269-151E04616F53}"/>
                    </a:ext>
                  </a:extLst>
                </p:cNvPr>
                <p:cNvSpPr/>
                <p:nvPr/>
              </p:nvSpPr>
              <p:spPr bwMode="auto">
                <a:xfrm>
                  <a:off x="3538" y="456"/>
                  <a:ext cx="737" cy="170"/>
                </a:xfrm>
                <a:custGeom>
                  <a:gdLst>
                    <a:gd name="T0" fmla="*/ 3 w 404"/>
                    <a:gd name="T1" fmla="*/ 93 h 93"/>
                    <a:gd name="T2" fmla="*/ 3 w 404"/>
                    <a:gd name="T3" fmla="*/ 93 h 93"/>
                    <a:gd name="T4" fmla="*/ 59 w 404"/>
                    <a:gd name="T5" fmla="*/ 47 h 93"/>
                    <a:gd name="T6" fmla="*/ 202 w 404"/>
                    <a:gd name="T7" fmla="*/ 4 h 93"/>
                    <a:gd name="T8" fmla="*/ 348 w 404"/>
                    <a:gd name="T9" fmla="*/ 49 h 93"/>
                    <a:gd name="T10" fmla="*/ 388 w 404"/>
                    <a:gd name="T11" fmla="*/ 79 h 93"/>
                    <a:gd name="T12" fmla="*/ 398 w 404"/>
                    <a:gd name="T13" fmla="*/ 90 h 93"/>
                    <a:gd name="T14" fmla="*/ 400 w 404"/>
                    <a:gd name="T15" fmla="*/ 92 h 93"/>
                    <a:gd name="T16" fmla="*/ 401 w 404"/>
                    <a:gd name="T17" fmla="*/ 93 h 93"/>
                    <a:gd name="T18" fmla="*/ 401 w 404"/>
                    <a:gd name="T19" fmla="*/ 93 h 93"/>
                    <a:gd name="T20" fmla="*/ 404 w 404"/>
                    <a:gd name="T21" fmla="*/ 91 h 93"/>
                    <a:gd name="T22" fmla="*/ 351 w 404"/>
                    <a:gd name="T23" fmla="*/ 45 h 93"/>
                    <a:gd name="T24" fmla="*/ 202 w 404"/>
                    <a:gd name="T25" fmla="*/ 0 h 93"/>
                    <a:gd name="T26" fmla="*/ 53 w 404"/>
                    <a:gd name="T27" fmla="*/ 45 h 93"/>
                    <a:gd name="T28" fmla="*/ 0 w 404"/>
                    <a:gd name="T29" fmla="*/ 91 h 93"/>
                    <a:gd name="T30" fmla="*/ 3 w 404"/>
                    <a:gd name="T31" fmla="*/ 93 h 9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3" h="93">
                      <a:moveTo>
                        <a:pt x="3" y="93"/>
                      </a:moveTo>
                      <a:cubicBezTo>
                        <a:pt x="3" y="93"/>
                        <a:pt x="3" y="93"/>
                        <a:pt x="3" y="93"/>
                      </a:cubicBezTo>
                      <a:cubicBezTo>
                        <a:pt x="5" y="91"/>
                        <a:pt x="25" y="68"/>
                        <a:pt x="59" y="47"/>
                      </a:cubicBezTo>
                      <a:cubicBezTo>
                        <a:pt x="93" y="25"/>
                        <a:pt x="142" y="4"/>
                        <a:pt x="202" y="4"/>
                      </a:cubicBezTo>
                      <a:cubicBezTo>
                        <a:pt x="265" y="4"/>
                        <a:pt x="314" y="26"/>
                        <a:pt x="348" y="49"/>
                      </a:cubicBezTo>
                      <a:cubicBezTo>
                        <a:pt x="366" y="60"/>
                        <a:pt x="379" y="71"/>
                        <a:pt x="388" y="79"/>
                      </a:cubicBezTo>
                      <a:cubicBezTo>
                        <a:pt x="392" y="84"/>
                        <a:pt x="396" y="87"/>
                        <a:pt x="398" y="90"/>
                      </a:cubicBezTo>
                      <a:cubicBezTo>
                        <a:pt x="399" y="91"/>
                        <a:pt x="400" y="92"/>
                        <a:pt x="400" y="92"/>
                      </a:cubicBezTo>
                      <a:cubicBezTo>
                        <a:pt x="401" y="93"/>
                        <a:pt x="401" y="93"/>
                        <a:pt x="401" y="93"/>
                      </a:cubicBezTo>
                      <a:cubicBezTo>
                        <a:pt x="401" y="93"/>
                        <a:pt x="401" y="93"/>
                        <a:pt x="401" y="93"/>
                      </a:cubicBezTo>
                      <a:cubicBezTo>
                        <a:pt x="404" y="91"/>
                        <a:pt x="404" y="91"/>
                        <a:pt x="404" y="91"/>
                      </a:cubicBezTo>
                      <a:cubicBezTo>
                        <a:pt x="404" y="90"/>
                        <a:pt x="386" y="68"/>
                        <a:pt x="351" y="45"/>
                      </a:cubicBezTo>
                      <a:cubicBezTo>
                        <a:pt x="316" y="22"/>
                        <a:pt x="266" y="0"/>
                        <a:pt x="202" y="0"/>
                      </a:cubicBezTo>
                      <a:cubicBezTo>
                        <a:pt x="139" y="0"/>
                        <a:pt x="88" y="22"/>
                        <a:pt x="53" y="45"/>
                      </a:cubicBezTo>
                      <a:cubicBezTo>
                        <a:pt x="19" y="68"/>
                        <a:pt x="0" y="90"/>
                        <a:pt x="0" y="91"/>
                      </a:cubicBezTo>
                      <a:cubicBezTo>
                        <a:pt x="3" y="93"/>
                        <a:pt x="3" y="93"/>
                        <a:pt x="3" y="93"/>
                      </a:cubicBezTo>
                      <a:close/>
                    </a:path>
                  </a:pathLst>
                </a:custGeom>
                <a:solidFill>
                  <a:srgbClr val="C1B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18" name="Freeform 237">
                  <a:extLst>
                    <a:ext uri="{FF2B5EF4-FFF2-40B4-BE49-F238E27FC236}">
                      <a16:creationId xmlns:a16="http://schemas.microsoft.com/office/drawing/2014/main" id="{331D8624-6085-7D18-26EC-94328FA3222B}"/>
                    </a:ext>
                  </a:extLst>
                </p:cNvPr>
                <p:cNvSpPr/>
                <p:nvPr/>
              </p:nvSpPr>
              <p:spPr bwMode="auto">
                <a:xfrm>
                  <a:off x="3620" y="540"/>
                  <a:ext cx="42" cy="163"/>
                </a:xfrm>
                <a:custGeom>
                  <a:gdLst>
                    <a:gd name="T0" fmla="*/ 0 w 42"/>
                    <a:gd name="T1" fmla="*/ 2 h 163"/>
                    <a:gd name="T2" fmla="*/ 35 w 42"/>
                    <a:gd name="T3" fmla="*/ 163 h 163"/>
                    <a:gd name="T4" fmla="*/ 42 w 42"/>
                    <a:gd name="T5" fmla="*/ 161 h 163"/>
                    <a:gd name="T6" fmla="*/ 7 w 42"/>
                    <a:gd name="T7" fmla="*/ 0 h 163"/>
                    <a:gd name="T8" fmla="*/ 0 w 42"/>
                    <a:gd name="T9" fmla="*/ 2 h 163"/>
                  </a:gdLst>
                  <a:cxnLst>
                    <a:cxn ang="0">
                      <a:pos x="T0" y="T1"/>
                    </a:cxn>
                    <a:cxn ang="0">
                      <a:pos x="T2" y="T3"/>
                    </a:cxn>
                    <a:cxn ang="0">
                      <a:pos x="T4" y="T5"/>
                    </a:cxn>
                    <a:cxn ang="0">
                      <a:pos x="T6" y="T7"/>
                    </a:cxn>
                    <a:cxn ang="0">
                      <a:pos x="T8" y="T9"/>
                    </a:cxn>
                  </a:cxnLst>
                  <a:rect l="0" t="0" r="r" b="b"/>
                  <a:pathLst>
                    <a:path w="42" h="163">
                      <a:moveTo>
                        <a:pt x="0" y="2"/>
                      </a:moveTo>
                      <a:lnTo>
                        <a:pt x="35" y="163"/>
                      </a:lnTo>
                      <a:lnTo>
                        <a:pt x="42" y="161"/>
                      </a:lnTo>
                      <a:lnTo>
                        <a:pt x="7" y="0"/>
                      </a:lnTo>
                      <a:lnTo>
                        <a:pt x="0" y="2"/>
                      </a:lnTo>
                      <a:close/>
                    </a:path>
                  </a:pathLst>
                </a:custGeom>
                <a:solidFill>
                  <a:srgbClr val="C1B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19" name="Freeform 238">
                  <a:extLst>
                    <a:ext uri="{FF2B5EF4-FFF2-40B4-BE49-F238E27FC236}">
                      <a16:creationId xmlns:a16="http://schemas.microsoft.com/office/drawing/2014/main" id="{7D095DDE-B3B8-B3DB-B60C-393818015707}"/>
                    </a:ext>
                  </a:extLst>
                </p:cNvPr>
                <p:cNvSpPr/>
                <p:nvPr/>
              </p:nvSpPr>
              <p:spPr bwMode="auto">
                <a:xfrm>
                  <a:off x="3620" y="540"/>
                  <a:ext cx="42" cy="163"/>
                </a:xfrm>
                <a:custGeom>
                  <a:gdLst>
                    <a:gd name="T0" fmla="*/ 0 w 42"/>
                    <a:gd name="T1" fmla="*/ 2 h 163"/>
                    <a:gd name="T2" fmla="*/ 35 w 42"/>
                    <a:gd name="T3" fmla="*/ 163 h 163"/>
                    <a:gd name="T4" fmla="*/ 42 w 42"/>
                    <a:gd name="T5" fmla="*/ 161 h 163"/>
                    <a:gd name="T6" fmla="*/ 7 w 42"/>
                    <a:gd name="T7" fmla="*/ 0 h 163"/>
                  </a:gdLst>
                  <a:cxnLst>
                    <a:cxn ang="0">
                      <a:pos x="T0" y="T1"/>
                    </a:cxn>
                    <a:cxn ang="0">
                      <a:pos x="T2" y="T3"/>
                    </a:cxn>
                    <a:cxn ang="0">
                      <a:pos x="T4" y="T5"/>
                    </a:cxn>
                    <a:cxn ang="0">
                      <a:pos x="T6" y="T7"/>
                    </a:cxn>
                  </a:cxnLst>
                  <a:rect l="0" t="0" r="r" b="b"/>
                  <a:pathLst>
                    <a:path w="42" h="163">
                      <a:moveTo>
                        <a:pt x="0" y="2"/>
                      </a:moveTo>
                      <a:lnTo>
                        <a:pt x="35" y="163"/>
                      </a:lnTo>
                      <a:lnTo>
                        <a:pt x="42" y="161"/>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20" name="Freeform 239">
                  <a:extLst>
                    <a:ext uri="{FF2B5EF4-FFF2-40B4-BE49-F238E27FC236}">
                      <a16:creationId xmlns:a16="http://schemas.microsoft.com/office/drawing/2014/main" id="{D4A74A1C-7EBC-17C9-228B-D790B38BE027}"/>
                    </a:ext>
                  </a:extLst>
                </p:cNvPr>
                <p:cNvSpPr/>
                <p:nvPr/>
              </p:nvSpPr>
              <p:spPr bwMode="auto">
                <a:xfrm>
                  <a:off x="3792" y="473"/>
                  <a:ext cx="23" cy="115"/>
                </a:xfrm>
                <a:custGeom>
                  <a:gdLst>
                    <a:gd name="T0" fmla="*/ 0 w 23"/>
                    <a:gd name="T1" fmla="*/ 0 h 115"/>
                    <a:gd name="T2" fmla="*/ 16 w 23"/>
                    <a:gd name="T3" fmla="*/ 115 h 115"/>
                    <a:gd name="T4" fmla="*/ 23 w 23"/>
                    <a:gd name="T5" fmla="*/ 115 h 115"/>
                    <a:gd name="T6" fmla="*/ 7 w 23"/>
                    <a:gd name="T7" fmla="*/ 0 h 115"/>
                    <a:gd name="T8" fmla="*/ 0 w 23"/>
                    <a:gd name="T9" fmla="*/ 0 h 115"/>
                  </a:gdLst>
                  <a:cxnLst>
                    <a:cxn ang="0">
                      <a:pos x="T0" y="T1"/>
                    </a:cxn>
                    <a:cxn ang="0">
                      <a:pos x="T2" y="T3"/>
                    </a:cxn>
                    <a:cxn ang="0">
                      <a:pos x="T4" y="T5"/>
                    </a:cxn>
                    <a:cxn ang="0">
                      <a:pos x="T6" y="T7"/>
                    </a:cxn>
                    <a:cxn ang="0">
                      <a:pos x="T8" y="T9"/>
                    </a:cxn>
                  </a:cxnLst>
                  <a:rect l="0" t="0" r="r" b="b"/>
                  <a:pathLst>
                    <a:path w="23" h="115">
                      <a:moveTo>
                        <a:pt x="0" y="0"/>
                      </a:moveTo>
                      <a:lnTo>
                        <a:pt x="16" y="115"/>
                      </a:lnTo>
                      <a:lnTo>
                        <a:pt x="23" y="115"/>
                      </a:lnTo>
                      <a:lnTo>
                        <a:pt x="7" y="0"/>
                      </a:lnTo>
                      <a:lnTo>
                        <a:pt x="0" y="0"/>
                      </a:lnTo>
                      <a:close/>
                    </a:path>
                  </a:pathLst>
                </a:custGeom>
                <a:solidFill>
                  <a:srgbClr val="C1B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21" name="Freeform 240">
                  <a:extLst>
                    <a:ext uri="{FF2B5EF4-FFF2-40B4-BE49-F238E27FC236}">
                      <a16:creationId xmlns:a16="http://schemas.microsoft.com/office/drawing/2014/main" id="{AEAC571D-CD61-9BB4-FD81-910073086FD4}"/>
                    </a:ext>
                  </a:extLst>
                </p:cNvPr>
                <p:cNvSpPr/>
                <p:nvPr/>
              </p:nvSpPr>
              <p:spPr bwMode="auto">
                <a:xfrm>
                  <a:off x="3792" y="473"/>
                  <a:ext cx="23" cy="115"/>
                </a:xfrm>
                <a:custGeom>
                  <a:gdLst>
                    <a:gd name="T0" fmla="*/ 0 w 23"/>
                    <a:gd name="T1" fmla="*/ 0 h 115"/>
                    <a:gd name="T2" fmla="*/ 16 w 23"/>
                    <a:gd name="T3" fmla="*/ 115 h 115"/>
                    <a:gd name="T4" fmla="*/ 23 w 23"/>
                    <a:gd name="T5" fmla="*/ 115 h 115"/>
                    <a:gd name="T6" fmla="*/ 7 w 23"/>
                    <a:gd name="T7" fmla="*/ 0 h 115"/>
                  </a:gdLst>
                  <a:cxnLst>
                    <a:cxn ang="0">
                      <a:pos x="T0" y="T1"/>
                    </a:cxn>
                    <a:cxn ang="0">
                      <a:pos x="T2" y="T3"/>
                    </a:cxn>
                    <a:cxn ang="0">
                      <a:pos x="T4" y="T5"/>
                    </a:cxn>
                    <a:cxn ang="0">
                      <a:pos x="T6" y="T7"/>
                    </a:cxn>
                  </a:cxnLst>
                  <a:rect l="0" t="0" r="r" b="b"/>
                  <a:pathLst>
                    <a:path w="23" h="115">
                      <a:moveTo>
                        <a:pt x="0" y="0"/>
                      </a:moveTo>
                      <a:lnTo>
                        <a:pt x="16" y="115"/>
                      </a:lnTo>
                      <a:lnTo>
                        <a:pt x="23" y="115"/>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22" name="Freeform 241">
                  <a:extLst>
                    <a:ext uri="{FF2B5EF4-FFF2-40B4-BE49-F238E27FC236}">
                      <a16:creationId xmlns:a16="http://schemas.microsoft.com/office/drawing/2014/main" id="{6BFB9F9F-CC91-7163-1535-FC90ED3FEA99}"/>
                    </a:ext>
                  </a:extLst>
                </p:cNvPr>
                <p:cNvSpPr/>
                <p:nvPr/>
              </p:nvSpPr>
              <p:spPr bwMode="auto">
                <a:xfrm>
                  <a:off x="4096" y="511"/>
                  <a:ext cx="30" cy="117"/>
                </a:xfrm>
                <a:custGeom>
                  <a:gdLst>
                    <a:gd name="T0" fmla="*/ 22 w 30"/>
                    <a:gd name="T1" fmla="*/ 0 h 117"/>
                    <a:gd name="T2" fmla="*/ 0 w 30"/>
                    <a:gd name="T3" fmla="*/ 115 h 117"/>
                    <a:gd name="T4" fmla="*/ 8 w 30"/>
                    <a:gd name="T5" fmla="*/ 117 h 117"/>
                    <a:gd name="T6" fmla="*/ 30 w 30"/>
                    <a:gd name="T7" fmla="*/ 2 h 117"/>
                    <a:gd name="T8" fmla="*/ 22 w 30"/>
                    <a:gd name="T9" fmla="*/ 0 h 117"/>
                  </a:gdLst>
                  <a:cxnLst>
                    <a:cxn ang="0">
                      <a:pos x="T0" y="T1"/>
                    </a:cxn>
                    <a:cxn ang="0">
                      <a:pos x="T2" y="T3"/>
                    </a:cxn>
                    <a:cxn ang="0">
                      <a:pos x="T4" y="T5"/>
                    </a:cxn>
                    <a:cxn ang="0">
                      <a:pos x="T6" y="T7"/>
                    </a:cxn>
                    <a:cxn ang="0">
                      <a:pos x="T8" y="T9"/>
                    </a:cxn>
                  </a:cxnLst>
                  <a:rect l="0" t="0" r="r" b="b"/>
                  <a:pathLst>
                    <a:path w="30" h="117">
                      <a:moveTo>
                        <a:pt x="22" y="0"/>
                      </a:moveTo>
                      <a:lnTo>
                        <a:pt x="0" y="115"/>
                      </a:lnTo>
                      <a:lnTo>
                        <a:pt x="8" y="117"/>
                      </a:lnTo>
                      <a:lnTo>
                        <a:pt x="30" y="2"/>
                      </a:lnTo>
                      <a:lnTo>
                        <a:pt x="22" y="0"/>
                      </a:lnTo>
                      <a:close/>
                    </a:path>
                  </a:pathLst>
                </a:custGeom>
                <a:solidFill>
                  <a:srgbClr val="C1B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23" name="Freeform 242">
                  <a:extLst>
                    <a:ext uri="{FF2B5EF4-FFF2-40B4-BE49-F238E27FC236}">
                      <a16:creationId xmlns:a16="http://schemas.microsoft.com/office/drawing/2014/main" id="{F5243671-3F57-9669-72E0-F71ECB406128}"/>
                    </a:ext>
                  </a:extLst>
                </p:cNvPr>
                <p:cNvSpPr/>
                <p:nvPr/>
              </p:nvSpPr>
              <p:spPr bwMode="auto">
                <a:xfrm>
                  <a:off x="4096" y="511"/>
                  <a:ext cx="30" cy="117"/>
                </a:xfrm>
                <a:custGeom>
                  <a:gdLst>
                    <a:gd name="T0" fmla="*/ 22 w 30"/>
                    <a:gd name="T1" fmla="*/ 0 h 117"/>
                    <a:gd name="T2" fmla="*/ 0 w 30"/>
                    <a:gd name="T3" fmla="*/ 115 h 117"/>
                    <a:gd name="T4" fmla="*/ 8 w 30"/>
                    <a:gd name="T5" fmla="*/ 117 h 117"/>
                    <a:gd name="T6" fmla="*/ 30 w 30"/>
                    <a:gd name="T7" fmla="*/ 2 h 117"/>
                  </a:gdLst>
                  <a:cxnLst>
                    <a:cxn ang="0">
                      <a:pos x="T0" y="T1"/>
                    </a:cxn>
                    <a:cxn ang="0">
                      <a:pos x="T2" y="T3"/>
                    </a:cxn>
                    <a:cxn ang="0">
                      <a:pos x="T4" y="T5"/>
                    </a:cxn>
                    <a:cxn ang="0">
                      <a:pos x="T6" y="T7"/>
                    </a:cxn>
                  </a:cxnLst>
                  <a:rect l="0" t="0" r="r" b="b"/>
                  <a:pathLst>
                    <a:path w="30" h="117">
                      <a:moveTo>
                        <a:pt x="22" y="0"/>
                      </a:moveTo>
                      <a:lnTo>
                        <a:pt x="0" y="115"/>
                      </a:lnTo>
                      <a:lnTo>
                        <a:pt x="8" y="117"/>
                      </a:lnTo>
                      <a:lnTo>
                        <a:pt x="3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24" name="Freeform 243">
                  <a:extLst>
                    <a:ext uri="{FF2B5EF4-FFF2-40B4-BE49-F238E27FC236}">
                      <a16:creationId xmlns:a16="http://schemas.microsoft.com/office/drawing/2014/main" id="{225BBA67-1834-73EB-C052-7FED18FE1BB9}"/>
                    </a:ext>
                  </a:extLst>
                </p:cNvPr>
                <p:cNvSpPr/>
                <p:nvPr/>
              </p:nvSpPr>
              <p:spPr bwMode="auto">
                <a:xfrm>
                  <a:off x="3907" y="460"/>
                  <a:ext cx="366" cy="383"/>
                </a:xfrm>
                <a:custGeom>
                  <a:gdLst>
                    <a:gd name="T0" fmla="*/ 171 w 201"/>
                    <a:gd name="T1" fmla="*/ 210 h 210"/>
                    <a:gd name="T2" fmla="*/ 201 w 201"/>
                    <a:gd name="T3" fmla="*/ 90 h 210"/>
                    <a:gd name="T4" fmla="*/ 0 w 201"/>
                    <a:gd name="T5" fmla="*/ 0 h 210"/>
                    <a:gd name="T6" fmla="*/ 0 w 201"/>
                    <a:gd name="T7" fmla="*/ 139 h 210"/>
                    <a:gd name="T8" fmla="*/ 171 w 201"/>
                    <a:gd name="T9" fmla="*/ 210 h 210"/>
                  </a:gdLst>
                  <a:cxnLst>
                    <a:cxn ang="0">
                      <a:pos x="T0" y="T1"/>
                    </a:cxn>
                    <a:cxn ang="0">
                      <a:pos x="T2" y="T3"/>
                    </a:cxn>
                    <a:cxn ang="0">
                      <a:pos x="T4" y="T5"/>
                    </a:cxn>
                    <a:cxn ang="0">
                      <a:pos x="T6" y="T7"/>
                    </a:cxn>
                    <a:cxn ang="0">
                      <a:pos x="T8" y="T9"/>
                    </a:cxn>
                  </a:cxnLst>
                  <a:rect l="0" t="0" r="r" b="b"/>
                  <a:pathLst>
                    <a:path w="201" h="210">
                      <a:moveTo>
                        <a:pt x="171" y="210"/>
                      </a:moveTo>
                      <a:cubicBezTo>
                        <a:pt x="201" y="90"/>
                        <a:pt x="201" y="90"/>
                        <a:pt x="201" y="90"/>
                      </a:cubicBezTo>
                      <a:cubicBezTo>
                        <a:pt x="201" y="90"/>
                        <a:pt x="124" y="0"/>
                        <a:pt x="0" y="0"/>
                      </a:cubicBezTo>
                      <a:cubicBezTo>
                        <a:pt x="0" y="139"/>
                        <a:pt x="0" y="139"/>
                        <a:pt x="0" y="139"/>
                      </a:cubicBezTo>
                      <a:cubicBezTo>
                        <a:pt x="171" y="210"/>
                        <a:pt x="171" y="210"/>
                        <a:pt x="171" y="210"/>
                      </a:cubicBezTo>
                    </a:path>
                  </a:pathLst>
                </a:cu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25" name="Freeform 244">
                  <a:extLst>
                    <a:ext uri="{FF2B5EF4-FFF2-40B4-BE49-F238E27FC236}">
                      <a16:creationId xmlns:a16="http://schemas.microsoft.com/office/drawing/2014/main" id="{C575EAC5-0BB5-2662-A1AD-3DB5C7AC6AC0}"/>
                    </a:ext>
                  </a:extLst>
                </p:cNvPr>
                <p:cNvSpPr/>
                <p:nvPr/>
              </p:nvSpPr>
              <p:spPr bwMode="auto">
                <a:xfrm>
                  <a:off x="3704" y="1422"/>
                  <a:ext cx="405" cy="524"/>
                </a:xfrm>
                <a:custGeom>
                  <a:gdLst>
                    <a:gd name="T0" fmla="*/ 172 w 222"/>
                    <a:gd name="T1" fmla="*/ 0 h 287"/>
                    <a:gd name="T2" fmla="*/ 111 w 222"/>
                    <a:gd name="T3" fmla="*/ 8 h 287"/>
                    <a:gd name="T4" fmla="*/ 50 w 222"/>
                    <a:gd name="T5" fmla="*/ 0 h 287"/>
                    <a:gd name="T6" fmla="*/ 0 w 222"/>
                    <a:gd name="T7" fmla="*/ 164 h 287"/>
                    <a:gd name="T8" fmla="*/ 111 w 222"/>
                    <a:gd name="T9" fmla="*/ 287 h 287"/>
                    <a:gd name="T10" fmla="*/ 222 w 222"/>
                    <a:gd name="T11" fmla="*/ 164 h 287"/>
                    <a:gd name="T12" fmla="*/ 172 w 222"/>
                    <a:gd name="T13" fmla="*/ 0 h 287"/>
                  </a:gdLst>
                  <a:cxnLst>
                    <a:cxn ang="0">
                      <a:pos x="T0" y="T1"/>
                    </a:cxn>
                    <a:cxn ang="0">
                      <a:pos x="T2" y="T3"/>
                    </a:cxn>
                    <a:cxn ang="0">
                      <a:pos x="T4" y="T5"/>
                    </a:cxn>
                    <a:cxn ang="0">
                      <a:pos x="T6" y="T7"/>
                    </a:cxn>
                    <a:cxn ang="0">
                      <a:pos x="T8" y="T9"/>
                    </a:cxn>
                    <a:cxn ang="0">
                      <a:pos x="T10" y="T11"/>
                    </a:cxn>
                    <a:cxn ang="0">
                      <a:pos x="T12" y="T13"/>
                    </a:cxn>
                  </a:cxnLst>
                  <a:rect l="0" t="0" r="r" b="b"/>
                  <a:pathLst>
                    <a:path w="221" h="287">
                      <a:moveTo>
                        <a:pt x="172" y="0"/>
                      </a:moveTo>
                      <a:cubicBezTo>
                        <a:pt x="111" y="8"/>
                        <a:pt x="111" y="8"/>
                        <a:pt x="111" y="8"/>
                      </a:cubicBezTo>
                      <a:cubicBezTo>
                        <a:pt x="50" y="0"/>
                        <a:pt x="50" y="0"/>
                        <a:pt x="50" y="0"/>
                      </a:cubicBezTo>
                      <a:cubicBezTo>
                        <a:pt x="50" y="0"/>
                        <a:pt x="74" y="110"/>
                        <a:pt x="0" y="164"/>
                      </a:cubicBezTo>
                      <a:cubicBezTo>
                        <a:pt x="111" y="287"/>
                        <a:pt x="111" y="287"/>
                        <a:pt x="111" y="287"/>
                      </a:cubicBezTo>
                      <a:cubicBezTo>
                        <a:pt x="111" y="287"/>
                        <a:pt x="111" y="287"/>
                        <a:pt x="222" y="164"/>
                      </a:cubicBezTo>
                      <a:cubicBezTo>
                        <a:pt x="148" y="110"/>
                        <a:pt x="172" y="0"/>
                        <a:pt x="172" y="0"/>
                      </a:cubicBezTo>
                    </a:path>
                  </a:pathLst>
                </a:custGeom>
                <a:solidFill>
                  <a:srgbClr val="FB8F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26" name="Freeform 245">
                  <a:extLst>
                    <a:ext uri="{FF2B5EF4-FFF2-40B4-BE49-F238E27FC236}">
                      <a16:creationId xmlns:a16="http://schemas.microsoft.com/office/drawing/2014/main" id="{D375047D-FB36-FCC3-1B76-DE6BB1A09996}"/>
                    </a:ext>
                  </a:extLst>
                </p:cNvPr>
                <p:cNvSpPr/>
                <p:nvPr/>
              </p:nvSpPr>
              <p:spPr bwMode="auto">
                <a:xfrm>
                  <a:off x="3795" y="1422"/>
                  <a:ext cx="197" cy="153"/>
                </a:xfrm>
                <a:custGeom>
                  <a:gdLst>
                    <a:gd name="T0" fmla="*/ 108 w 108"/>
                    <a:gd name="T1" fmla="*/ 32 h 84"/>
                    <a:gd name="T2" fmla="*/ 67 w 108"/>
                    <a:gd name="T3" fmla="*/ 7 h 84"/>
                    <a:gd name="T4" fmla="*/ 61 w 108"/>
                    <a:gd name="T5" fmla="*/ 8 h 84"/>
                    <a:gd name="T6" fmla="*/ 0 w 108"/>
                    <a:gd name="T7" fmla="*/ 0 h 84"/>
                    <a:gd name="T8" fmla="*/ 0 w 108"/>
                    <a:gd name="T9" fmla="*/ 84 h 84"/>
                    <a:gd name="T10" fmla="*/ 108 w 108"/>
                    <a:gd name="T11" fmla="*/ 32 h 84"/>
                  </a:gdLst>
                  <a:cxnLst>
                    <a:cxn ang="0">
                      <a:pos x="T0" y="T1"/>
                    </a:cxn>
                    <a:cxn ang="0">
                      <a:pos x="T2" y="T3"/>
                    </a:cxn>
                    <a:cxn ang="0">
                      <a:pos x="T4" y="T5"/>
                    </a:cxn>
                    <a:cxn ang="0">
                      <a:pos x="T6" y="T7"/>
                    </a:cxn>
                    <a:cxn ang="0">
                      <a:pos x="T8" y="T9"/>
                    </a:cxn>
                    <a:cxn ang="0">
                      <a:pos x="T10" y="T11"/>
                    </a:cxn>
                  </a:cxnLst>
                  <a:rect l="0" t="0" r="r" b="b"/>
                  <a:pathLst>
                    <a:path w="108" h="84">
                      <a:moveTo>
                        <a:pt x="108" y="32"/>
                      </a:moveTo>
                      <a:cubicBezTo>
                        <a:pt x="67" y="7"/>
                        <a:pt x="67" y="7"/>
                        <a:pt x="67" y="7"/>
                      </a:cubicBezTo>
                      <a:cubicBezTo>
                        <a:pt x="61" y="8"/>
                        <a:pt x="61" y="8"/>
                        <a:pt x="61" y="8"/>
                      </a:cubicBezTo>
                      <a:cubicBezTo>
                        <a:pt x="0" y="0"/>
                        <a:pt x="0" y="0"/>
                        <a:pt x="0" y="0"/>
                      </a:cubicBezTo>
                      <a:cubicBezTo>
                        <a:pt x="0" y="0"/>
                        <a:pt x="9" y="40"/>
                        <a:pt x="0" y="84"/>
                      </a:cubicBezTo>
                      <a:cubicBezTo>
                        <a:pt x="67" y="73"/>
                        <a:pt x="108" y="32"/>
                        <a:pt x="108" y="32"/>
                      </a:cubicBezTo>
                    </a:path>
                  </a:pathLst>
                </a:custGeom>
                <a:solidFill>
                  <a:srgbClr val="6614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27" name="Freeform 246">
                  <a:extLst>
                    <a:ext uri="{FF2B5EF4-FFF2-40B4-BE49-F238E27FC236}">
                      <a16:creationId xmlns:a16="http://schemas.microsoft.com/office/drawing/2014/main" id="{CAC536D6-C630-D09A-D385-65A3C1D64151}"/>
                    </a:ext>
                  </a:extLst>
                </p:cNvPr>
                <p:cNvSpPr/>
                <p:nvPr/>
              </p:nvSpPr>
              <p:spPr bwMode="auto">
                <a:xfrm>
                  <a:off x="3458" y="515"/>
                  <a:ext cx="449" cy="693"/>
                </a:xfrm>
                <a:custGeom>
                  <a:gdLst>
                    <a:gd name="T0" fmla="*/ 246 w 246"/>
                    <a:gd name="T1" fmla="*/ 12 h 380"/>
                    <a:gd name="T2" fmla="*/ 64 w 246"/>
                    <a:gd name="T3" fmla="*/ 323 h 380"/>
                    <a:gd name="T4" fmla="*/ 127 w 246"/>
                    <a:gd name="T5" fmla="*/ 369 h 380"/>
                    <a:gd name="T6" fmla="*/ 246 w 246"/>
                    <a:gd name="T7" fmla="*/ 133 h 380"/>
                    <a:gd name="T8" fmla="*/ 246 w 246"/>
                    <a:gd name="T9" fmla="*/ 12 h 380"/>
                  </a:gdLst>
                  <a:cxnLst>
                    <a:cxn ang="0">
                      <a:pos x="T0" y="T1"/>
                    </a:cxn>
                    <a:cxn ang="0">
                      <a:pos x="T2" y="T3"/>
                    </a:cxn>
                    <a:cxn ang="0">
                      <a:pos x="T4" y="T5"/>
                    </a:cxn>
                    <a:cxn ang="0">
                      <a:pos x="T6" y="T7"/>
                    </a:cxn>
                    <a:cxn ang="0">
                      <a:pos x="T8" y="T9"/>
                    </a:cxn>
                  </a:cxnLst>
                  <a:rect l="0" t="0" r="r" b="b"/>
                  <a:pathLst>
                    <a:path w="246" h="380">
                      <a:moveTo>
                        <a:pt x="246" y="12"/>
                      </a:moveTo>
                      <a:cubicBezTo>
                        <a:pt x="246" y="12"/>
                        <a:pt x="0" y="0"/>
                        <a:pt x="64" y="323"/>
                      </a:cubicBezTo>
                      <a:cubicBezTo>
                        <a:pt x="127" y="380"/>
                        <a:pt x="127" y="369"/>
                        <a:pt x="127" y="369"/>
                      </a:cubicBezTo>
                      <a:cubicBezTo>
                        <a:pt x="246" y="133"/>
                        <a:pt x="246" y="133"/>
                        <a:pt x="246" y="133"/>
                      </a:cubicBezTo>
                      <a:cubicBezTo>
                        <a:pt x="246" y="12"/>
                        <a:pt x="246" y="12"/>
                        <a:pt x="246" y="12"/>
                      </a:cubicBezTo>
                    </a:path>
                  </a:pathLst>
                </a:custGeom>
                <a:solidFill>
                  <a:srgbClr val="3D0F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28" name="Freeform 247">
                  <a:extLst>
                    <a:ext uri="{FF2B5EF4-FFF2-40B4-BE49-F238E27FC236}">
                      <a16:creationId xmlns:a16="http://schemas.microsoft.com/office/drawing/2014/main" id="{72FCCD75-4EE7-4D18-6C34-EBADBB9F2FD5}"/>
                    </a:ext>
                  </a:extLst>
                </p:cNvPr>
                <p:cNvSpPr/>
                <p:nvPr/>
              </p:nvSpPr>
              <p:spPr bwMode="auto">
                <a:xfrm>
                  <a:off x="3498" y="1051"/>
                  <a:ext cx="177" cy="214"/>
                </a:xfrm>
                <a:custGeom>
                  <a:gdLst>
                    <a:gd name="T0" fmla="*/ 12 w 97"/>
                    <a:gd name="T1" fmla="*/ 75 h 117"/>
                    <a:gd name="T2" fmla="*/ 70 w 97"/>
                    <a:gd name="T3" fmla="*/ 108 h 117"/>
                    <a:gd name="T4" fmla="*/ 84 w 97"/>
                    <a:gd name="T5" fmla="*/ 42 h 117"/>
                    <a:gd name="T6" fmla="*/ 26 w 97"/>
                    <a:gd name="T7" fmla="*/ 9 h 117"/>
                    <a:gd name="T8" fmla="*/ 12 w 97"/>
                    <a:gd name="T9" fmla="*/ 75 h 117"/>
                  </a:gdLst>
                  <a:cxnLst>
                    <a:cxn ang="0">
                      <a:pos x="T0" y="T1"/>
                    </a:cxn>
                    <a:cxn ang="0">
                      <a:pos x="T2" y="T3"/>
                    </a:cxn>
                    <a:cxn ang="0">
                      <a:pos x="T4" y="T5"/>
                    </a:cxn>
                    <a:cxn ang="0">
                      <a:pos x="T6" y="T7"/>
                    </a:cxn>
                    <a:cxn ang="0">
                      <a:pos x="T8" y="T9"/>
                    </a:cxn>
                  </a:cxnLst>
                  <a:rect l="0" t="0" r="r" b="b"/>
                  <a:pathLst>
                    <a:path w="97" h="117">
                      <a:moveTo>
                        <a:pt x="12" y="75"/>
                      </a:moveTo>
                      <a:cubicBezTo>
                        <a:pt x="24" y="102"/>
                        <a:pt x="50" y="117"/>
                        <a:pt x="70" y="108"/>
                      </a:cubicBezTo>
                      <a:cubicBezTo>
                        <a:pt x="90" y="99"/>
                        <a:pt x="97" y="70"/>
                        <a:pt x="84" y="42"/>
                      </a:cubicBezTo>
                      <a:cubicBezTo>
                        <a:pt x="72" y="15"/>
                        <a:pt x="46" y="0"/>
                        <a:pt x="26" y="9"/>
                      </a:cubicBezTo>
                      <a:cubicBezTo>
                        <a:pt x="6" y="18"/>
                        <a:pt x="0" y="47"/>
                        <a:pt x="12" y="75"/>
                      </a:cubicBezTo>
                    </a:path>
                  </a:pathLst>
                </a:custGeom>
                <a:solidFill>
                  <a:srgbClr val="D86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29" name="Freeform 248">
                  <a:extLst>
                    <a:ext uri="{FF2B5EF4-FFF2-40B4-BE49-F238E27FC236}">
                      <a16:creationId xmlns:a16="http://schemas.microsoft.com/office/drawing/2014/main" id="{57BD5541-AEC0-1F86-5976-6E182EA44CC5}"/>
                    </a:ext>
                  </a:extLst>
                </p:cNvPr>
                <p:cNvSpPr/>
                <p:nvPr/>
              </p:nvSpPr>
              <p:spPr bwMode="auto">
                <a:xfrm>
                  <a:off x="3500" y="1075"/>
                  <a:ext cx="131" cy="177"/>
                </a:xfrm>
                <a:custGeom>
                  <a:gdLst>
                    <a:gd name="T0" fmla="*/ 18 w 72"/>
                    <a:gd name="T1" fmla="*/ 0 h 97"/>
                    <a:gd name="T2" fmla="*/ 62 w 72"/>
                    <a:gd name="T3" fmla="*/ 36 h 97"/>
                    <a:gd name="T4" fmla="*/ 54 w 72"/>
                    <a:gd name="T5" fmla="*/ 97 h 97"/>
                    <a:gd name="T6" fmla="*/ 11 w 72"/>
                    <a:gd name="T7" fmla="*/ 62 h 97"/>
                    <a:gd name="T8" fmla="*/ 18 w 72"/>
                    <a:gd name="T9" fmla="*/ 0 h 97"/>
                  </a:gdLst>
                  <a:cxnLst>
                    <a:cxn ang="0">
                      <a:pos x="T0" y="T1"/>
                    </a:cxn>
                    <a:cxn ang="0">
                      <a:pos x="T2" y="T3"/>
                    </a:cxn>
                    <a:cxn ang="0">
                      <a:pos x="T4" y="T5"/>
                    </a:cxn>
                    <a:cxn ang="0">
                      <a:pos x="T6" y="T7"/>
                    </a:cxn>
                    <a:cxn ang="0">
                      <a:pos x="T8" y="T9"/>
                    </a:cxn>
                  </a:cxnLst>
                  <a:rect l="0" t="0" r="r" b="b"/>
                  <a:pathLst>
                    <a:path w="72" h="97">
                      <a:moveTo>
                        <a:pt x="18" y="0"/>
                      </a:moveTo>
                      <a:cubicBezTo>
                        <a:pt x="35" y="1"/>
                        <a:pt x="52" y="15"/>
                        <a:pt x="62" y="36"/>
                      </a:cubicBezTo>
                      <a:cubicBezTo>
                        <a:pt x="72" y="60"/>
                        <a:pt x="69" y="85"/>
                        <a:pt x="54" y="97"/>
                      </a:cubicBezTo>
                      <a:cubicBezTo>
                        <a:pt x="38" y="96"/>
                        <a:pt x="20" y="82"/>
                        <a:pt x="11" y="62"/>
                      </a:cubicBezTo>
                      <a:cubicBezTo>
                        <a:pt x="0" y="38"/>
                        <a:pt x="4" y="12"/>
                        <a:pt x="18" y="0"/>
                      </a:cubicBezTo>
                      <a:close/>
                    </a:path>
                  </a:pathLst>
                </a:custGeom>
                <a:solidFill>
                  <a:srgbClr val="FB8F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30" name="Freeform 249">
                  <a:extLst>
                    <a:ext uri="{FF2B5EF4-FFF2-40B4-BE49-F238E27FC236}">
                      <a16:creationId xmlns:a16="http://schemas.microsoft.com/office/drawing/2014/main" id="{4A39BDA1-662F-C557-EDC4-D18494555DA8}"/>
                    </a:ext>
                  </a:extLst>
                </p:cNvPr>
                <p:cNvSpPr/>
                <p:nvPr/>
              </p:nvSpPr>
              <p:spPr bwMode="auto">
                <a:xfrm>
                  <a:off x="3907" y="515"/>
                  <a:ext cx="448" cy="693"/>
                </a:xfrm>
                <a:custGeom>
                  <a:gdLst>
                    <a:gd name="T0" fmla="*/ 0 w 246"/>
                    <a:gd name="T1" fmla="*/ 12 h 380"/>
                    <a:gd name="T2" fmla="*/ 182 w 246"/>
                    <a:gd name="T3" fmla="*/ 323 h 380"/>
                    <a:gd name="T4" fmla="*/ 119 w 246"/>
                    <a:gd name="T5" fmla="*/ 369 h 380"/>
                    <a:gd name="T6" fmla="*/ 0 w 246"/>
                    <a:gd name="T7" fmla="*/ 133 h 380"/>
                    <a:gd name="T8" fmla="*/ 0 w 246"/>
                    <a:gd name="T9" fmla="*/ 12 h 380"/>
                  </a:gdLst>
                  <a:cxnLst>
                    <a:cxn ang="0">
                      <a:pos x="T0" y="T1"/>
                    </a:cxn>
                    <a:cxn ang="0">
                      <a:pos x="T2" y="T3"/>
                    </a:cxn>
                    <a:cxn ang="0">
                      <a:pos x="T4" y="T5"/>
                    </a:cxn>
                    <a:cxn ang="0">
                      <a:pos x="T6" y="T7"/>
                    </a:cxn>
                    <a:cxn ang="0">
                      <a:pos x="T8" y="T9"/>
                    </a:cxn>
                  </a:cxnLst>
                  <a:rect l="0" t="0" r="r" b="b"/>
                  <a:pathLst>
                    <a:path w="246" h="380">
                      <a:moveTo>
                        <a:pt x="0" y="12"/>
                      </a:moveTo>
                      <a:cubicBezTo>
                        <a:pt x="0" y="12"/>
                        <a:pt x="246" y="0"/>
                        <a:pt x="182" y="323"/>
                      </a:cubicBezTo>
                      <a:cubicBezTo>
                        <a:pt x="119" y="380"/>
                        <a:pt x="119" y="369"/>
                        <a:pt x="119" y="369"/>
                      </a:cubicBezTo>
                      <a:cubicBezTo>
                        <a:pt x="0" y="133"/>
                        <a:pt x="0" y="133"/>
                        <a:pt x="0" y="133"/>
                      </a:cubicBezTo>
                      <a:cubicBezTo>
                        <a:pt x="0" y="12"/>
                        <a:pt x="0" y="12"/>
                        <a:pt x="0" y="12"/>
                      </a:cubicBezTo>
                    </a:path>
                  </a:pathLst>
                </a:custGeom>
                <a:solidFill>
                  <a:srgbClr val="3D0F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31" name="Freeform 250">
                  <a:extLst>
                    <a:ext uri="{FF2B5EF4-FFF2-40B4-BE49-F238E27FC236}">
                      <a16:creationId xmlns:a16="http://schemas.microsoft.com/office/drawing/2014/main" id="{6CB368E4-9343-E022-D385-D82F76AAE01F}"/>
                    </a:ext>
                  </a:extLst>
                </p:cNvPr>
                <p:cNvSpPr/>
                <p:nvPr/>
              </p:nvSpPr>
              <p:spPr bwMode="auto">
                <a:xfrm>
                  <a:off x="4140" y="1051"/>
                  <a:ext cx="177" cy="214"/>
                </a:xfrm>
                <a:custGeom>
                  <a:gdLst>
                    <a:gd name="T0" fmla="*/ 85 w 97"/>
                    <a:gd name="T1" fmla="*/ 75 h 117"/>
                    <a:gd name="T2" fmla="*/ 26 w 97"/>
                    <a:gd name="T3" fmla="*/ 108 h 117"/>
                    <a:gd name="T4" fmla="*/ 12 w 97"/>
                    <a:gd name="T5" fmla="*/ 42 h 117"/>
                    <a:gd name="T6" fmla="*/ 70 w 97"/>
                    <a:gd name="T7" fmla="*/ 9 h 117"/>
                    <a:gd name="T8" fmla="*/ 85 w 97"/>
                    <a:gd name="T9" fmla="*/ 75 h 117"/>
                  </a:gdLst>
                  <a:cxnLst>
                    <a:cxn ang="0">
                      <a:pos x="T0" y="T1"/>
                    </a:cxn>
                    <a:cxn ang="0">
                      <a:pos x="T2" y="T3"/>
                    </a:cxn>
                    <a:cxn ang="0">
                      <a:pos x="T4" y="T5"/>
                    </a:cxn>
                    <a:cxn ang="0">
                      <a:pos x="T6" y="T7"/>
                    </a:cxn>
                    <a:cxn ang="0">
                      <a:pos x="T8" y="T9"/>
                    </a:cxn>
                  </a:cxnLst>
                  <a:rect l="0" t="0" r="r" b="b"/>
                  <a:pathLst>
                    <a:path w="97" h="117">
                      <a:moveTo>
                        <a:pt x="85" y="75"/>
                      </a:moveTo>
                      <a:cubicBezTo>
                        <a:pt x="72" y="102"/>
                        <a:pt x="46" y="117"/>
                        <a:pt x="26" y="108"/>
                      </a:cubicBezTo>
                      <a:cubicBezTo>
                        <a:pt x="6" y="99"/>
                        <a:pt x="0" y="70"/>
                        <a:pt x="12" y="42"/>
                      </a:cubicBezTo>
                      <a:cubicBezTo>
                        <a:pt x="24" y="15"/>
                        <a:pt x="50" y="0"/>
                        <a:pt x="70" y="9"/>
                      </a:cubicBezTo>
                      <a:cubicBezTo>
                        <a:pt x="90" y="18"/>
                        <a:pt x="97" y="47"/>
                        <a:pt x="85" y="75"/>
                      </a:cubicBezTo>
                    </a:path>
                  </a:pathLst>
                </a:custGeom>
                <a:solidFill>
                  <a:srgbClr val="D86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32" name="Freeform 251">
                  <a:extLst>
                    <a:ext uri="{FF2B5EF4-FFF2-40B4-BE49-F238E27FC236}">
                      <a16:creationId xmlns:a16="http://schemas.microsoft.com/office/drawing/2014/main" id="{02839935-C757-709D-278B-ACDCE5B5E2D8}"/>
                    </a:ext>
                  </a:extLst>
                </p:cNvPr>
                <p:cNvSpPr/>
                <p:nvPr/>
              </p:nvSpPr>
              <p:spPr bwMode="auto">
                <a:xfrm>
                  <a:off x="4182" y="1075"/>
                  <a:ext cx="131" cy="177"/>
                </a:xfrm>
                <a:custGeom>
                  <a:gdLst>
                    <a:gd name="T0" fmla="*/ 54 w 72"/>
                    <a:gd name="T1" fmla="*/ 0 h 97"/>
                    <a:gd name="T2" fmla="*/ 10 w 72"/>
                    <a:gd name="T3" fmla="*/ 36 h 97"/>
                    <a:gd name="T4" fmla="*/ 18 w 72"/>
                    <a:gd name="T5" fmla="*/ 97 h 97"/>
                    <a:gd name="T6" fmla="*/ 62 w 72"/>
                    <a:gd name="T7" fmla="*/ 62 h 97"/>
                    <a:gd name="T8" fmla="*/ 54 w 72"/>
                    <a:gd name="T9" fmla="*/ 0 h 97"/>
                  </a:gdLst>
                  <a:cxnLst>
                    <a:cxn ang="0">
                      <a:pos x="T0" y="T1"/>
                    </a:cxn>
                    <a:cxn ang="0">
                      <a:pos x="T2" y="T3"/>
                    </a:cxn>
                    <a:cxn ang="0">
                      <a:pos x="T4" y="T5"/>
                    </a:cxn>
                    <a:cxn ang="0">
                      <a:pos x="T6" y="T7"/>
                    </a:cxn>
                    <a:cxn ang="0">
                      <a:pos x="T8" y="T9"/>
                    </a:cxn>
                  </a:cxnLst>
                  <a:rect l="0" t="0" r="r" b="b"/>
                  <a:pathLst>
                    <a:path w="72" h="97">
                      <a:moveTo>
                        <a:pt x="54" y="0"/>
                      </a:moveTo>
                      <a:cubicBezTo>
                        <a:pt x="37" y="1"/>
                        <a:pt x="20" y="15"/>
                        <a:pt x="10" y="36"/>
                      </a:cubicBezTo>
                      <a:cubicBezTo>
                        <a:pt x="0" y="60"/>
                        <a:pt x="3" y="85"/>
                        <a:pt x="18" y="97"/>
                      </a:cubicBezTo>
                      <a:cubicBezTo>
                        <a:pt x="35" y="96"/>
                        <a:pt x="52" y="82"/>
                        <a:pt x="62" y="62"/>
                      </a:cubicBezTo>
                      <a:cubicBezTo>
                        <a:pt x="72" y="38"/>
                        <a:pt x="69" y="12"/>
                        <a:pt x="54" y="0"/>
                      </a:cubicBezTo>
                      <a:close/>
                    </a:path>
                  </a:pathLst>
                </a:custGeom>
                <a:solidFill>
                  <a:srgbClr val="FB8F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33" name="Freeform 252">
                  <a:extLst>
                    <a:ext uri="{FF2B5EF4-FFF2-40B4-BE49-F238E27FC236}">
                      <a16:creationId xmlns:a16="http://schemas.microsoft.com/office/drawing/2014/main" id="{8576A279-4A41-2DB1-4D8E-8F478C8336EC}"/>
                    </a:ext>
                  </a:extLst>
                </p:cNvPr>
                <p:cNvSpPr/>
                <p:nvPr/>
              </p:nvSpPr>
              <p:spPr bwMode="auto">
                <a:xfrm>
                  <a:off x="3615" y="712"/>
                  <a:ext cx="583" cy="801"/>
                </a:xfrm>
                <a:custGeom>
                  <a:gdLst>
                    <a:gd name="T0" fmla="*/ 160 w 320"/>
                    <a:gd name="T1" fmla="*/ 1 h 439"/>
                    <a:gd name="T2" fmla="*/ 15 w 320"/>
                    <a:gd name="T3" fmla="*/ 198 h 439"/>
                    <a:gd name="T4" fmla="*/ 114 w 320"/>
                    <a:gd name="T5" fmla="*/ 421 h 439"/>
                    <a:gd name="T6" fmla="*/ 160 w 320"/>
                    <a:gd name="T7" fmla="*/ 435 h 439"/>
                    <a:gd name="T8" fmla="*/ 207 w 320"/>
                    <a:gd name="T9" fmla="*/ 421 h 439"/>
                    <a:gd name="T10" fmla="*/ 306 w 320"/>
                    <a:gd name="T11" fmla="*/ 198 h 439"/>
                    <a:gd name="T12" fmla="*/ 160 w 320"/>
                    <a:gd name="T13" fmla="*/ 1 h 439"/>
                  </a:gdLst>
                  <a:cxnLst>
                    <a:cxn ang="0">
                      <a:pos x="T0" y="T1"/>
                    </a:cxn>
                    <a:cxn ang="0">
                      <a:pos x="T2" y="T3"/>
                    </a:cxn>
                    <a:cxn ang="0">
                      <a:pos x="T4" y="T5"/>
                    </a:cxn>
                    <a:cxn ang="0">
                      <a:pos x="T6" y="T7"/>
                    </a:cxn>
                    <a:cxn ang="0">
                      <a:pos x="T8" y="T9"/>
                    </a:cxn>
                    <a:cxn ang="0">
                      <a:pos x="T10" y="T11"/>
                    </a:cxn>
                    <a:cxn ang="0">
                      <a:pos x="T12" y="T13"/>
                    </a:cxn>
                  </a:cxnLst>
                  <a:rect l="0" t="0" r="r" b="b"/>
                  <a:pathLst>
                    <a:path w="320" h="439">
                      <a:moveTo>
                        <a:pt x="160" y="1"/>
                      </a:moveTo>
                      <a:cubicBezTo>
                        <a:pt x="160" y="1"/>
                        <a:pt x="0" y="0"/>
                        <a:pt x="15" y="198"/>
                      </a:cubicBezTo>
                      <a:cubicBezTo>
                        <a:pt x="27" y="366"/>
                        <a:pt x="34" y="345"/>
                        <a:pt x="114" y="421"/>
                      </a:cubicBezTo>
                      <a:cubicBezTo>
                        <a:pt x="134" y="439"/>
                        <a:pt x="160" y="435"/>
                        <a:pt x="160" y="435"/>
                      </a:cubicBezTo>
                      <a:cubicBezTo>
                        <a:pt x="160" y="435"/>
                        <a:pt x="186" y="439"/>
                        <a:pt x="207" y="421"/>
                      </a:cubicBezTo>
                      <a:cubicBezTo>
                        <a:pt x="287" y="345"/>
                        <a:pt x="293" y="366"/>
                        <a:pt x="306" y="198"/>
                      </a:cubicBezTo>
                      <a:cubicBezTo>
                        <a:pt x="320" y="0"/>
                        <a:pt x="160" y="1"/>
                        <a:pt x="160" y="1"/>
                      </a:cubicBezTo>
                    </a:path>
                  </a:pathLst>
                </a:custGeom>
                <a:solidFill>
                  <a:srgbClr val="FB8F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34" name="Freeform 253">
                  <a:extLst>
                    <a:ext uri="{FF2B5EF4-FFF2-40B4-BE49-F238E27FC236}">
                      <a16:creationId xmlns:a16="http://schemas.microsoft.com/office/drawing/2014/main" id="{1FA203F7-CAD2-222E-4670-929D5E726CB6}"/>
                    </a:ext>
                  </a:extLst>
                </p:cNvPr>
                <p:cNvSpPr/>
                <p:nvPr/>
              </p:nvSpPr>
              <p:spPr bwMode="auto">
                <a:xfrm>
                  <a:off x="3972" y="973"/>
                  <a:ext cx="183" cy="54"/>
                </a:xfrm>
                <a:custGeom>
                  <a:gdLst>
                    <a:gd name="T0" fmla="*/ 0 w 100"/>
                    <a:gd name="T1" fmla="*/ 25 h 30"/>
                    <a:gd name="T2" fmla="*/ 65 w 100"/>
                    <a:gd name="T3" fmla="*/ 14 h 30"/>
                    <a:gd name="T4" fmla="*/ 100 w 100"/>
                    <a:gd name="T5" fmla="*/ 30 h 30"/>
                    <a:gd name="T6" fmla="*/ 66 w 100"/>
                    <a:gd name="T7" fmla="*/ 4 h 30"/>
                    <a:gd name="T8" fmla="*/ 0 w 100"/>
                    <a:gd name="T9" fmla="*/ 11 h 30"/>
                    <a:gd name="T10" fmla="*/ 0 w 100"/>
                    <a:gd name="T11" fmla="*/ 25 h 30"/>
                  </a:gdLst>
                  <a:cxnLst>
                    <a:cxn ang="0">
                      <a:pos x="T0" y="T1"/>
                    </a:cxn>
                    <a:cxn ang="0">
                      <a:pos x="T2" y="T3"/>
                    </a:cxn>
                    <a:cxn ang="0">
                      <a:pos x="T4" y="T5"/>
                    </a:cxn>
                    <a:cxn ang="0">
                      <a:pos x="T6" y="T7"/>
                    </a:cxn>
                    <a:cxn ang="0">
                      <a:pos x="T8" y="T9"/>
                    </a:cxn>
                    <a:cxn ang="0">
                      <a:pos x="T10" y="T11"/>
                    </a:cxn>
                  </a:cxnLst>
                  <a:rect l="0" t="0" r="r" b="b"/>
                  <a:pathLst>
                    <a:path w="100" h="30">
                      <a:moveTo>
                        <a:pt x="0" y="25"/>
                      </a:moveTo>
                      <a:cubicBezTo>
                        <a:pt x="0" y="25"/>
                        <a:pt x="46" y="14"/>
                        <a:pt x="65" y="14"/>
                      </a:cubicBezTo>
                      <a:cubicBezTo>
                        <a:pt x="83" y="15"/>
                        <a:pt x="100" y="30"/>
                        <a:pt x="100" y="30"/>
                      </a:cubicBezTo>
                      <a:cubicBezTo>
                        <a:pt x="100" y="30"/>
                        <a:pt x="89" y="8"/>
                        <a:pt x="66" y="4"/>
                      </a:cubicBezTo>
                      <a:cubicBezTo>
                        <a:pt x="43" y="0"/>
                        <a:pt x="0" y="11"/>
                        <a:pt x="0" y="11"/>
                      </a:cubicBezTo>
                      <a:cubicBezTo>
                        <a:pt x="0" y="25"/>
                        <a:pt x="0" y="25"/>
                        <a:pt x="0" y="25"/>
                      </a:cubicBezTo>
                    </a:path>
                  </a:pathLst>
                </a:custGeom>
                <a:solidFill>
                  <a:srgbClr val="3D0F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35" name="Freeform 254">
                  <a:extLst>
                    <a:ext uri="{FF2B5EF4-FFF2-40B4-BE49-F238E27FC236}">
                      <a16:creationId xmlns:a16="http://schemas.microsoft.com/office/drawing/2014/main" id="{1E46F076-3654-A4CC-2FFC-95BA4AB2DF18}"/>
                    </a:ext>
                  </a:extLst>
                </p:cNvPr>
                <p:cNvSpPr/>
                <p:nvPr/>
              </p:nvSpPr>
              <p:spPr bwMode="auto">
                <a:xfrm>
                  <a:off x="3669" y="1166"/>
                  <a:ext cx="46" cy="60"/>
                </a:xfrm>
                <a:custGeom>
                  <a:gdLst>
                    <a:gd name="T0" fmla="*/ 20 w 25"/>
                    <a:gd name="T1" fmla="*/ 0 h 33"/>
                    <a:gd name="T2" fmla="*/ 0 w 25"/>
                    <a:gd name="T3" fmla="*/ 16 h 33"/>
                    <a:gd name="T4" fmla="*/ 25 w 25"/>
                    <a:gd name="T5" fmla="*/ 33 h 33"/>
                    <a:gd name="T6" fmla="*/ 20 w 25"/>
                    <a:gd name="T7" fmla="*/ 0 h 33"/>
                  </a:gdLst>
                  <a:cxnLst>
                    <a:cxn ang="0">
                      <a:pos x="T0" y="T1"/>
                    </a:cxn>
                    <a:cxn ang="0">
                      <a:pos x="T2" y="T3"/>
                    </a:cxn>
                    <a:cxn ang="0">
                      <a:pos x="T4" y="T5"/>
                    </a:cxn>
                    <a:cxn ang="0">
                      <a:pos x="T6" y="T7"/>
                    </a:cxn>
                  </a:cxnLst>
                  <a:rect l="0" t="0" r="r" b="b"/>
                  <a:pathLst>
                    <a:path w="25" h="33">
                      <a:moveTo>
                        <a:pt x="20" y="0"/>
                      </a:moveTo>
                      <a:cubicBezTo>
                        <a:pt x="8" y="3"/>
                        <a:pt x="0" y="9"/>
                        <a:pt x="0" y="16"/>
                      </a:cubicBezTo>
                      <a:cubicBezTo>
                        <a:pt x="0" y="24"/>
                        <a:pt x="10" y="31"/>
                        <a:pt x="25" y="33"/>
                      </a:cubicBezTo>
                      <a:cubicBezTo>
                        <a:pt x="22" y="22"/>
                        <a:pt x="21" y="11"/>
                        <a:pt x="20" y="0"/>
                      </a:cubicBezTo>
                    </a:path>
                  </a:pathLst>
                </a:custGeom>
                <a:solidFill>
                  <a:srgbClr val="CB5E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36" name="Freeform 255">
                  <a:extLst>
                    <a:ext uri="{FF2B5EF4-FFF2-40B4-BE49-F238E27FC236}">
                      <a16:creationId xmlns:a16="http://schemas.microsoft.com/office/drawing/2014/main" id="{243130A9-A141-5ABD-170F-47543BD47DBF}"/>
                    </a:ext>
                  </a:extLst>
                </p:cNvPr>
                <p:cNvSpPr/>
                <p:nvPr/>
              </p:nvSpPr>
              <p:spPr bwMode="auto">
                <a:xfrm>
                  <a:off x="4012" y="1367"/>
                  <a:ext cx="99" cy="93"/>
                </a:xfrm>
                <a:custGeom>
                  <a:gdLst>
                    <a:gd name="T0" fmla="*/ 54 w 54"/>
                    <a:gd name="T1" fmla="*/ 0 h 51"/>
                    <a:gd name="T2" fmla="*/ 0 w 54"/>
                    <a:gd name="T3" fmla="*/ 51 h 51"/>
                    <a:gd name="T4" fmla="*/ 0 w 54"/>
                    <a:gd name="T5" fmla="*/ 51 h 51"/>
                    <a:gd name="T6" fmla="*/ 54 w 54"/>
                    <a:gd name="T7" fmla="*/ 0 h 51"/>
                  </a:gdLst>
                  <a:cxnLst>
                    <a:cxn ang="0">
                      <a:pos x="T0" y="T1"/>
                    </a:cxn>
                    <a:cxn ang="0">
                      <a:pos x="T2" y="T3"/>
                    </a:cxn>
                    <a:cxn ang="0">
                      <a:pos x="T4" y="T5"/>
                    </a:cxn>
                    <a:cxn ang="0">
                      <a:pos x="T6" y="T7"/>
                    </a:cxn>
                  </a:cxnLst>
                  <a:rect l="0" t="0" r="r" b="b"/>
                  <a:pathLst>
                    <a:path w="54" h="51">
                      <a:moveTo>
                        <a:pt x="54" y="0"/>
                      </a:moveTo>
                      <a:cubicBezTo>
                        <a:pt x="42" y="15"/>
                        <a:pt x="25" y="28"/>
                        <a:pt x="0" y="51"/>
                      </a:cubicBezTo>
                      <a:cubicBezTo>
                        <a:pt x="0" y="51"/>
                        <a:pt x="0" y="51"/>
                        <a:pt x="0" y="51"/>
                      </a:cubicBezTo>
                      <a:cubicBezTo>
                        <a:pt x="25" y="28"/>
                        <a:pt x="42" y="15"/>
                        <a:pt x="54" y="0"/>
                      </a:cubicBezTo>
                    </a:path>
                  </a:pathLst>
                </a:custGeom>
                <a:solidFill>
                  <a:srgbClr val="FBFB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37" name="Freeform 256">
                  <a:extLst>
                    <a:ext uri="{FF2B5EF4-FFF2-40B4-BE49-F238E27FC236}">
                      <a16:creationId xmlns:a16="http://schemas.microsoft.com/office/drawing/2014/main" id="{DA1BD12F-6FEA-4D14-3203-D407FEC745E1}"/>
                    </a:ext>
                  </a:extLst>
                </p:cNvPr>
                <p:cNvSpPr/>
                <p:nvPr/>
              </p:nvSpPr>
              <p:spPr bwMode="auto">
                <a:xfrm>
                  <a:off x="4000" y="1460"/>
                  <a:ext cx="12" cy="13"/>
                </a:xfrm>
                <a:custGeom>
                  <a:gdLst>
                    <a:gd name="T0" fmla="*/ 7 w 7"/>
                    <a:gd name="T1" fmla="*/ 0 h 7"/>
                    <a:gd name="T2" fmla="*/ 0 w 7"/>
                    <a:gd name="T3" fmla="*/ 7 h 7"/>
                    <a:gd name="T4" fmla="*/ 0 w 7"/>
                    <a:gd name="T5" fmla="*/ 7 h 7"/>
                    <a:gd name="T6" fmla="*/ 7 w 7"/>
                    <a:gd name="T7" fmla="*/ 0 h 7"/>
                    <a:gd name="T8" fmla="*/ 7 w 7"/>
                    <a:gd name="T9" fmla="*/ 0 h 7"/>
                  </a:gdLst>
                  <a:cxnLst>
                    <a:cxn ang="0">
                      <a:pos x="T0" y="T1"/>
                    </a:cxn>
                    <a:cxn ang="0">
                      <a:pos x="T2" y="T3"/>
                    </a:cxn>
                    <a:cxn ang="0">
                      <a:pos x="T4" y="T5"/>
                    </a:cxn>
                    <a:cxn ang="0">
                      <a:pos x="T6" y="T7"/>
                    </a:cxn>
                    <a:cxn ang="0">
                      <a:pos x="T8" y="T9"/>
                    </a:cxn>
                  </a:cxnLst>
                  <a:rect l="0" t="0" r="r" b="b"/>
                  <a:pathLst>
                    <a:path w="7" h="7">
                      <a:moveTo>
                        <a:pt x="7" y="0"/>
                      </a:moveTo>
                      <a:cubicBezTo>
                        <a:pt x="5" y="3"/>
                        <a:pt x="2" y="5"/>
                        <a:pt x="0" y="7"/>
                      </a:cubicBezTo>
                      <a:cubicBezTo>
                        <a:pt x="0" y="7"/>
                        <a:pt x="0" y="7"/>
                        <a:pt x="0" y="7"/>
                      </a:cubicBezTo>
                      <a:cubicBezTo>
                        <a:pt x="2" y="5"/>
                        <a:pt x="5" y="3"/>
                        <a:pt x="7" y="0"/>
                      </a:cubicBezTo>
                      <a:cubicBezTo>
                        <a:pt x="7" y="0"/>
                        <a:pt x="7" y="0"/>
                        <a:pt x="7" y="0"/>
                      </a:cubicBezTo>
                    </a:path>
                  </a:pathLst>
                </a:custGeom>
                <a:solidFill>
                  <a:srgbClr val="FCA6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38" name="Freeform 257">
                  <a:extLst>
                    <a:ext uri="{FF2B5EF4-FFF2-40B4-BE49-F238E27FC236}">
                      <a16:creationId xmlns:a16="http://schemas.microsoft.com/office/drawing/2014/main" id="{760EEF2D-2ADF-7503-FB64-B83EA3F6481A}"/>
                    </a:ext>
                  </a:extLst>
                </p:cNvPr>
                <p:cNvSpPr>
                  <a:spLocks noEditPoints="1"/>
                </p:cNvSpPr>
                <p:nvPr/>
              </p:nvSpPr>
              <p:spPr bwMode="auto">
                <a:xfrm>
                  <a:off x="4051" y="759"/>
                  <a:ext cx="122" cy="354"/>
                </a:xfrm>
                <a:custGeom>
                  <a:gdLst>
                    <a:gd name="T0" fmla="*/ 65 w 67"/>
                    <a:gd name="T1" fmla="*/ 194 h 194"/>
                    <a:gd name="T2" fmla="*/ 67 w 67"/>
                    <a:gd name="T3" fmla="*/ 172 h 194"/>
                    <a:gd name="T4" fmla="*/ 67 w 67"/>
                    <a:gd name="T5" fmla="*/ 171 h 194"/>
                    <a:gd name="T6" fmla="*/ 67 w 67"/>
                    <a:gd name="T7" fmla="*/ 171 h 194"/>
                    <a:gd name="T8" fmla="*/ 67 w 67"/>
                    <a:gd name="T9" fmla="*/ 171 h 194"/>
                    <a:gd name="T10" fmla="*/ 67 w 67"/>
                    <a:gd name="T11" fmla="*/ 170 h 194"/>
                    <a:gd name="T12" fmla="*/ 67 w 67"/>
                    <a:gd name="T13" fmla="*/ 170 h 194"/>
                    <a:gd name="T14" fmla="*/ 67 w 67"/>
                    <a:gd name="T15" fmla="*/ 169 h 194"/>
                    <a:gd name="T16" fmla="*/ 67 w 67"/>
                    <a:gd name="T17" fmla="*/ 169 h 194"/>
                    <a:gd name="T18" fmla="*/ 67 w 67"/>
                    <a:gd name="T19" fmla="*/ 168 h 194"/>
                    <a:gd name="T20" fmla="*/ 67 w 67"/>
                    <a:gd name="T21" fmla="*/ 167 h 194"/>
                    <a:gd name="T22" fmla="*/ 67 w 67"/>
                    <a:gd name="T23" fmla="*/ 129 h 194"/>
                    <a:gd name="T24" fmla="*/ 67 w 67"/>
                    <a:gd name="T25" fmla="*/ 129 h 194"/>
                    <a:gd name="T26" fmla="*/ 67 w 67"/>
                    <a:gd name="T27" fmla="*/ 128 h 194"/>
                    <a:gd name="T28" fmla="*/ 67 w 67"/>
                    <a:gd name="T29" fmla="*/ 128 h 194"/>
                    <a:gd name="T30" fmla="*/ 67 w 67"/>
                    <a:gd name="T31" fmla="*/ 127 h 194"/>
                    <a:gd name="T32" fmla="*/ 67 w 67"/>
                    <a:gd name="T33" fmla="*/ 127 h 194"/>
                    <a:gd name="T34" fmla="*/ 67 w 67"/>
                    <a:gd name="T35" fmla="*/ 126 h 194"/>
                    <a:gd name="T36" fmla="*/ 67 w 67"/>
                    <a:gd name="T37" fmla="*/ 125 h 194"/>
                    <a:gd name="T38" fmla="*/ 67 w 67"/>
                    <a:gd name="T39" fmla="*/ 125 h 194"/>
                    <a:gd name="T40" fmla="*/ 67 w 67"/>
                    <a:gd name="T41" fmla="*/ 125 h 194"/>
                    <a:gd name="T42" fmla="*/ 67 w 67"/>
                    <a:gd name="T43" fmla="*/ 124 h 194"/>
                    <a:gd name="T44" fmla="*/ 67 w 67"/>
                    <a:gd name="T45" fmla="*/ 124 h 194"/>
                    <a:gd name="T46" fmla="*/ 66 w 67"/>
                    <a:gd name="T47" fmla="*/ 124 h 194"/>
                    <a:gd name="T48" fmla="*/ 66 w 67"/>
                    <a:gd name="T49" fmla="*/ 123 h 194"/>
                    <a:gd name="T50" fmla="*/ 66 w 67"/>
                    <a:gd name="T51" fmla="*/ 123 h 194"/>
                    <a:gd name="T52" fmla="*/ 66 w 67"/>
                    <a:gd name="T53" fmla="*/ 122 h 194"/>
                    <a:gd name="T54" fmla="*/ 66 w 67"/>
                    <a:gd name="T55" fmla="*/ 122 h 194"/>
                    <a:gd name="T56" fmla="*/ 66 w 67"/>
                    <a:gd name="T57" fmla="*/ 122 h 194"/>
                    <a:gd name="T58" fmla="*/ 66 w 67"/>
                    <a:gd name="T59" fmla="*/ 121 h 194"/>
                    <a:gd name="T60" fmla="*/ 66 w 67"/>
                    <a:gd name="T61" fmla="*/ 121 h 194"/>
                    <a:gd name="T62" fmla="*/ 66 w 67"/>
                    <a:gd name="T63" fmla="*/ 121 h 194"/>
                    <a:gd name="T64" fmla="*/ 66 w 67"/>
                    <a:gd name="T65" fmla="*/ 120 h 194"/>
                    <a:gd name="T66" fmla="*/ 66 w 67"/>
                    <a:gd name="T67" fmla="*/ 120 h 194"/>
                    <a:gd name="T68" fmla="*/ 66 w 67"/>
                    <a:gd name="T69" fmla="*/ 120 h 194"/>
                    <a:gd name="T70" fmla="*/ 66 w 67"/>
                    <a:gd name="T71" fmla="*/ 119 h 194"/>
                    <a:gd name="T72" fmla="*/ 66 w 67"/>
                    <a:gd name="T73" fmla="*/ 119 h 194"/>
                    <a:gd name="T74" fmla="*/ 66 w 67"/>
                    <a:gd name="T75" fmla="*/ 118 h 194"/>
                    <a:gd name="T76" fmla="*/ 66 w 67"/>
                    <a:gd name="T77" fmla="*/ 117 h 194"/>
                    <a:gd name="T78" fmla="*/ 66 w 67"/>
                    <a:gd name="T79" fmla="*/ 117 h 194"/>
                    <a:gd name="T80" fmla="*/ 66 w 67"/>
                    <a:gd name="T81" fmla="*/ 117 h 194"/>
                    <a:gd name="T82" fmla="*/ 66 w 67"/>
                    <a:gd name="T83" fmla="*/ 117 h 194"/>
                    <a:gd name="T84" fmla="*/ 66 w 67"/>
                    <a:gd name="T85" fmla="*/ 116 h 194"/>
                    <a:gd name="T86" fmla="*/ 66 w 67"/>
                    <a:gd name="T87" fmla="*/ 115 h 194"/>
                    <a:gd name="T88" fmla="*/ 1 w 67"/>
                    <a:gd name="T89" fmla="*/ 1 h 194"/>
                    <a:gd name="T90" fmla="*/ 1 w 67"/>
                    <a:gd name="T91" fmla="*/ 1 h 194"/>
                    <a:gd name="T92" fmla="*/ 1 w 67"/>
                    <a:gd name="T93" fmla="*/ 1 h 194"/>
                    <a:gd name="T94" fmla="*/ 1 w 67"/>
                    <a:gd name="T95" fmla="*/ 0 h 194"/>
                    <a:gd name="T96" fmla="*/ 0 w 67"/>
                    <a:gd name="T97" fmla="*/ 0 h 194"/>
                    <a:gd name="T98" fmla="*/ 0 w 67"/>
                    <a:gd name="T99" fmla="*/ 0 h 19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7" h="194">
                      <a:moveTo>
                        <a:pt x="67" y="172"/>
                      </a:moveTo>
                      <a:cubicBezTo>
                        <a:pt x="66" y="180"/>
                        <a:pt x="66" y="187"/>
                        <a:pt x="65" y="194"/>
                      </a:cubicBezTo>
                      <a:cubicBezTo>
                        <a:pt x="65" y="194"/>
                        <a:pt x="65" y="194"/>
                        <a:pt x="65" y="194"/>
                      </a:cubicBezTo>
                      <a:cubicBezTo>
                        <a:pt x="66" y="187"/>
                        <a:pt x="66" y="180"/>
                        <a:pt x="67" y="172"/>
                      </a:cubicBezTo>
                      <a:moveTo>
                        <a:pt x="67" y="172"/>
                      </a:moveTo>
                      <a:cubicBezTo>
                        <a:pt x="67" y="172"/>
                        <a:pt x="67" y="172"/>
                        <a:pt x="67" y="172"/>
                      </a:cubicBezTo>
                      <a:cubicBezTo>
                        <a:pt x="67" y="172"/>
                        <a:pt x="67" y="172"/>
                        <a:pt x="67" y="172"/>
                      </a:cubicBezTo>
                      <a:moveTo>
                        <a:pt x="67" y="171"/>
                      </a:moveTo>
                      <a:cubicBezTo>
                        <a:pt x="67" y="171"/>
                        <a:pt x="67" y="171"/>
                        <a:pt x="67" y="171"/>
                      </a:cubicBezTo>
                      <a:cubicBezTo>
                        <a:pt x="67" y="171"/>
                        <a:pt x="67" y="171"/>
                        <a:pt x="67" y="171"/>
                      </a:cubicBezTo>
                      <a:moveTo>
                        <a:pt x="67" y="171"/>
                      </a:moveTo>
                      <a:cubicBezTo>
                        <a:pt x="67" y="171"/>
                        <a:pt x="67" y="171"/>
                        <a:pt x="67" y="171"/>
                      </a:cubicBezTo>
                      <a:cubicBezTo>
                        <a:pt x="67" y="171"/>
                        <a:pt x="67" y="171"/>
                        <a:pt x="67" y="171"/>
                      </a:cubicBezTo>
                      <a:moveTo>
                        <a:pt x="67" y="171"/>
                      </a:moveTo>
                      <a:cubicBezTo>
                        <a:pt x="67" y="171"/>
                        <a:pt x="67" y="171"/>
                        <a:pt x="67" y="171"/>
                      </a:cubicBezTo>
                      <a:cubicBezTo>
                        <a:pt x="67" y="171"/>
                        <a:pt x="67" y="171"/>
                        <a:pt x="67" y="171"/>
                      </a:cubicBezTo>
                      <a:moveTo>
                        <a:pt x="67" y="170"/>
                      </a:moveTo>
                      <a:cubicBezTo>
                        <a:pt x="67" y="170"/>
                        <a:pt x="67" y="170"/>
                        <a:pt x="67" y="170"/>
                      </a:cubicBezTo>
                      <a:cubicBezTo>
                        <a:pt x="67" y="170"/>
                        <a:pt x="67" y="170"/>
                        <a:pt x="67" y="170"/>
                      </a:cubicBezTo>
                      <a:moveTo>
                        <a:pt x="67" y="170"/>
                      </a:moveTo>
                      <a:cubicBezTo>
                        <a:pt x="67" y="170"/>
                        <a:pt x="67" y="170"/>
                        <a:pt x="67" y="170"/>
                      </a:cubicBezTo>
                      <a:cubicBezTo>
                        <a:pt x="67" y="170"/>
                        <a:pt x="67" y="170"/>
                        <a:pt x="67" y="170"/>
                      </a:cubicBezTo>
                      <a:moveTo>
                        <a:pt x="67" y="169"/>
                      </a:moveTo>
                      <a:cubicBezTo>
                        <a:pt x="67" y="169"/>
                        <a:pt x="67" y="169"/>
                        <a:pt x="67" y="169"/>
                      </a:cubicBezTo>
                      <a:cubicBezTo>
                        <a:pt x="67" y="169"/>
                        <a:pt x="67" y="169"/>
                        <a:pt x="67" y="169"/>
                      </a:cubicBezTo>
                      <a:moveTo>
                        <a:pt x="67" y="169"/>
                      </a:moveTo>
                      <a:cubicBezTo>
                        <a:pt x="67" y="169"/>
                        <a:pt x="67" y="169"/>
                        <a:pt x="67" y="169"/>
                      </a:cubicBezTo>
                      <a:cubicBezTo>
                        <a:pt x="67" y="169"/>
                        <a:pt x="67" y="169"/>
                        <a:pt x="67" y="169"/>
                      </a:cubicBezTo>
                      <a:moveTo>
                        <a:pt x="67" y="168"/>
                      </a:moveTo>
                      <a:cubicBezTo>
                        <a:pt x="67" y="168"/>
                        <a:pt x="67" y="168"/>
                        <a:pt x="67" y="168"/>
                      </a:cubicBezTo>
                      <a:cubicBezTo>
                        <a:pt x="67" y="168"/>
                        <a:pt x="67" y="168"/>
                        <a:pt x="67" y="168"/>
                      </a:cubicBezTo>
                      <a:moveTo>
                        <a:pt x="67" y="167"/>
                      </a:moveTo>
                      <a:cubicBezTo>
                        <a:pt x="67" y="167"/>
                        <a:pt x="67" y="167"/>
                        <a:pt x="67" y="167"/>
                      </a:cubicBezTo>
                      <a:cubicBezTo>
                        <a:pt x="67" y="167"/>
                        <a:pt x="67" y="167"/>
                        <a:pt x="67" y="167"/>
                      </a:cubicBezTo>
                      <a:moveTo>
                        <a:pt x="67" y="129"/>
                      </a:moveTo>
                      <a:cubicBezTo>
                        <a:pt x="67" y="129"/>
                        <a:pt x="67" y="129"/>
                        <a:pt x="67" y="129"/>
                      </a:cubicBezTo>
                      <a:cubicBezTo>
                        <a:pt x="67" y="129"/>
                        <a:pt x="67" y="129"/>
                        <a:pt x="67" y="129"/>
                      </a:cubicBezTo>
                      <a:moveTo>
                        <a:pt x="67" y="129"/>
                      </a:moveTo>
                      <a:cubicBezTo>
                        <a:pt x="67" y="129"/>
                        <a:pt x="67" y="129"/>
                        <a:pt x="67" y="129"/>
                      </a:cubicBezTo>
                      <a:cubicBezTo>
                        <a:pt x="67" y="129"/>
                        <a:pt x="67" y="129"/>
                        <a:pt x="67" y="129"/>
                      </a:cubicBezTo>
                      <a:moveTo>
                        <a:pt x="67" y="128"/>
                      </a:moveTo>
                      <a:cubicBezTo>
                        <a:pt x="67" y="128"/>
                        <a:pt x="67" y="128"/>
                        <a:pt x="67" y="128"/>
                      </a:cubicBezTo>
                      <a:cubicBezTo>
                        <a:pt x="67" y="128"/>
                        <a:pt x="67" y="128"/>
                        <a:pt x="67" y="128"/>
                      </a:cubicBezTo>
                      <a:moveTo>
                        <a:pt x="67" y="128"/>
                      </a:moveTo>
                      <a:cubicBezTo>
                        <a:pt x="67" y="128"/>
                        <a:pt x="67" y="128"/>
                        <a:pt x="67" y="128"/>
                      </a:cubicBezTo>
                      <a:cubicBezTo>
                        <a:pt x="67" y="128"/>
                        <a:pt x="67" y="128"/>
                        <a:pt x="67" y="128"/>
                      </a:cubicBezTo>
                      <a:moveTo>
                        <a:pt x="67" y="127"/>
                      </a:moveTo>
                      <a:cubicBezTo>
                        <a:pt x="67" y="127"/>
                        <a:pt x="67" y="127"/>
                        <a:pt x="67" y="127"/>
                      </a:cubicBezTo>
                      <a:cubicBezTo>
                        <a:pt x="67" y="127"/>
                        <a:pt x="67" y="127"/>
                        <a:pt x="67" y="127"/>
                      </a:cubicBezTo>
                      <a:moveTo>
                        <a:pt x="67" y="127"/>
                      </a:moveTo>
                      <a:cubicBezTo>
                        <a:pt x="67" y="127"/>
                        <a:pt x="67" y="127"/>
                        <a:pt x="67" y="127"/>
                      </a:cubicBezTo>
                      <a:cubicBezTo>
                        <a:pt x="67" y="127"/>
                        <a:pt x="67" y="127"/>
                        <a:pt x="67" y="127"/>
                      </a:cubicBezTo>
                      <a:moveTo>
                        <a:pt x="67" y="126"/>
                      </a:moveTo>
                      <a:cubicBezTo>
                        <a:pt x="67" y="126"/>
                        <a:pt x="67" y="126"/>
                        <a:pt x="67" y="126"/>
                      </a:cubicBezTo>
                      <a:cubicBezTo>
                        <a:pt x="67" y="126"/>
                        <a:pt x="67" y="126"/>
                        <a:pt x="67" y="126"/>
                      </a:cubicBezTo>
                      <a:moveTo>
                        <a:pt x="67" y="125"/>
                      </a:moveTo>
                      <a:cubicBezTo>
                        <a:pt x="67" y="125"/>
                        <a:pt x="67" y="125"/>
                        <a:pt x="67" y="125"/>
                      </a:cubicBezTo>
                      <a:cubicBezTo>
                        <a:pt x="67" y="125"/>
                        <a:pt x="67" y="125"/>
                        <a:pt x="67" y="125"/>
                      </a:cubicBezTo>
                      <a:moveTo>
                        <a:pt x="67" y="125"/>
                      </a:moveTo>
                      <a:cubicBezTo>
                        <a:pt x="67" y="125"/>
                        <a:pt x="67" y="125"/>
                        <a:pt x="67" y="125"/>
                      </a:cubicBezTo>
                      <a:cubicBezTo>
                        <a:pt x="67" y="125"/>
                        <a:pt x="67" y="125"/>
                        <a:pt x="67" y="125"/>
                      </a:cubicBezTo>
                      <a:moveTo>
                        <a:pt x="67" y="125"/>
                      </a:moveTo>
                      <a:cubicBezTo>
                        <a:pt x="67" y="125"/>
                        <a:pt x="67" y="125"/>
                        <a:pt x="67" y="125"/>
                      </a:cubicBezTo>
                      <a:cubicBezTo>
                        <a:pt x="67" y="125"/>
                        <a:pt x="67" y="125"/>
                        <a:pt x="67" y="125"/>
                      </a:cubicBezTo>
                      <a:moveTo>
                        <a:pt x="67" y="124"/>
                      </a:moveTo>
                      <a:cubicBezTo>
                        <a:pt x="67" y="124"/>
                        <a:pt x="67" y="124"/>
                        <a:pt x="67" y="124"/>
                      </a:cubicBezTo>
                      <a:cubicBezTo>
                        <a:pt x="67" y="124"/>
                        <a:pt x="67" y="124"/>
                        <a:pt x="67" y="124"/>
                      </a:cubicBezTo>
                      <a:moveTo>
                        <a:pt x="67" y="124"/>
                      </a:moveTo>
                      <a:cubicBezTo>
                        <a:pt x="67" y="124"/>
                        <a:pt x="67" y="124"/>
                        <a:pt x="67" y="124"/>
                      </a:cubicBezTo>
                      <a:cubicBezTo>
                        <a:pt x="67" y="124"/>
                        <a:pt x="67" y="124"/>
                        <a:pt x="67" y="124"/>
                      </a:cubicBezTo>
                      <a:moveTo>
                        <a:pt x="66" y="123"/>
                      </a:moveTo>
                      <a:cubicBezTo>
                        <a:pt x="66" y="123"/>
                        <a:pt x="66" y="124"/>
                        <a:pt x="66" y="124"/>
                      </a:cubicBezTo>
                      <a:cubicBezTo>
                        <a:pt x="66" y="124"/>
                        <a:pt x="66" y="123"/>
                        <a:pt x="66" y="123"/>
                      </a:cubicBezTo>
                      <a:moveTo>
                        <a:pt x="66" y="123"/>
                      </a:moveTo>
                      <a:cubicBezTo>
                        <a:pt x="66" y="123"/>
                        <a:pt x="66" y="123"/>
                        <a:pt x="66" y="123"/>
                      </a:cubicBezTo>
                      <a:cubicBezTo>
                        <a:pt x="66" y="123"/>
                        <a:pt x="66" y="123"/>
                        <a:pt x="66" y="123"/>
                      </a:cubicBezTo>
                      <a:moveTo>
                        <a:pt x="66" y="123"/>
                      </a:moveTo>
                      <a:cubicBezTo>
                        <a:pt x="66" y="123"/>
                        <a:pt x="66" y="123"/>
                        <a:pt x="66" y="123"/>
                      </a:cubicBezTo>
                      <a:cubicBezTo>
                        <a:pt x="66" y="123"/>
                        <a:pt x="66" y="123"/>
                        <a:pt x="66" y="123"/>
                      </a:cubicBezTo>
                      <a:moveTo>
                        <a:pt x="66" y="122"/>
                      </a:moveTo>
                      <a:cubicBezTo>
                        <a:pt x="66" y="122"/>
                        <a:pt x="66" y="122"/>
                        <a:pt x="66" y="122"/>
                      </a:cubicBezTo>
                      <a:cubicBezTo>
                        <a:pt x="66" y="122"/>
                        <a:pt x="66" y="122"/>
                        <a:pt x="66" y="122"/>
                      </a:cubicBezTo>
                      <a:moveTo>
                        <a:pt x="66" y="122"/>
                      </a:moveTo>
                      <a:cubicBezTo>
                        <a:pt x="66" y="122"/>
                        <a:pt x="66" y="122"/>
                        <a:pt x="66" y="122"/>
                      </a:cubicBezTo>
                      <a:cubicBezTo>
                        <a:pt x="66" y="122"/>
                        <a:pt x="66" y="122"/>
                        <a:pt x="66" y="122"/>
                      </a:cubicBezTo>
                      <a:moveTo>
                        <a:pt x="66" y="122"/>
                      </a:moveTo>
                      <a:cubicBezTo>
                        <a:pt x="66" y="122"/>
                        <a:pt x="66" y="122"/>
                        <a:pt x="66" y="122"/>
                      </a:cubicBezTo>
                      <a:cubicBezTo>
                        <a:pt x="66" y="122"/>
                        <a:pt x="66" y="122"/>
                        <a:pt x="66" y="122"/>
                      </a:cubicBezTo>
                      <a:moveTo>
                        <a:pt x="66" y="121"/>
                      </a:moveTo>
                      <a:cubicBezTo>
                        <a:pt x="66" y="121"/>
                        <a:pt x="66" y="121"/>
                        <a:pt x="66" y="121"/>
                      </a:cubicBezTo>
                      <a:cubicBezTo>
                        <a:pt x="66" y="121"/>
                        <a:pt x="66" y="121"/>
                        <a:pt x="66" y="121"/>
                      </a:cubicBezTo>
                      <a:moveTo>
                        <a:pt x="66" y="121"/>
                      </a:moveTo>
                      <a:cubicBezTo>
                        <a:pt x="66" y="121"/>
                        <a:pt x="66" y="121"/>
                        <a:pt x="66" y="121"/>
                      </a:cubicBezTo>
                      <a:cubicBezTo>
                        <a:pt x="66" y="121"/>
                        <a:pt x="66" y="121"/>
                        <a:pt x="66" y="121"/>
                      </a:cubicBezTo>
                      <a:moveTo>
                        <a:pt x="66" y="121"/>
                      </a:moveTo>
                      <a:cubicBezTo>
                        <a:pt x="66" y="121"/>
                        <a:pt x="66" y="121"/>
                        <a:pt x="66" y="121"/>
                      </a:cubicBezTo>
                      <a:cubicBezTo>
                        <a:pt x="66" y="121"/>
                        <a:pt x="66" y="121"/>
                        <a:pt x="66" y="121"/>
                      </a:cubicBezTo>
                      <a:moveTo>
                        <a:pt x="66" y="120"/>
                      </a:moveTo>
                      <a:cubicBezTo>
                        <a:pt x="66" y="120"/>
                        <a:pt x="66" y="120"/>
                        <a:pt x="66" y="120"/>
                      </a:cubicBezTo>
                      <a:cubicBezTo>
                        <a:pt x="66" y="120"/>
                        <a:pt x="66" y="120"/>
                        <a:pt x="66" y="120"/>
                      </a:cubicBezTo>
                      <a:moveTo>
                        <a:pt x="66" y="120"/>
                      </a:moveTo>
                      <a:cubicBezTo>
                        <a:pt x="66" y="120"/>
                        <a:pt x="66" y="120"/>
                        <a:pt x="66" y="120"/>
                      </a:cubicBezTo>
                      <a:cubicBezTo>
                        <a:pt x="66" y="120"/>
                        <a:pt x="66" y="120"/>
                        <a:pt x="66" y="120"/>
                      </a:cubicBezTo>
                      <a:moveTo>
                        <a:pt x="66" y="119"/>
                      </a:moveTo>
                      <a:cubicBezTo>
                        <a:pt x="66" y="120"/>
                        <a:pt x="66" y="120"/>
                        <a:pt x="66" y="120"/>
                      </a:cubicBezTo>
                      <a:cubicBezTo>
                        <a:pt x="66" y="120"/>
                        <a:pt x="66" y="119"/>
                        <a:pt x="66" y="119"/>
                      </a:cubicBezTo>
                      <a:moveTo>
                        <a:pt x="66" y="119"/>
                      </a:moveTo>
                      <a:cubicBezTo>
                        <a:pt x="66" y="119"/>
                        <a:pt x="66" y="119"/>
                        <a:pt x="66" y="119"/>
                      </a:cubicBezTo>
                      <a:cubicBezTo>
                        <a:pt x="66" y="119"/>
                        <a:pt x="66" y="119"/>
                        <a:pt x="66" y="119"/>
                      </a:cubicBezTo>
                      <a:moveTo>
                        <a:pt x="66" y="118"/>
                      </a:moveTo>
                      <a:cubicBezTo>
                        <a:pt x="66" y="118"/>
                        <a:pt x="66" y="118"/>
                        <a:pt x="66" y="119"/>
                      </a:cubicBezTo>
                      <a:cubicBezTo>
                        <a:pt x="66" y="118"/>
                        <a:pt x="66" y="118"/>
                        <a:pt x="66" y="118"/>
                      </a:cubicBezTo>
                      <a:moveTo>
                        <a:pt x="66" y="117"/>
                      </a:moveTo>
                      <a:cubicBezTo>
                        <a:pt x="66" y="118"/>
                        <a:pt x="66" y="118"/>
                        <a:pt x="66" y="118"/>
                      </a:cubicBezTo>
                      <a:cubicBezTo>
                        <a:pt x="66" y="118"/>
                        <a:pt x="66" y="118"/>
                        <a:pt x="66" y="117"/>
                      </a:cubicBezTo>
                      <a:moveTo>
                        <a:pt x="66" y="117"/>
                      </a:moveTo>
                      <a:cubicBezTo>
                        <a:pt x="66" y="117"/>
                        <a:pt x="66" y="117"/>
                        <a:pt x="66" y="117"/>
                      </a:cubicBezTo>
                      <a:cubicBezTo>
                        <a:pt x="66" y="117"/>
                        <a:pt x="66" y="117"/>
                        <a:pt x="66" y="117"/>
                      </a:cubicBezTo>
                      <a:moveTo>
                        <a:pt x="66" y="117"/>
                      </a:moveTo>
                      <a:cubicBezTo>
                        <a:pt x="66" y="117"/>
                        <a:pt x="66" y="117"/>
                        <a:pt x="66" y="117"/>
                      </a:cubicBezTo>
                      <a:cubicBezTo>
                        <a:pt x="66" y="117"/>
                        <a:pt x="66" y="117"/>
                        <a:pt x="66" y="117"/>
                      </a:cubicBezTo>
                      <a:moveTo>
                        <a:pt x="66" y="117"/>
                      </a:moveTo>
                      <a:cubicBezTo>
                        <a:pt x="66" y="117"/>
                        <a:pt x="66" y="117"/>
                        <a:pt x="66" y="117"/>
                      </a:cubicBezTo>
                      <a:cubicBezTo>
                        <a:pt x="66" y="117"/>
                        <a:pt x="66" y="117"/>
                        <a:pt x="66" y="117"/>
                      </a:cubicBezTo>
                      <a:moveTo>
                        <a:pt x="66" y="116"/>
                      </a:moveTo>
                      <a:cubicBezTo>
                        <a:pt x="66" y="116"/>
                        <a:pt x="66" y="116"/>
                        <a:pt x="66" y="117"/>
                      </a:cubicBezTo>
                      <a:cubicBezTo>
                        <a:pt x="66" y="116"/>
                        <a:pt x="66" y="116"/>
                        <a:pt x="66" y="116"/>
                      </a:cubicBezTo>
                      <a:moveTo>
                        <a:pt x="66" y="115"/>
                      </a:moveTo>
                      <a:cubicBezTo>
                        <a:pt x="66" y="115"/>
                        <a:pt x="66" y="116"/>
                        <a:pt x="66" y="116"/>
                      </a:cubicBezTo>
                      <a:cubicBezTo>
                        <a:pt x="66" y="116"/>
                        <a:pt x="66" y="115"/>
                        <a:pt x="66" y="115"/>
                      </a:cubicBezTo>
                      <a:moveTo>
                        <a:pt x="1" y="1"/>
                      </a:moveTo>
                      <a:cubicBezTo>
                        <a:pt x="30" y="20"/>
                        <a:pt x="58" y="55"/>
                        <a:pt x="66" y="115"/>
                      </a:cubicBezTo>
                      <a:cubicBezTo>
                        <a:pt x="58" y="55"/>
                        <a:pt x="30" y="20"/>
                        <a:pt x="1" y="1"/>
                      </a:cubicBezTo>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1" y="0"/>
                      </a:moveTo>
                      <a:cubicBezTo>
                        <a:pt x="1" y="0"/>
                        <a:pt x="1" y="0"/>
                        <a:pt x="1" y="0"/>
                      </a:cubicBezTo>
                      <a:cubicBezTo>
                        <a:pt x="1" y="0"/>
                        <a:pt x="1" y="0"/>
                        <a:pt x="1"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4912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39" name="Freeform 258">
                  <a:extLst>
                    <a:ext uri="{FF2B5EF4-FFF2-40B4-BE49-F238E27FC236}">
                      <a16:creationId xmlns:a16="http://schemas.microsoft.com/office/drawing/2014/main" id="{8DEC97C1-64A6-6961-C5FE-42E908835DD5}"/>
                    </a:ext>
                  </a:extLst>
                </p:cNvPr>
                <p:cNvSpPr>
                  <a:spLocks noEditPoints="1"/>
                </p:cNvSpPr>
                <p:nvPr/>
              </p:nvSpPr>
              <p:spPr bwMode="auto">
                <a:xfrm>
                  <a:off x="4160" y="1113"/>
                  <a:ext cx="9" cy="90"/>
                </a:xfrm>
                <a:custGeom>
                  <a:gdLst>
                    <a:gd name="T0" fmla="*/ 0 w 5"/>
                    <a:gd name="T1" fmla="*/ 49 h 49"/>
                    <a:gd name="T2" fmla="*/ 0 w 5"/>
                    <a:gd name="T3" fmla="*/ 49 h 49"/>
                    <a:gd name="T4" fmla="*/ 0 w 5"/>
                    <a:gd name="T5" fmla="*/ 49 h 49"/>
                    <a:gd name="T6" fmla="*/ 0 w 5"/>
                    <a:gd name="T7" fmla="*/ 48 h 49"/>
                    <a:gd name="T8" fmla="*/ 0 w 5"/>
                    <a:gd name="T9" fmla="*/ 48 h 49"/>
                    <a:gd name="T10" fmla="*/ 0 w 5"/>
                    <a:gd name="T11" fmla="*/ 48 h 49"/>
                    <a:gd name="T12" fmla="*/ 5 w 5"/>
                    <a:gd name="T13" fmla="*/ 0 h 49"/>
                    <a:gd name="T14" fmla="*/ 5 w 5"/>
                    <a:gd name="T15" fmla="*/ 0 h 49"/>
                    <a:gd name="T16" fmla="*/ 0 w 5"/>
                    <a:gd name="T17" fmla="*/ 48 h 49"/>
                    <a:gd name="T18" fmla="*/ 5 w 5"/>
                    <a:gd name="T19" fmla="*/ 0 h 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9">
                      <a:moveTo>
                        <a:pt x="0" y="49"/>
                      </a:moveTo>
                      <a:cubicBezTo>
                        <a:pt x="0" y="49"/>
                        <a:pt x="0" y="49"/>
                        <a:pt x="0" y="49"/>
                      </a:cubicBezTo>
                      <a:cubicBezTo>
                        <a:pt x="0" y="49"/>
                        <a:pt x="0" y="49"/>
                        <a:pt x="0" y="49"/>
                      </a:cubicBezTo>
                      <a:moveTo>
                        <a:pt x="0" y="48"/>
                      </a:moveTo>
                      <a:cubicBezTo>
                        <a:pt x="0" y="48"/>
                        <a:pt x="0" y="48"/>
                        <a:pt x="0" y="48"/>
                      </a:cubicBezTo>
                      <a:cubicBezTo>
                        <a:pt x="0" y="48"/>
                        <a:pt x="0" y="48"/>
                        <a:pt x="0" y="48"/>
                      </a:cubicBezTo>
                      <a:moveTo>
                        <a:pt x="5" y="0"/>
                      </a:moveTo>
                      <a:cubicBezTo>
                        <a:pt x="5" y="0"/>
                        <a:pt x="5" y="0"/>
                        <a:pt x="5" y="0"/>
                      </a:cubicBezTo>
                      <a:cubicBezTo>
                        <a:pt x="4" y="19"/>
                        <a:pt x="2" y="35"/>
                        <a:pt x="0" y="48"/>
                      </a:cubicBezTo>
                      <a:cubicBezTo>
                        <a:pt x="2" y="35"/>
                        <a:pt x="4" y="19"/>
                        <a:pt x="5" y="0"/>
                      </a:cubicBezTo>
                    </a:path>
                  </a:pathLst>
                </a:custGeom>
                <a:solidFill>
                  <a:srgbClr val="E084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40" name="Freeform 259">
                  <a:extLst>
                    <a:ext uri="{FF2B5EF4-FFF2-40B4-BE49-F238E27FC236}">
                      <a16:creationId xmlns:a16="http://schemas.microsoft.com/office/drawing/2014/main" id="{9BC3DFD1-CF6D-E463-4E42-D6D6708B5759}"/>
                    </a:ext>
                  </a:extLst>
                </p:cNvPr>
                <p:cNvSpPr>
                  <a:spLocks noEditPoints="1"/>
                </p:cNvSpPr>
                <p:nvPr/>
              </p:nvSpPr>
              <p:spPr bwMode="auto">
                <a:xfrm>
                  <a:off x="3697" y="719"/>
                  <a:ext cx="478" cy="759"/>
                </a:xfrm>
                <a:custGeom>
                  <a:gdLst>
                    <a:gd name="T0" fmla="*/ 211 w 262"/>
                    <a:gd name="T1" fmla="*/ 244 h 416"/>
                    <a:gd name="T2" fmla="*/ 151 w 262"/>
                    <a:gd name="T3" fmla="*/ 164 h 416"/>
                    <a:gd name="T4" fmla="*/ 217 w 262"/>
                    <a:gd name="T5" fmla="*/ 143 h 416"/>
                    <a:gd name="T6" fmla="*/ 214 w 262"/>
                    <a:gd name="T7" fmla="*/ 153 h 416"/>
                    <a:gd name="T8" fmla="*/ 7 w 262"/>
                    <a:gd name="T9" fmla="*/ 145 h 416"/>
                    <a:gd name="T10" fmla="*/ 54 w 262"/>
                    <a:gd name="T11" fmla="*/ 261 h 416"/>
                    <a:gd name="T12" fmla="*/ 34 w 262"/>
                    <a:gd name="T13" fmla="*/ 339 h 416"/>
                    <a:gd name="T14" fmla="*/ 173 w 262"/>
                    <a:gd name="T15" fmla="*/ 406 h 416"/>
                    <a:gd name="T16" fmla="*/ 254 w 262"/>
                    <a:gd name="T17" fmla="*/ 265 h 416"/>
                    <a:gd name="T18" fmla="*/ 254 w 262"/>
                    <a:gd name="T19" fmla="*/ 264 h 416"/>
                    <a:gd name="T20" fmla="*/ 261 w 262"/>
                    <a:gd name="T21" fmla="*/ 194 h 416"/>
                    <a:gd name="T22" fmla="*/ 261 w 262"/>
                    <a:gd name="T23" fmla="*/ 193 h 416"/>
                    <a:gd name="T24" fmla="*/ 261 w 262"/>
                    <a:gd name="T25" fmla="*/ 193 h 416"/>
                    <a:gd name="T26" fmla="*/ 261 w 262"/>
                    <a:gd name="T27" fmla="*/ 192 h 416"/>
                    <a:gd name="T28" fmla="*/ 261 w 262"/>
                    <a:gd name="T29" fmla="*/ 192 h 416"/>
                    <a:gd name="T30" fmla="*/ 261 w 262"/>
                    <a:gd name="T31" fmla="*/ 191 h 416"/>
                    <a:gd name="T32" fmla="*/ 261 w 262"/>
                    <a:gd name="T33" fmla="*/ 190 h 416"/>
                    <a:gd name="T34" fmla="*/ 261 w 262"/>
                    <a:gd name="T35" fmla="*/ 151 h 416"/>
                    <a:gd name="T36" fmla="*/ 261 w 262"/>
                    <a:gd name="T37" fmla="*/ 151 h 416"/>
                    <a:gd name="T38" fmla="*/ 261 w 262"/>
                    <a:gd name="T39" fmla="*/ 150 h 416"/>
                    <a:gd name="T40" fmla="*/ 261 w 262"/>
                    <a:gd name="T41" fmla="*/ 149 h 416"/>
                    <a:gd name="T42" fmla="*/ 261 w 262"/>
                    <a:gd name="T43" fmla="*/ 148 h 416"/>
                    <a:gd name="T44" fmla="*/ 261 w 262"/>
                    <a:gd name="T45" fmla="*/ 147 h 416"/>
                    <a:gd name="T46" fmla="*/ 261 w 262"/>
                    <a:gd name="T47" fmla="*/ 147 h 416"/>
                    <a:gd name="T48" fmla="*/ 261 w 262"/>
                    <a:gd name="T49" fmla="*/ 146 h 416"/>
                    <a:gd name="T50" fmla="*/ 260 w 262"/>
                    <a:gd name="T51" fmla="*/ 146 h 416"/>
                    <a:gd name="T52" fmla="*/ 260 w 262"/>
                    <a:gd name="T53" fmla="*/ 145 h 416"/>
                    <a:gd name="T54" fmla="*/ 260 w 262"/>
                    <a:gd name="T55" fmla="*/ 144 h 416"/>
                    <a:gd name="T56" fmla="*/ 260 w 262"/>
                    <a:gd name="T57" fmla="*/ 144 h 416"/>
                    <a:gd name="T58" fmla="*/ 260 w 262"/>
                    <a:gd name="T59" fmla="*/ 143 h 416"/>
                    <a:gd name="T60" fmla="*/ 260 w 262"/>
                    <a:gd name="T61" fmla="*/ 143 h 416"/>
                    <a:gd name="T62" fmla="*/ 260 w 262"/>
                    <a:gd name="T63" fmla="*/ 142 h 416"/>
                    <a:gd name="T64" fmla="*/ 260 w 262"/>
                    <a:gd name="T65" fmla="*/ 142 h 416"/>
                    <a:gd name="T66" fmla="*/ 260 w 262"/>
                    <a:gd name="T67" fmla="*/ 141 h 416"/>
                    <a:gd name="T68" fmla="*/ 260 w 262"/>
                    <a:gd name="T69" fmla="*/ 140 h 416"/>
                    <a:gd name="T70" fmla="*/ 260 w 262"/>
                    <a:gd name="T71" fmla="*/ 139 h 416"/>
                    <a:gd name="T72" fmla="*/ 260 w 262"/>
                    <a:gd name="T73" fmla="*/ 139 h 416"/>
                    <a:gd name="T74" fmla="*/ 260 w 262"/>
                    <a:gd name="T75" fmla="*/ 139 h 416"/>
                    <a:gd name="T76" fmla="*/ 260 w 262"/>
                    <a:gd name="T77" fmla="*/ 137 h 416"/>
                    <a:gd name="T78" fmla="*/ 195 w 262"/>
                    <a:gd name="T79" fmla="*/ 23 h 416"/>
                    <a:gd name="T80" fmla="*/ 195 w 262"/>
                    <a:gd name="T81" fmla="*/ 23 h 416"/>
                    <a:gd name="T82" fmla="*/ 195 w 262"/>
                    <a:gd name="T83" fmla="*/ 22 h 416"/>
                    <a:gd name="T84" fmla="*/ 194 w 262"/>
                    <a:gd name="T85" fmla="*/ 22 h 416"/>
                    <a:gd name="T86" fmla="*/ 138 w 262"/>
                    <a:gd name="T87" fmla="*/ 0 h 4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2" h="416">
                      <a:moveTo>
                        <a:pt x="211" y="279"/>
                      </a:moveTo>
                      <a:cubicBezTo>
                        <a:pt x="192" y="279"/>
                        <a:pt x="176" y="271"/>
                        <a:pt x="176" y="261"/>
                      </a:cubicBezTo>
                      <a:cubicBezTo>
                        <a:pt x="176" y="252"/>
                        <a:pt x="192" y="244"/>
                        <a:pt x="211" y="244"/>
                      </a:cubicBezTo>
                      <a:cubicBezTo>
                        <a:pt x="230" y="244"/>
                        <a:pt x="246" y="252"/>
                        <a:pt x="246" y="261"/>
                      </a:cubicBezTo>
                      <a:cubicBezTo>
                        <a:pt x="246" y="271"/>
                        <a:pt x="230" y="279"/>
                        <a:pt x="211" y="279"/>
                      </a:cubicBezTo>
                      <a:moveTo>
                        <a:pt x="151" y="164"/>
                      </a:moveTo>
                      <a:cubicBezTo>
                        <a:pt x="151" y="150"/>
                        <a:pt x="151" y="150"/>
                        <a:pt x="151" y="150"/>
                      </a:cubicBezTo>
                      <a:cubicBezTo>
                        <a:pt x="151" y="150"/>
                        <a:pt x="182" y="142"/>
                        <a:pt x="206" y="142"/>
                      </a:cubicBezTo>
                      <a:cubicBezTo>
                        <a:pt x="210" y="142"/>
                        <a:pt x="214" y="142"/>
                        <a:pt x="217" y="143"/>
                      </a:cubicBezTo>
                      <a:cubicBezTo>
                        <a:pt x="240" y="147"/>
                        <a:pt x="251" y="169"/>
                        <a:pt x="251" y="169"/>
                      </a:cubicBezTo>
                      <a:cubicBezTo>
                        <a:pt x="251" y="169"/>
                        <a:pt x="234" y="154"/>
                        <a:pt x="216" y="153"/>
                      </a:cubicBezTo>
                      <a:cubicBezTo>
                        <a:pt x="215" y="153"/>
                        <a:pt x="215" y="153"/>
                        <a:pt x="214" y="153"/>
                      </a:cubicBezTo>
                      <a:cubicBezTo>
                        <a:pt x="195" y="153"/>
                        <a:pt x="151" y="164"/>
                        <a:pt x="151" y="164"/>
                      </a:cubicBezTo>
                      <a:moveTo>
                        <a:pt x="138" y="0"/>
                      </a:moveTo>
                      <a:cubicBezTo>
                        <a:pt x="7" y="145"/>
                        <a:pt x="7" y="145"/>
                        <a:pt x="7" y="145"/>
                      </a:cubicBezTo>
                      <a:cubicBezTo>
                        <a:pt x="7" y="145"/>
                        <a:pt x="0" y="193"/>
                        <a:pt x="5" y="245"/>
                      </a:cubicBezTo>
                      <a:cubicBezTo>
                        <a:pt x="9" y="244"/>
                        <a:pt x="14" y="244"/>
                        <a:pt x="19" y="244"/>
                      </a:cubicBezTo>
                      <a:cubicBezTo>
                        <a:pt x="39" y="244"/>
                        <a:pt x="54" y="252"/>
                        <a:pt x="54" y="261"/>
                      </a:cubicBezTo>
                      <a:cubicBezTo>
                        <a:pt x="54" y="271"/>
                        <a:pt x="39" y="279"/>
                        <a:pt x="19" y="279"/>
                      </a:cubicBezTo>
                      <a:cubicBezTo>
                        <a:pt x="16" y="279"/>
                        <a:pt x="13" y="278"/>
                        <a:pt x="10" y="278"/>
                      </a:cubicBezTo>
                      <a:cubicBezTo>
                        <a:pt x="14" y="300"/>
                        <a:pt x="22" y="322"/>
                        <a:pt x="34" y="339"/>
                      </a:cubicBezTo>
                      <a:cubicBezTo>
                        <a:pt x="70" y="387"/>
                        <a:pt x="104" y="416"/>
                        <a:pt x="145" y="416"/>
                      </a:cubicBezTo>
                      <a:cubicBezTo>
                        <a:pt x="152" y="416"/>
                        <a:pt x="159" y="415"/>
                        <a:pt x="166" y="413"/>
                      </a:cubicBezTo>
                      <a:cubicBezTo>
                        <a:pt x="168" y="411"/>
                        <a:pt x="171" y="409"/>
                        <a:pt x="173" y="406"/>
                      </a:cubicBezTo>
                      <a:cubicBezTo>
                        <a:pt x="198" y="383"/>
                        <a:pt x="215" y="370"/>
                        <a:pt x="227" y="355"/>
                      </a:cubicBezTo>
                      <a:cubicBezTo>
                        <a:pt x="242" y="336"/>
                        <a:pt x="249" y="313"/>
                        <a:pt x="254" y="265"/>
                      </a:cubicBezTo>
                      <a:cubicBezTo>
                        <a:pt x="254" y="265"/>
                        <a:pt x="254" y="265"/>
                        <a:pt x="254" y="265"/>
                      </a:cubicBezTo>
                      <a:cubicBezTo>
                        <a:pt x="254" y="265"/>
                        <a:pt x="254" y="264"/>
                        <a:pt x="254" y="264"/>
                      </a:cubicBezTo>
                      <a:cubicBezTo>
                        <a:pt x="254" y="264"/>
                        <a:pt x="254" y="264"/>
                        <a:pt x="254" y="264"/>
                      </a:cubicBezTo>
                      <a:cubicBezTo>
                        <a:pt x="254" y="264"/>
                        <a:pt x="254" y="264"/>
                        <a:pt x="254" y="264"/>
                      </a:cubicBezTo>
                      <a:cubicBezTo>
                        <a:pt x="256" y="251"/>
                        <a:pt x="258" y="235"/>
                        <a:pt x="259" y="216"/>
                      </a:cubicBezTo>
                      <a:cubicBezTo>
                        <a:pt x="260" y="209"/>
                        <a:pt x="260" y="202"/>
                        <a:pt x="261" y="194"/>
                      </a:cubicBezTo>
                      <a:cubicBezTo>
                        <a:pt x="261" y="194"/>
                        <a:pt x="261" y="194"/>
                        <a:pt x="261" y="194"/>
                      </a:cubicBezTo>
                      <a:cubicBezTo>
                        <a:pt x="261" y="194"/>
                        <a:pt x="261" y="194"/>
                        <a:pt x="261" y="194"/>
                      </a:cubicBezTo>
                      <a:cubicBezTo>
                        <a:pt x="261" y="194"/>
                        <a:pt x="261" y="194"/>
                        <a:pt x="261" y="194"/>
                      </a:cubicBezTo>
                      <a:cubicBezTo>
                        <a:pt x="261" y="194"/>
                        <a:pt x="261" y="194"/>
                        <a:pt x="261" y="193"/>
                      </a:cubicBezTo>
                      <a:cubicBezTo>
                        <a:pt x="261" y="193"/>
                        <a:pt x="261" y="193"/>
                        <a:pt x="261" y="193"/>
                      </a:cubicBezTo>
                      <a:cubicBezTo>
                        <a:pt x="261" y="193"/>
                        <a:pt x="261" y="193"/>
                        <a:pt x="261" y="193"/>
                      </a:cubicBezTo>
                      <a:cubicBezTo>
                        <a:pt x="261" y="193"/>
                        <a:pt x="261" y="193"/>
                        <a:pt x="261" y="193"/>
                      </a:cubicBezTo>
                      <a:cubicBezTo>
                        <a:pt x="261" y="193"/>
                        <a:pt x="261" y="193"/>
                        <a:pt x="261" y="193"/>
                      </a:cubicBezTo>
                      <a:cubicBezTo>
                        <a:pt x="261" y="193"/>
                        <a:pt x="261" y="193"/>
                        <a:pt x="261" y="193"/>
                      </a:cubicBezTo>
                      <a:cubicBezTo>
                        <a:pt x="261" y="192"/>
                        <a:pt x="261" y="192"/>
                        <a:pt x="261" y="192"/>
                      </a:cubicBezTo>
                      <a:cubicBezTo>
                        <a:pt x="261" y="192"/>
                        <a:pt x="261" y="192"/>
                        <a:pt x="261" y="192"/>
                      </a:cubicBezTo>
                      <a:cubicBezTo>
                        <a:pt x="261" y="192"/>
                        <a:pt x="261" y="192"/>
                        <a:pt x="261" y="192"/>
                      </a:cubicBezTo>
                      <a:cubicBezTo>
                        <a:pt x="261" y="192"/>
                        <a:pt x="261" y="192"/>
                        <a:pt x="261" y="192"/>
                      </a:cubicBezTo>
                      <a:cubicBezTo>
                        <a:pt x="261" y="192"/>
                        <a:pt x="261" y="191"/>
                        <a:pt x="261" y="191"/>
                      </a:cubicBezTo>
                      <a:cubicBezTo>
                        <a:pt x="261" y="191"/>
                        <a:pt x="261" y="191"/>
                        <a:pt x="261" y="191"/>
                      </a:cubicBezTo>
                      <a:cubicBezTo>
                        <a:pt x="261" y="191"/>
                        <a:pt x="261" y="191"/>
                        <a:pt x="261" y="191"/>
                      </a:cubicBezTo>
                      <a:cubicBezTo>
                        <a:pt x="261" y="191"/>
                        <a:pt x="261" y="191"/>
                        <a:pt x="261" y="191"/>
                      </a:cubicBezTo>
                      <a:cubicBezTo>
                        <a:pt x="261" y="191"/>
                        <a:pt x="261" y="190"/>
                        <a:pt x="261" y="190"/>
                      </a:cubicBezTo>
                      <a:cubicBezTo>
                        <a:pt x="261" y="190"/>
                        <a:pt x="261" y="190"/>
                        <a:pt x="261" y="190"/>
                      </a:cubicBezTo>
                      <a:cubicBezTo>
                        <a:pt x="261" y="190"/>
                        <a:pt x="261" y="189"/>
                        <a:pt x="261" y="189"/>
                      </a:cubicBezTo>
                      <a:cubicBezTo>
                        <a:pt x="261" y="189"/>
                        <a:pt x="261" y="189"/>
                        <a:pt x="261" y="189"/>
                      </a:cubicBezTo>
                      <a:cubicBezTo>
                        <a:pt x="262" y="176"/>
                        <a:pt x="262" y="163"/>
                        <a:pt x="261" y="151"/>
                      </a:cubicBezTo>
                      <a:cubicBezTo>
                        <a:pt x="261" y="151"/>
                        <a:pt x="261" y="151"/>
                        <a:pt x="261" y="151"/>
                      </a:cubicBezTo>
                      <a:cubicBezTo>
                        <a:pt x="261" y="151"/>
                        <a:pt x="261" y="151"/>
                        <a:pt x="261" y="151"/>
                      </a:cubicBezTo>
                      <a:cubicBezTo>
                        <a:pt x="261" y="151"/>
                        <a:pt x="261" y="151"/>
                        <a:pt x="261" y="151"/>
                      </a:cubicBezTo>
                      <a:cubicBezTo>
                        <a:pt x="261" y="151"/>
                        <a:pt x="261" y="150"/>
                        <a:pt x="261" y="150"/>
                      </a:cubicBezTo>
                      <a:cubicBezTo>
                        <a:pt x="261" y="150"/>
                        <a:pt x="261" y="150"/>
                        <a:pt x="261" y="150"/>
                      </a:cubicBezTo>
                      <a:cubicBezTo>
                        <a:pt x="261" y="150"/>
                        <a:pt x="261" y="150"/>
                        <a:pt x="261" y="150"/>
                      </a:cubicBezTo>
                      <a:cubicBezTo>
                        <a:pt x="261" y="150"/>
                        <a:pt x="261" y="150"/>
                        <a:pt x="261" y="150"/>
                      </a:cubicBezTo>
                      <a:cubicBezTo>
                        <a:pt x="261" y="149"/>
                        <a:pt x="261" y="149"/>
                        <a:pt x="261" y="149"/>
                      </a:cubicBezTo>
                      <a:cubicBezTo>
                        <a:pt x="261" y="149"/>
                        <a:pt x="261" y="149"/>
                        <a:pt x="261" y="149"/>
                      </a:cubicBezTo>
                      <a:cubicBezTo>
                        <a:pt x="261" y="149"/>
                        <a:pt x="261" y="149"/>
                        <a:pt x="261" y="149"/>
                      </a:cubicBezTo>
                      <a:cubicBezTo>
                        <a:pt x="261" y="149"/>
                        <a:pt x="261" y="149"/>
                        <a:pt x="261" y="149"/>
                      </a:cubicBezTo>
                      <a:cubicBezTo>
                        <a:pt x="261" y="149"/>
                        <a:pt x="261" y="148"/>
                        <a:pt x="261" y="148"/>
                      </a:cubicBezTo>
                      <a:cubicBezTo>
                        <a:pt x="261" y="148"/>
                        <a:pt x="261" y="148"/>
                        <a:pt x="261" y="148"/>
                      </a:cubicBezTo>
                      <a:cubicBezTo>
                        <a:pt x="261" y="148"/>
                        <a:pt x="261" y="148"/>
                        <a:pt x="261" y="147"/>
                      </a:cubicBezTo>
                      <a:cubicBezTo>
                        <a:pt x="261" y="147"/>
                        <a:pt x="261" y="147"/>
                        <a:pt x="261" y="147"/>
                      </a:cubicBezTo>
                      <a:cubicBezTo>
                        <a:pt x="261" y="147"/>
                        <a:pt x="261" y="147"/>
                        <a:pt x="261" y="147"/>
                      </a:cubicBezTo>
                      <a:cubicBezTo>
                        <a:pt x="261" y="147"/>
                        <a:pt x="261" y="147"/>
                        <a:pt x="261" y="147"/>
                      </a:cubicBezTo>
                      <a:cubicBezTo>
                        <a:pt x="261" y="147"/>
                        <a:pt x="261" y="147"/>
                        <a:pt x="261" y="147"/>
                      </a:cubicBezTo>
                      <a:cubicBezTo>
                        <a:pt x="261" y="147"/>
                        <a:pt x="261" y="147"/>
                        <a:pt x="261" y="147"/>
                      </a:cubicBezTo>
                      <a:cubicBezTo>
                        <a:pt x="261" y="146"/>
                        <a:pt x="261" y="146"/>
                        <a:pt x="261" y="146"/>
                      </a:cubicBezTo>
                      <a:cubicBezTo>
                        <a:pt x="261" y="146"/>
                        <a:pt x="261" y="146"/>
                        <a:pt x="261" y="146"/>
                      </a:cubicBezTo>
                      <a:cubicBezTo>
                        <a:pt x="261" y="146"/>
                        <a:pt x="261" y="146"/>
                        <a:pt x="261" y="146"/>
                      </a:cubicBezTo>
                      <a:cubicBezTo>
                        <a:pt x="261" y="146"/>
                        <a:pt x="261" y="146"/>
                        <a:pt x="261" y="146"/>
                      </a:cubicBezTo>
                      <a:cubicBezTo>
                        <a:pt x="261" y="146"/>
                        <a:pt x="261" y="146"/>
                        <a:pt x="260" y="146"/>
                      </a:cubicBezTo>
                      <a:cubicBezTo>
                        <a:pt x="260" y="146"/>
                        <a:pt x="260" y="145"/>
                        <a:pt x="260" y="145"/>
                      </a:cubicBezTo>
                      <a:cubicBezTo>
                        <a:pt x="260" y="145"/>
                        <a:pt x="260" y="145"/>
                        <a:pt x="260" y="145"/>
                      </a:cubicBezTo>
                      <a:cubicBezTo>
                        <a:pt x="260" y="145"/>
                        <a:pt x="260" y="145"/>
                        <a:pt x="260" y="145"/>
                      </a:cubicBezTo>
                      <a:cubicBezTo>
                        <a:pt x="260" y="145"/>
                        <a:pt x="260" y="145"/>
                        <a:pt x="260" y="145"/>
                      </a:cubicBezTo>
                      <a:cubicBezTo>
                        <a:pt x="260" y="145"/>
                        <a:pt x="260" y="145"/>
                        <a:pt x="260" y="145"/>
                      </a:cubicBezTo>
                      <a:cubicBezTo>
                        <a:pt x="260" y="145"/>
                        <a:pt x="260" y="145"/>
                        <a:pt x="260" y="144"/>
                      </a:cubicBezTo>
                      <a:cubicBezTo>
                        <a:pt x="260" y="144"/>
                        <a:pt x="260" y="144"/>
                        <a:pt x="260" y="144"/>
                      </a:cubicBezTo>
                      <a:cubicBezTo>
                        <a:pt x="260" y="144"/>
                        <a:pt x="260" y="144"/>
                        <a:pt x="260" y="144"/>
                      </a:cubicBezTo>
                      <a:cubicBezTo>
                        <a:pt x="260" y="144"/>
                        <a:pt x="260" y="144"/>
                        <a:pt x="260" y="144"/>
                      </a:cubicBezTo>
                      <a:cubicBezTo>
                        <a:pt x="260" y="144"/>
                        <a:pt x="260" y="144"/>
                        <a:pt x="260" y="144"/>
                      </a:cubicBezTo>
                      <a:cubicBezTo>
                        <a:pt x="260" y="144"/>
                        <a:pt x="260" y="144"/>
                        <a:pt x="260" y="144"/>
                      </a:cubicBezTo>
                      <a:cubicBezTo>
                        <a:pt x="260" y="144"/>
                        <a:pt x="260" y="143"/>
                        <a:pt x="260" y="143"/>
                      </a:cubicBezTo>
                      <a:cubicBezTo>
                        <a:pt x="260" y="143"/>
                        <a:pt x="260" y="143"/>
                        <a:pt x="260" y="143"/>
                      </a:cubicBezTo>
                      <a:cubicBezTo>
                        <a:pt x="260" y="143"/>
                        <a:pt x="260" y="143"/>
                        <a:pt x="260" y="143"/>
                      </a:cubicBezTo>
                      <a:cubicBezTo>
                        <a:pt x="260" y="143"/>
                        <a:pt x="260" y="143"/>
                        <a:pt x="260" y="143"/>
                      </a:cubicBezTo>
                      <a:cubicBezTo>
                        <a:pt x="260" y="143"/>
                        <a:pt x="260" y="143"/>
                        <a:pt x="260" y="143"/>
                      </a:cubicBezTo>
                      <a:cubicBezTo>
                        <a:pt x="260" y="143"/>
                        <a:pt x="260" y="143"/>
                        <a:pt x="260" y="143"/>
                      </a:cubicBezTo>
                      <a:cubicBezTo>
                        <a:pt x="260" y="142"/>
                        <a:pt x="260" y="142"/>
                        <a:pt x="260" y="142"/>
                      </a:cubicBezTo>
                      <a:cubicBezTo>
                        <a:pt x="260" y="142"/>
                        <a:pt x="260" y="142"/>
                        <a:pt x="260" y="142"/>
                      </a:cubicBezTo>
                      <a:cubicBezTo>
                        <a:pt x="260" y="142"/>
                        <a:pt x="260" y="142"/>
                        <a:pt x="260" y="142"/>
                      </a:cubicBezTo>
                      <a:cubicBezTo>
                        <a:pt x="260" y="142"/>
                        <a:pt x="260" y="142"/>
                        <a:pt x="260" y="142"/>
                      </a:cubicBezTo>
                      <a:cubicBezTo>
                        <a:pt x="260" y="142"/>
                        <a:pt x="260" y="142"/>
                        <a:pt x="260" y="142"/>
                      </a:cubicBezTo>
                      <a:cubicBezTo>
                        <a:pt x="260" y="142"/>
                        <a:pt x="260" y="142"/>
                        <a:pt x="260" y="141"/>
                      </a:cubicBezTo>
                      <a:cubicBezTo>
                        <a:pt x="260" y="141"/>
                        <a:pt x="260" y="141"/>
                        <a:pt x="260" y="141"/>
                      </a:cubicBezTo>
                      <a:cubicBezTo>
                        <a:pt x="260" y="141"/>
                        <a:pt x="260" y="141"/>
                        <a:pt x="260" y="141"/>
                      </a:cubicBezTo>
                      <a:cubicBezTo>
                        <a:pt x="260" y="141"/>
                        <a:pt x="260" y="141"/>
                        <a:pt x="260" y="141"/>
                      </a:cubicBezTo>
                      <a:cubicBezTo>
                        <a:pt x="260" y="140"/>
                        <a:pt x="260" y="140"/>
                        <a:pt x="260" y="140"/>
                      </a:cubicBezTo>
                      <a:cubicBezTo>
                        <a:pt x="260" y="140"/>
                        <a:pt x="260" y="140"/>
                        <a:pt x="260" y="140"/>
                      </a:cubicBezTo>
                      <a:cubicBezTo>
                        <a:pt x="260" y="140"/>
                        <a:pt x="260" y="140"/>
                        <a:pt x="260" y="139"/>
                      </a:cubicBezTo>
                      <a:cubicBezTo>
                        <a:pt x="260" y="139"/>
                        <a:pt x="260" y="139"/>
                        <a:pt x="260" y="139"/>
                      </a:cubicBezTo>
                      <a:cubicBezTo>
                        <a:pt x="260" y="139"/>
                        <a:pt x="260" y="139"/>
                        <a:pt x="260" y="139"/>
                      </a:cubicBezTo>
                      <a:cubicBezTo>
                        <a:pt x="260" y="139"/>
                        <a:pt x="260" y="139"/>
                        <a:pt x="260" y="139"/>
                      </a:cubicBezTo>
                      <a:cubicBezTo>
                        <a:pt x="260" y="139"/>
                        <a:pt x="260" y="139"/>
                        <a:pt x="260" y="139"/>
                      </a:cubicBezTo>
                      <a:cubicBezTo>
                        <a:pt x="260" y="139"/>
                        <a:pt x="260" y="139"/>
                        <a:pt x="260" y="139"/>
                      </a:cubicBezTo>
                      <a:cubicBezTo>
                        <a:pt x="260" y="139"/>
                        <a:pt x="260" y="139"/>
                        <a:pt x="260" y="139"/>
                      </a:cubicBezTo>
                      <a:cubicBezTo>
                        <a:pt x="260" y="139"/>
                        <a:pt x="260" y="139"/>
                        <a:pt x="260" y="139"/>
                      </a:cubicBezTo>
                      <a:cubicBezTo>
                        <a:pt x="260" y="138"/>
                        <a:pt x="260" y="138"/>
                        <a:pt x="260" y="138"/>
                      </a:cubicBezTo>
                      <a:cubicBezTo>
                        <a:pt x="260" y="138"/>
                        <a:pt x="260" y="138"/>
                        <a:pt x="260" y="138"/>
                      </a:cubicBezTo>
                      <a:cubicBezTo>
                        <a:pt x="260" y="138"/>
                        <a:pt x="260" y="137"/>
                        <a:pt x="260" y="137"/>
                      </a:cubicBezTo>
                      <a:cubicBezTo>
                        <a:pt x="260" y="137"/>
                        <a:pt x="260" y="137"/>
                        <a:pt x="260" y="137"/>
                      </a:cubicBezTo>
                      <a:cubicBezTo>
                        <a:pt x="252" y="77"/>
                        <a:pt x="224" y="42"/>
                        <a:pt x="195" y="23"/>
                      </a:cubicBezTo>
                      <a:cubicBezTo>
                        <a:pt x="195" y="23"/>
                        <a:pt x="195" y="23"/>
                        <a:pt x="195" y="23"/>
                      </a:cubicBezTo>
                      <a:cubicBezTo>
                        <a:pt x="195" y="23"/>
                        <a:pt x="195" y="23"/>
                        <a:pt x="195" y="23"/>
                      </a:cubicBezTo>
                      <a:cubicBezTo>
                        <a:pt x="195" y="23"/>
                        <a:pt x="195" y="23"/>
                        <a:pt x="195" y="23"/>
                      </a:cubicBezTo>
                      <a:cubicBezTo>
                        <a:pt x="195" y="23"/>
                        <a:pt x="195" y="23"/>
                        <a:pt x="195" y="23"/>
                      </a:cubicBezTo>
                      <a:cubicBezTo>
                        <a:pt x="195" y="23"/>
                        <a:pt x="195" y="23"/>
                        <a:pt x="195" y="23"/>
                      </a:cubicBezTo>
                      <a:cubicBezTo>
                        <a:pt x="195" y="23"/>
                        <a:pt x="195" y="23"/>
                        <a:pt x="195" y="23"/>
                      </a:cubicBezTo>
                      <a:cubicBezTo>
                        <a:pt x="195" y="23"/>
                        <a:pt x="195" y="22"/>
                        <a:pt x="195" y="22"/>
                      </a:cubicBezTo>
                      <a:cubicBezTo>
                        <a:pt x="195" y="22"/>
                        <a:pt x="195" y="22"/>
                        <a:pt x="195" y="22"/>
                      </a:cubicBezTo>
                      <a:cubicBezTo>
                        <a:pt x="194" y="22"/>
                        <a:pt x="194" y="22"/>
                        <a:pt x="194" y="22"/>
                      </a:cubicBezTo>
                      <a:cubicBezTo>
                        <a:pt x="194" y="22"/>
                        <a:pt x="194" y="22"/>
                        <a:pt x="194" y="22"/>
                      </a:cubicBezTo>
                      <a:cubicBezTo>
                        <a:pt x="194" y="22"/>
                        <a:pt x="194" y="22"/>
                        <a:pt x="194" y="22"/>
                      </a:cubicBezTo>
                      <a:cubicBezTo>
                        <a:pt x="194" y="22"/>
                        <a:pt x="194" y="22"/>
                        <a:pt x="194" y="22"/>
                      </a:cubicBezTo>
                      <a:cubicBezTo>
                        <a:pt x="174" y="9"/>
                        <a:pt x="153" y="3"/>
                        <a:pt x="138" y="0"/>
                      </a:cubicBezTo>
                    </a:path>
                  </a:pathLst>
                </a:custGeom>
                <a:solidFill>
                  <a:srgbClr val="FCA6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41" name="Freeform 260">
                  <a:extLst>
                    <a:ext uri="{FF2B5EF4-FFF2-40B4-BE49-F238E27FC236}">
                      <a16:creationId xmlns:a16="http://schemas.microsoft.com/office/drawing/2014/main" id="{EA968A3B-9223-7C40-487B-75D508F51C45}"/>
                    </a:ext>
                  </a:extLst>
                </p:cNvPr>
                <p:cNvSpPr/>
                <p:nvPr/>
              </p:nvSpPr>
              <p:spPr bwMode="auto">
                <a:xfrm>
                  <a:off x="3972" y="978"/>
                  <a:ext cx="183" cy="49"/>
                </a:xfrm>
                <a:custGeom>
                  <a:gdLst>
                    <a:gd name="T0" fmla="*/ 55 w 100"/>
                    <a:gd name="T1" fmla="*/ 0 h 27"/>
                    <a:gd name="T2" fmla="*/ 0 w 100"/>
                    <a:gd name="T3" fmla="*/ 8 h 27"/>
                    <a:gd name="T4" fmla="*/ 0 w 100"/>
                    <a:gd name="T5" fmla="*/ 22 h 27"/>
                    <a:gd name="T6" fmla="*/ 63 w 100"/>
                    <a:gd name="T7" fmla="*/ 11 h 27"/>
                    <a:gd name="T8" fmla="*/ 65 w 100"/>
                    <a:gd name="T9" fmla="*/ 11 h 27"/>
                    <a:gd name="T10" fmla="*/ 100 w 100"/>
                    <a:gd name="T11" fmla="*/ 27 h 27"/>
                    <a:gd name="T12" fmla="*/ 66 w 100"/>
                    <a:gd name="T13" fmla="*/ 1 h 27"/>
                    <a:gd name="T14" fmla="*/ 55 w 100"/>
                    <a:gd name="T15" fmla="*/ 0 h 2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27">
                      <a:moveTo>
                        <a:pt x="55" y="0"/>
                      </a:moveTo>
                      <a:cubicBezTo>
                        <a:pt x="31" y="0"/>
                        <a:pt x="0" y="8"/>
                        <a:pt x="0" y="8"/>
                      </a:cubicBezTo>
                      <a:cubicBezTo>
                        <a:pt x="0" y="22"/>
                        <a:pt x="0" y="22"/>
                        <a:pt x="0" y="22"/>
                      </a:cubicBezTo>
                      <a:cubicBezTo>
                        <a:pt x="0" y="22"/>
                        <a:pt x="44" y="11"/>
                        <a:pt x="63" y="11"/>
                      </a:cubicBezTo>
                      <a:cubicBezTo>
                        <a:pt x="64" y="11"/>
                        <a:pt x="64" y="11"/>
                        <a:pt x="65" y="11"/>
                      </a:cubicBezTo>
                      <a:cubicBezTo>
                        <a:pt x="83" y="12"/>
                        <a:pt x="100" y="27"/>
                        <a:pt x="100" y="27"/>
                      </a:cubicBezTo>
                      <a:cubicBezTo>
                        <a:pt x="100" y="27"/>
                        <a:pt x="89" y="5"/>
                        <a:pt x="66" y="1"/>
                      </a:cubicBezTo>
                      <a:cubicBezTo>
                        <a:pt x="63" y="0"/>
                        <a:pt x="59" y="0"/>
                        <a:pt x="55" y="0"/>
                      </a:cubicBezTo>
                    </a:path>
                  </a:pathLst>
                </a:custGeom>
                <a:solidFill>
                  <a:srgbClr val="4912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42" name="Oval 261">
                  <a:extLst>
                    <a:ext uri="{FF2B5EF4-FFF2-40B4-BE49-F238E27FC236}">
                      <a16:creationId xmlns:a16="http://schemas.microsoft.com/office/drawing/2014/main" id="{3F109332-67B0-D0B0-40D0-315C3DF06F79}"/>
                    </a:ext>
                  </a:extLst>
                </p:cNvPr>
                <p:cNvSpPr>
                  <a:spLocks noChangeArrowheads="1"/>
                </p:cNvSpPr>
                <p:nvPr/>
              </p:nvSpPr>
              <p:spPr bwMode="auto">
                <a:xfrm>
                  <a:off x="4018" y="1164"/>
                  <a:ext cx="128" cy="64"/>
                </a:xfrm>
                <a:prstGeom prst="ellipse">
                  <a:avLst/>
                </a:prstGeom>
                <a:solidFill>
                  <a:srgbClr val="D671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43" name="Freeform 262">
                  <a:extLst>
                    <a:ext uri="{FF2B5EF4-FFF2-40B4-BE49-F238E27FC236}">
                      <a16:creationId xmlns:a16="http://schemas.microsoft.com/office/drawing/2014/main" id="{B8F1EAEC-48AA-93BE-DAD2-EE5BA947FA93}"/>
                    </a:ext>
                  </a:extLst>
                </p:cNvPr>
                <p:cNvSpPr/>
                <p:nvPr/>
              </p:nvSpPr>
              <p:spPr bwMode="auto">
                <a:xfrm>
                  <a:off x="3706" y="1164"/>
                  <a:ext cx="89" cy="64"/>
                </a:xfrm>
                <a:custGeom>
                  <a:gdLst>
                    <a:gd name="T0" fmla="*/ 14 w 49"/>
                    <a:gd name="T1" fmla="*/ 0 h 35"/>
                    <a:gd name="T2" fmla="*/ 0 w 49"/>
                    <a:gd name="T3" fmla="*/ 1 h 35"/>
                    <a:gd name="T4" fmla="*/ 5 w 49"/>
                    <a:gd name="T5" fmla="*/ 34 h 35"/>
                    <a:gd name="T6" fmla="*/ 14 w 49"/>
                    <a:gd name="T7" fmla="*/ 35 h 35"/>
                    <a:gd name="T8" fmla="*/ 49 w 49"/>
                    <a:gd name="T9" fmla="*/ 17 h 35"/>
                    <a:gd name="T10" fmla="*/ 14 w 49"/>
                    <a:gd name="T11" fmla="*/ 0 h 35"/>
                  </a:gdLst>
                  <a:cxnLst>
                    <a:cxn ang="0">
                      <a:pos x="T0" y="T1"/>
                    </a:cxn>
                    <a:cxn ang="0">
                      <a:pos x="T2" y="T3"/>
                    </a:cxn>
                    <a:cxn ang="0">
                      <a:pos x="T4" y="T5"/>
                    </a:cxn>
                    <a:cxn ang="0">
                      <a:pos x="T6" y="T7"/>
                    </a:cxn>
                    <a:cxn ang="0">
                      <a:pos x="T8" y="T9"/>
                    </a:cxn>
                    <a:cxn ang="0">
                      <a:pos x="T10" y="T11"/>
                    </a:cxn>
                  </a:cxnLst>
                  <a:rect l="0" t="0" r="r" b="b"/>
                  <a:pathLst>
                    <a:path w="49" h="35">
                      <a:moveTo>
                        <a:pt x="14" y="0"/>
                      </a:moveTo>
                      <a:cubicBezTo>
                        <a:pt x="9" y="0"/>
                        <a:pt x="4" y="0"/>
                        <a:pt x="0" y="1"/>
                      </a:cubicBezTo>
                      <a:cubicBezTo>
                        <a:pt x="1" y="12"/>
                        <a:pt x="2" y="23"/>
                        <a:pt x="5" y="34"/>
                      </a:cubicBezTo>
                      <a:cubicBezTo>
                        <a:pt x="8" y="34"/>
                        <a:pt x="11" y="35"/>
                        <a:pt x="14" y="35"/>
                      </a:cubicBezTo>
                      <a:cubicBezTo>
                        <a:pt x="34" y="35"/>
                        <a:pt x="49" y="27"/>
                        <a:pt x="49" y="17"/>
                      </a:cubicBezTo>
                      <a:cubicBezTo>
                        <a:pt x="49" y="8"/>
                        <a:pt x="34" y="0"/>
                        <a:pt x="14" y="0"/>
                      </a:cubicBezTo>
                    </a:path>
                  </a:pathLst>
                </a:custGeom>
                <a:solidFill>
                  <a:srgbClr val="D671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44" name="Freeform 263">
                  <a:extLst>
                    <a:ext uri="{FF2B5EF4-FFF2-40B4-BE49-F238E27FC236}">
                      <a16:creationId xmlns:a16="http://schemas.microsoft.com/office/drawing/2014/main" id="{690BFB3D-E924-7310-C138-27FC226AB37D}"/>
                    </a:ext>
                  </a:extLst>
                </p:cNvPr>
                <p:cNvSpPr/>
                <p:nvPr/>
              </p:nvSpPr>
              <p:spPr bwMode="auto">
                <a:xfrm>
                  <a:off x="3556" y="588"/>
                  <a:ext cx="590" cy="509"/>
                </a:xfrm>
                <a:custGeom>
                  <a:gdLst>
                    <a:gd name="T0" fmla="*/ 298 w 323"/>
                    <a:gd name="T1" fmla="*/ 0 h 279"/>
                    <a:gd name="T2" fmla="*/ 192 w 323"/>
                    <a:gd name="T3" fmla="*/ 176 h 279"/>
                    <a:gd name="T4" fmla="*/ 46 w 323"/>
                    <a:gd name="T5" fmla="*/ 279 h 279"/>
                    <a:gd name="T6" fmla="*/ 87 w 323"/>
                    <a:gd name="T7" fmla="*/ 91 h 279"/>
                    <a:gd name="T8" fmla="*/ 298 w 323"/>
                    <a:gd name="T9" fmla="*/ 0 h 279"/>
                  </a:gdLst>
                  <a:cxnLst>
                    <a:cxn ang="0">
                      <a:pos x="T0" y="T1"/>
                    </a:cxn>
                    <a:cxn ang="0">
                      <a:pos x="T2" y="T3"/>
                    </a:cxn>
                    <a:cxn ang="0">
                      <a:pos x="T4" y="T5"/>
                    </a:cxn>
                    <a:cxn ang="0">
                      <a:pos x="T6" y="T7"/>
                    </a:cxn>
                    <a:cxn ang="0">
                      <a:pos x="T8" y="T9"/>
                    </a:cxn>
                  </a:cxnLst>
                  <a:rect l="0" t="0" r="r" b="b"/>
                  <a:pathLst>
                    <a:path w="323" h="279">
                      <a:moveTo>
                        <a:pt x="298" y="0"/>
                      </a:moveTo>
                      <a:cubicBezTo>
                        <a:pt x="298" y="0"/>
                        <a:pt x="323" y="104"/>
                        <a:pt x="192" y="176"/>
                      </a:cubicBezTo>
                      <a:cubicBezTo>
                        <a:pt x="62" y="247"/>
                        <a:pt x="46" y="279"/>
                        <a:pt x="46" y="279"/>
                      </a:cubicBezTo>
                      <a:cubicBezTo>
                        <a:pt x="46" y="279"/>
                        <a:pt x="0" y="174"/>
                        <a:pt x="87" y="91"/>
                      </a:cubicBezTo>
                      <a:cubicBezTo>
                        <a:pt x="175" y="8"/>
                        <a:pt x="298" y="0"/>
                        <a:pt x="298" y="0"/>
                      </a:cubicBezTo>
                      <a:close/>
                    </a:path>
                  </a:pathLst>
                </a:custGeom>
                <a:solidFill>
                  <a:srgbClr val="3D0F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45" name="Freeform 264">
                  <a:extLst>
                    <a:ext uri="{FF2B5EF4-FFF2-40B4-BE49-F238E27FC236}">
                      <a16:creationId xmlns:a16="http://schemas.microsoft.com/office/drawing/2014/main" id="{F2BD9702-9E37-AA0F-9358-A04040B991D9}"/>
                    </a:ext>
                  </a:extLst>
                </p:cNvPr>
                <p:cNvSpPr/>
                <p:nvPr/>
              </p:nvSpPr>
              <p:spPr bwMode="auto">
                <a:xfrm>
                  <a:off x="3808" y="1298"/>
                  <a:ext cx="203" cy="62"/>
                </a:xfrm>
                <a:custGeom>
                  <a:gdLst>
                    <a:gd name="T0" fmla="*/ 55 w 111"/>
                    <a:gd name="T1" fmla="*/ 5 h 34"/>
                    <a:gd name="T2" fmla="*/ 8 w 111"/>
                    <a:gd name="T3" fmla="*/ 1 h 34"/>
                    <a:gd name="T4" fmla="*/ 3 w 111"/>
                    <a:gd name="T5" fmla="*/ 9 h 34"/>
                    <a:gd name="T6" fmla="*/ 55 w 111"/>
                    <a:gd name="T7" fmla="*/ 34 h 34"/>
                    <a:gd name="T8" fmla="*/ 108 w 111"/>
                    <a:gd name="T9" fmla="*/ 9 h 34"/>
                    <a:gd name="T10" fmla="*/ 103 w 111"/>
                    <a:gd name="T11" fmla="*/ 1 h 34"/>
                    <a:gd name="T12" fmla="*/ 55 w 111"/>
                    <a:gd name="T13" fmla="*/ 5 h 34"/>
                  </a:gdLst>
                  <a:cxnLst>
                    <a:cxn ang="0">
                      <a:pos x="T0" y="T1"/>
                    </a:cxn>
                    <a:cxn ang="0">
                      <a:pos x="T2" y="T3"/>
                    </a:cxn>
                    <a:cxn ang="0">
                      <a:pos x="T4" y="T5"/>
                    </a:cxn>
                    <a:cxn ang="0">
                      <a:pos x="T6" y="T7"/>
                    </a:cxn>
                    <a:cxn ang="0">
                      <a:pos x="T8" y="T9"/>
                    </a:cxn>
                    <a:cxn ang="0">
                      <a:pos x="T10" y="T11"/>
                    </a:cxn>
                    <a:cxn ang="0">
                      <a:pos x="T12" y="T13"/>
                    </a:cxn>
                  </a:cxnLst>
                  <a:rect l="0" t="0" r="r" b="b"/>
                  <a:pathLst>
                    <a:path w="110" h="34">
                      <a:moveTo>
                        <a:pt x="55" y="5"/>
                      </a:moveTo>
                      <a:cubicBezTo>
                        <a:pt x="39" y="5"/>
                        <a:pt x="23" y="4"/>
                        <a:pt x="8" y="1"/>
                      </a:cubicBezTo>
                      <a:cubicBezTo>
                        <a:pt x="3" y="0"/>
                        <a:pt x="0" y="6"/>
                        <a:pt x="3" y="9"/>
                      </a:cubicBezTo>
                      <a:cubicBezTo>
                        <a:pt x="16" y="24"/>
                        <a:pt x="34" y="34"/>
                        <a:pt x="55" y="34"/>
                      </a:cubicBezTo>
                      <a:cubicBezTo>
                        <a:pt x="76" y="34"/>
                        <a:pt x="95" y="24"/>
                        <a:pt x="108" y="9"/>
                      </a:cubicBezTo>
                      <a:cubicBezTo>
                        <a:pt x="111" y="6"/>
                        <a:pt x="108" y="0"/>
                        <a:pt x="103" y="1"/>
                      </a:cubicBezTo>
                      <a:cubicBezTo>
                        <a:pt x="88" y="4"/>
                        <a:pt x="72" y="5"/>
                        <a:pt x="55" y="5"/>
                      </a:cubicBezTo>
                      <a:close/>
                    </a:path>
                  </a:pathLst>
                </a:custGeom>
                <a:solidFill>
                  <a:srgbClr val="EFEE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grpSp>
          <p:sp>
            <p:nvSpPr>
              <p:cNvPr id="10" name="Freeform 266">
                <a:extLst>
                  <a:ext uri="{FF2B5EF4-FFF2-40B4-BE49-F238E27FC236}">
                    <a16:creationId xmlns:a16="http://schemas.microsoft.com/office/drawing/2014/main" id="{5B29A6E4-74F0-920C-6ACA-0C2366562C74}"/>
                  </a:ext>
                </a:extLst>
              </p:cNvPr>
              <p:cNvSpPr/>
              <p:nvPr/>
            </p:nvSpPr>
            <p:spPr bwMode="auto">
              <a:xfrm>
                <a:off x="3874" y="1148"/>
                <a:ext cx="62" cy="119"/>
              </a:xfrm>
              <a:custGeom>
                <a:gdLst>
                  <a:gd name="T0" fmla="*/ 54 w 62"/>
                  <a:gd name="T1" fmla="*/ 0 h 119"/>
                  <a:gd name="T2" fmla="*/ 54 w 62"/>
                  <a:gd name="T3" fmla="*/ 109 h 119"/>
                  <a:gd name="T4" fmla="*/ 2 w 62"/>
                  <a:gd name="T5" fmla="*/ 91 h 119"/>
                  <a:gd name="T6" fmla="*/ 0 w 62"/>
                  <a:gd name="T7" fmla="*/ 98 h 119"/>
                  <a:gd name="T8" fmla="*/ 62 w 62"/>
                  <a:gd name="T9" fmla="*/ 119 h 119"/>
                  <a:gd name="T10" fmla="*/ 62 w 62"/>
                  <a:gd name="T11" fmla="*/ 0 h 119"/>
                  <a:gd name="T12" fmla="*/ 54 w 62"/>
                  <a:gd name="T13" fmla="*/ 0 h 119"/>
                  <a:gd name="T14" fmla="*/ 54 w 62"/>
                  <a:gd name="T15" fmla="*/ 0 h 11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119">
                    <a:moveTo>
                      <a:pt x="54" y="0"/>
                    </a:moveTo>
                    <a:lnTo>
                      <a:pt x="54" y="109"/>
                    </a:lnTo>
                    <a:lnTo>
                      <a:pt x="2" y="91"/>
                    </a:lnTo>
                    <a:lnTo>
                      <a:pt x="0" y="98"/>
                    </a:lnTo>
                    <a:lnTo>
                      <a:pt x="62" y="119"/>
                    </a:lnTo>
                    <a:lnTo>
                      <a:pt x="62" y="0"/>
                    </a:lnTo>
                    <a:lnTo>
                      <a:pt x="54" y="0"/>
                    </a:lnTo>
                    <a:lnTo>
                      <a:pt x="54" y="0"/>
                    </a:lnTo>
                    <a:close/>
                  </a:path>
                </a:pathLst>
              </a:custGeom>
              <a:solidFill>
                <a:srgbClr val="7541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1" name="Freeform 267">
                <a:extLst>
                  <a:ext uri="{FF2B5EF4-FFF2-40B4-BE49-F238E27FC236}">
                    <a16:creationId xmlns:a16="http://schemas.microsoft.com/office/drawing/2014/main" id="{9FDCD15C-79CE-9346-3C09-9EFECEB66B7D}"/>
                  </a:ext>
                </a:extLst>
              </p:cNvPr>
              <p:cNvSpPr/>
              <p:nvPr/>
            </p:nvSpPr>
            <p:spPr bwMode="auto">
              <a:xfrm>
                <a:off x="3985" y="1048"/>
                <a:ext cx="153" cy="62"/>
              </a:xfrm>
              <a:custGeom>
                <a:gdLst>
                  <a:gd name="T0" fmla="*/ 0 w 84"/>
                  <a:gd name="T1" fmla="*/ 34 h 34"/>
                  <a:gd name="T2" fmla="*/ 84 w 84"/>
                  <a:gd name="T3" fmla="*/ 21 h 34"/>
                  <a:gd name="T4" fmla="*/ 73 w 84"/>
                  <a:gd name="T5" fmla="*/ 20 h 34"/>
                  <a:gd name="T6" fmla="*/ 0 w 84"/>
                  <a:gd name="T7" fmla="*/ 34 h 34"/>
                </a:gdLst>
                <a:cxnLst>
                  <a:cxn ang="0">
                    <a:pos x="T0" y="T1"/>
                  </a:cxn>
                  <a:cxn ang="0">
                    <a:pos x="T2" y="T3"/>
                  </a:cxn>
                  <a:cxn ang="0">
                    <a:pos x="T4" y="T5"/>
                  </a:cxn>
                  <a:cxn ang="0">
                    <a:pos x="T6" y="T7"/>
                  </a:cxn>
                </a:cxnLst>
                <a:rect l="0" t="0" r="r" b="b"/>
                <a:pathLst>
                  <a:path w="84" h="34">
                    <a:moveTo>
                      <a:pt x="0" y="34"/>
                    </a:moveTo>
                    <a:cubicBezTo>
                      <a:pt x="16" y="6"/>
                      <a:pt x="59" y="0"/>
                      <a:pt x="84" y="21"/>
                    </a:cubicBezTo>
                    <a:cubicBezTo>
                      <a:pt x="80" y="21"/>
                      <a:pt x="76" y="20"/>
                      <a:pt x="73" y="20"/>
                    </a:cubicBezTo>
                    <a:cubicBezTo>
                      <a:pt x="47" y="17"/>
                      <a:pt x="23" y="23"/>
                      <a:pt x="0" y="34"/>
                    </a:cubicBezTo>
                    <a:close/>
                  </a:path>
                </a:pathLst>
              </a:custGeom>
              <a:solidFill>
                <a:srgbClr val="59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2" name="Freeform 268">
                <a:extLst>
                  <a:ext uri="{FF2B5EF4-FFF2-40B4-BE49-F238E27FC236}">
                    <a16:creationId xmlns:a16="http://schemas.microsoft.com/office/drawing/2014/main" id="{296A4E02-29CC-E3CA-841E-3BBB4B1B0DE3}"/>
                  </a:ext>
                </a:extLst>
              </p:cNvPr>
              <p:cNvSpPr/>
              <p:nvPr/>
            </p:nvSpPr>
            <p:spPr bwMode="auto">
              <a:xfrm>
                <a:off x="3658" y="973"/>
                <a:ext cx="183" cy="54"/>
              </a:xfrm>
              <a:custGeom>
                <a:gdLst>
                  <a:gd name="T0" fmla="*/ 100 w 100"/>
                  <a:gd name="T1" fmla="*/ 25 h 30"/>
                  <a:gd name="T2" fmla="*/ 35 w 100"/>
                  <a:gd name="T3" fmla="*/ 14 h 30"/>
                  <a:gd name="T4" fmla="*/ 0 w 100"/>
                  <a:gd name="T5" fmla="*/ 30 h 30"/>
                  <a:gd name="T6" fmla="*/ 34 w 100"/>
                  <a:gd name="T7" fmla="*/ 4 h 30"/>
                  <a:gd name="T8" fmla="*/ 100 w 100"/>
                  <a:gd name="T9" fmla="*/ 11 h 30"/>
                  <a:gd name="T10" fmla="*/ 100 w 100"/>
                  <a:gd name="T11" fmla="*/ 25 h 30"/>
                </a:gdLst>
                <a:cxnLst>
                  <a:cxn ang="0">
                    <a:pos x="T0" y="T1"/>
                  </a:cxn>
                  <a:cxn ang="0">
                    <a:pos x="T2" y="T3"/>
                  </a:cxn>
                  <a:cxn ang="0">
                    <a:pos x="T4" y="T5"/>
                  </a:cxn>
                  <a:cxn ang="0">
                    <a:pos x="T6" y="T7"/>
                  </a:cxn>
                  <a:cxn ang="0">
                    <a:pos x="T8" y="T9"/>
                  </a:cxn>
                  <a:cxn ang="0">
                    <a:pos x="T10" y="T11"/>
                  </a:cxn>
                </a:cxnLst>
                <a:rect l="0" t="0" r="r" b="b"/>
                <a:pathLst>
                  <a:path w="100" h="30">
                    <a:moveTo>
                      <a:pt x="100" y="25"/>
                    </a:moveTo>
                    <a:cubicBezTo>
                      <a:pt x="100" y="25"/>
                      <a:pt x="54" y="14"/>
                      <a:pt x="35" y="14"/>
                    </a:cubicBezTo>
                    <a:cubicBezTo>
                      <a:pt x="17" y="15"/>
                      <a:pt x="0" y="30"/>
                      <a:pt x="0" y="30"/>
                    </a:cubicBezTo>
                    <a:cubicBezTo>
                      <a:pt x="0" y="30"/>
                      <a:pt x="11" y="8"/>
                      <a:pt x="34" y="4"/>
                    </a:cubicBezTo>
                    <a:cubicBezTo>
                      <a:pt x="58" y="0"/>
                      <a:pt x="100" y="11"/>
                      <a:pt x="100" y="11"/>
                    </a:cubicBezTo>
                    <a:lnTo>
                      <a:pt x="100" y="25"/>
                    </a:lnTo>
                    <a:close/>
                  </a:path>
                </a:pathLst>
              </a:custGeom>
              <a:solidFill>
                <a:srgbClr val="3D0F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3" name="Freeform 269">
                <a:extLst>
                  <a:ext uri="{FF2B5EF4-FFF2-40B4-BE49-F238E27FC236}">
                    <a16:creationId xmlns:a16="http://schemas.microsoft.com/office/drawing/2014/main" id="{EE06F23A-7F31-62CD-0725-2F70FC2AD3FB}"/>
                  </a:ext>
                </a:extLst>
              </p:cNvPr>
              <p:cNvSpPr/>
              <p:nvPr/>
            </p:nvSpPr>
            <p:spPr bwMode="auto">
              <a:xfrm>
                <a:off x="3675" y="1048"/>
                <a:ext cx="153" cy="62"/>
              </a:xfrm>
              <a:custGeom>
                <a:gdLst>
                  <a:gd name="T0" fmla="*/ 84 w 84"/>
                  <a:gd name="T1" fmla="*/ 34 h 34"/>
                  <a:gd name="T2" fmla="*/ 12 w 84"/>
                  <a:gd name="T3" fmla="*/ 20 h 34"/>
                  <a:gd name="T4" fmla="*/ 0 w 84"/>
                  <a:gd name="T5" fmla="*/ 21 h 34"/>
                  <a:gd name="T6" fmla="*/ 84 w 84"/>
                  <a:gd name="T7" fmla="*/ 34 h 34"/>
                </a:gdLst>
                <a:cxnLst>
                  <a:cxn ang="0">
                    <a:pos x="T0" y="T1"/>
                  </a:cxn>
                  <a:cxn ang="0">
                    <a:pos x="T2" y="T3"/>
                  </a:cxn>
                  <a:cxn ang="0">
                    <a:pos x="T4" y="T5"/>
                  </a:cxn>
                  <a:cxn ang="0">
                    <a:pos x="T6" y="T7"/>
                  </a:cxn>
                </a:cxnLst>
                <a:rect l="0" t="0" r="r" b="b"/>
                <a:pathLst>
                  <a:path w="84" h="34">
                    <a:moveTo>
                      <a:pt x="84" y="34"/>
                    </a:moveTo>
                    <a:cubicBezTo>
                      <a:pt x="62" y="23"/>
                      <a:pt x="37" y="17"/>
                      <a:pt x="12" y="20"/>
                    </a:cubicBezTo>
                    <a:cubicBezTo>
                      <a:pt x="8" y="20"/>
                      <a:pt x="4" y="21"/>
                      <a:pt x="0" y="21"/>
                    </a:cubicBezTo>
                    <a:cubicBezTo>
                      <a:pt x="25" y="0"/>
                      <a:pt x="68" y="6"/>
                      <a:pt x="84" y="34"/>
                    </a:cubicBezTo>
                    <a:close/>
                  </a:path>
                </a:pathLst>
              </a:custGeom>
              <a:solidFill>
                <a:srgbClr val="59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4" name="Freeform 270">
                <a:extLst>
                  <a:ext uri="{FF2B5EF4-FFF2-40B4-BE49-F238E27FC236}">
                    <a16:creationId xmlns:a16="http://schemas.microsoft.com/office/drawing/2014/main" id="{D44AA7D0-0386-617B-7378-77C68F8465EC}"/>
                  </a:ext>
                </a:extLst>
              </p:cNvPr>
              <p:cNvSpPr/>
              <p:nvPr/>
            </p:nvSpPr>
            <p:spPr bwMode="auto">
              <a:xfrm>
                <a:off x="3607" y="588"/>
                <a:ext cx="493" cy="509"/>
              </a:xfrm>
              <a:custGeom>
                <a:gdLst>
                  <a:gd name="T0" fmla="*/ 270 w 270"/>
                  <a:gd name="T1" fmla="*/ 0 h 279"/>
                  <a:gd name="T2" fmla="*/ 75 w 270"/>
                  <a:gd name="T3" fmla="*/ 82 h 279"/>
                  <a:gd name="T4" fmla="*/ 14 w 270"/>
                  <a:gd name="T5" fmla="*/ 226 h 279"/>
                  <a:gd name="T6" fmla="*/ 18 w 270"/>
                  <a:gd name="T7" fmla="*/ 279 h 279"/>
                  <a:gd name="T8" fmla="*/ 71 w 270"/>
                  <a:gd name="T9" fmla="*/ 78 h 279"/>
                  <a:gd name="T10" fmla="*/ 270 w 270"/>
                  <a:gd name="T11" fmla="*/ 0 h 279"/>
                </a:gdLst>
                <a:cxnLst>
                  <a:cxn ang="0">
                    <a:pos x="T0" y="T1"/>
                  </a:cxn>
                  <a:cxn ang="0">
                    <a:pos x="T2" y="T3"/>
                  </a:cxn>
                  <a:cxn ang="0">
                    <a:pos x="T4" y="T5"/>
                  </a:cxn>
                  <a:cxn ang="0">
                    <a:pos x="T6" y="T7"/>
                  </a:cxn>
                  <a:cxn ang="0">
                    <a:pos x="T8" y="T9"/>
                  </a:cxn>
                  <a:cxn ang="0">
                    <a:pos x="T10" y="T11"/>
                  </a:cxn>
                </a:cxnLst>
                <a:rect l="0" t="0" r="r" b="b"/>
                <a:pathLst>
                  <a:path w="270" h="279">
                    <a:moveTo>
                      <a:pt x="270" y="0"/>
                    </a:moveTo>
                    <a:cubicBezTo>
                      <a:pt x="200" y="11"/>
                      <a:pt x="127" y="31"/>
                      <a:pt x="75" y="82"/>
                    </a:cubicBezTo>
                    <a:cubicBezTo>
                      <a:pt x="36" y="119"/>
                      <a:pt x="15" y="172"/>
                      <a:pt x="14" y="226"/>
                    </a:cubicBezTo>
                    <a:cubicBezTo>
                      <a:pt x="13" y="244"/>
                      <a:pt x="15" y="262"/>
                      <a:pt x="18" y="279"/>
                    </a:cubicBezTo>
                    <a:cubicBezTo>
                      <a:pt x="0" y="209"/>
                      <a:pt x="18" y="129"/>
                      <a:pt x="71" y="78"/>
                    </a:cubicBezTo>
                    <a:cubicBezTo>
                      <a:pt x="124" y="27"/>
                      <a:pt x="198" y="7"/>
                      <a:pt x="270" y="0"/>
                    </a:cubicBezTo>
                    <a:close/>
                  </a:path>
                </a:pathLst>
              </a:custGeom>
              <a:solidFill>
                <a:srgbClr val="A355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5" name="Freeform 271">
                <a:extLst>
                  <a:ext uri="{FF2B5EF4-FFF2-40B4-BE49-F238E27FC236}">
                    <a16:creationId xmlns:a16="http://schemas.microsoft.com/office/drawing/2014/main" id="{13199805-5B2E-D6D8-C55A-AC15CDCDED78}"/>
                  </a:ext>
                </a:extLst>
              </p:cNvPr>
              <p:cNvSpPr/>
              <p:nvPr/>
            </p:nvSpPr>
            <p:spPr bwMode="auto">
              <a:xfrm>
                <a:off x="4063" y="588"/>
                <a:ext cx="41" cy="180"/>
              </a:xfrm>
              <a:custGeom>
                <a:gdLst>
                  <a:gd name="T0" fmla="*/ 0 w 22"/>
                  <a:gd name="T1" fmla="*/ 99 h 99"/>
                  <a:gd name="T2" fmla="*/ 20 w 22"/>
                  <a:gd name="T3" fmla="*/ 0 h 99"/>
                  <a:gd name="T4" fmla="*/ 0 w 22"/>
                  <a:gd name="T5" fmla="*/ 99 h 99"/>
                </a:gdLst>
                <a:cxnLst>
                  <a:cxn ang="0">
                    <a:pos x="T0" y="T1"/>
                  </a:cxn>
                  <a:cxn ang="0">
                    <a:pos x="T2" y="T3"/>
                  </a:cxn>
                  <a:cxn ang="0">
                    <a:pos x="T4" y="T5"/>
                  </a:cxn>
                </a:cxnLst>
                <a:rect l="0" t="0" r="r" b="b"/>
                <a:pathLst>
                  <a:path w="22" h="99">
                    <a:moveTo>
                      <a:pt x="0" y="99"/>
                    </a:moveTo>
                    <a:cubicBezTo>
                      <a:pt x="11" y="67"/>
                      <a:pt x="14" y="33"/>
                      <a:pt x="20" y="0"/>
                    </a:cubicBezTo>
                    <a:cubicBezTo>
                      <a:pt x="22" y="34"/>
                      <a:pt x="18" y="70"/>
                      <a:pt x="0" y="99"/>
                    </a:cubicBezTo>
                    <a:close/>
                  </a:path>
                </a:pathLst>
              </a:custGeom>
              <a:solidFill>
                <a:srgbClr val="A355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6" name="Freeform 272">
                <a:extLst>
                  <a:ext uri="{FF2B5EF4-FFF2-40B4-BE49-F238E27FC236}">
                    <a16:creationId xmlns:a16="http://schemas.microsoft.com/office/drawing/2014/main" id="{F72B2124-0603-4419-BB29-C57A6A0FDA3D}"/>
                  </a:ext>
                </a:extLst>
              </p:cNvPr>
              <p:cNvSpPr/>
              <p:nvPr/>
            </p:nvSpPr>
            <p:spPr bwMode="auto">
              <a:xfrm>
                <a:off x="3907" y="1566"/>
                <a:ext cx="233" cy="423"/>
              </a:xfrm>
              <a:custGeom>
                <a:gdLst>
                  <a:gd name="T0" fmla="*/ 127 w 128"/>
                  <a:gd name="T1" fmla="*/ 0 h 232"/>
                  <a:gd name="T2" fmla="*/ 36 w 128"/>
                  <a:gd name="T3" fmla="*/ 30 h 232"/>
                  <a:gd name="T4" fmla="*/ 0 w 128"/>
                  <a:gd name="T5" fmla="*/ 135 h 232"/>
                  <a:gd name="T6" fmla="*/ 0 w 128"/>
                  <a:gd name="T7" fmla="*/ 232 h 232"/>
                  <a:gd name="T8" fmla="*/ 127 w 128"/>
                  <a:gd name="T9" fmla="*/ 95 h 232"/>
                  <a:gd name="T10" fmla="*/ 127 w 128"/>
                  <a:gd name="T11" fmla="*/ 0 h 232"/>
                </a:gdLst>
                <a:cxnLst>
                  <a:cxn ang="0">
                    <a:pos x="T0" y="T1"/>
                  </a:cxn>
                  <a:cxn ang="0">
                    <a:pos x="T2" y="T3"/>
                  </a:cxn>
                  <a:cxn ang="0">
                    <a:pos x="T4" y="T5"/>
                  </a:cxn>
                  <a:cxn ang="0">
                    <a:pos x="T6" y="T7"/>
                  </a:cxn>
                  <a:cxn ang="0">
                    <a:pos x="T8" y="T9"/>
                  </a:cxn>
                  <a:cxn ang="0">
                    <a:pos x="T10" y="T11"/>
                  </a:cxn>
                </a:cxnLst>
                <a:rect l="0" t="0" r="r" b="b"/>
                <a:pathLst>
                  <a:path w="128" h="231">
                    <a:moveTo>
                      <a:pt x="127" y="0"/>
                    </a:moveTo>
                    <a:cubicBezTo>
                      <a:pt x="127" y="0"/>
                      <a:pt x="72" y="25"/>
                      <a:pt x="36" y="30"/>
                    </a:cubicBezTo>
                    <a:cubicBezTo>
                      <a:pt x="0" y="135"/>
                      <a:pt x="0" y="135"/>
                      <a:pt x="0" y="135"/>
                    </a:cubicBezTo>
                    <a:cubicBezTo>
                      <a:pt x="0" y="232"/>
                      <a:pt x="0" y="232"/>
                      <a:pt x="0" y="232"/>
                    </a:cubicBezTo>
                    <a:cubicBezTo>
                      <a:pt x="0" y="232"/>
                      <a:pt x="109" y="158"/>
                      <a:pt x="127" y="95"/>
                    </a:cubicBezTo>
                    <a:cubicBezTo>
                      <a:pt x="128" y="36"/>
                      <a:pt x="127" y="0"/>
                      <a:pt x="127" y="0"/>
                    </a:cubicBezTo>
                    <a:close/>
                  </a:path>
                </a:pathLst>
              </a:cu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7" name="Freeform 273">
                <a:extLst>
                  <a:ext uri="{FF2B5EF4-FFF2-40B4-BE49-F238E27FC236}">
                    <a16:creationId xmlns:a16="http://schemas.microsoft.com/office/drawing/2014/main" id="{8989CF80-70AD-D176-9A93-05E08D01D3DA}"/>
                  </a:ext>
                </a:extLst>
              </p:cNvPr>
              <p:cNvSpPr/>
              <p:nvPr/>
            </p:nvSpPr>
            <p:spPr bwMode="auto">
              <a:xfrm>
                <a:off x="3673" y="1566"/>
                <a:ext cx="234" cy="423"/>
              </a:xfrm>
              <a:custGeom>
                <a:gdLst>
                  <a:gd name="T0" fmla="*/ 1 w 128"/>
                  <a:gd name="T1" fmla="*/ 0 h 232"/>
                  <a:gd name="T2" fmla="*/ 92 w 128"/>
                  <a:gd name="T3" fmla="*/ 30 h 232"/>
                  <a:gd name="T4" fmla="*/ 128 w 128"/>
                  <a:gd name="T5" fmla="*/ 135 h 232"/>
                  <a:gd name="T6" fmla="*/ 128 w 128"/>
                  <a:gd name="T7" fmla="*/ 232 h 232"/>
                  <a:gd name="T8" fmla="*/ 1 w 128"/>
                  <a:gd name="T9" fmla="*/ 95 h 232"/>
                  <a:gd name="T10" fmla="*/ 1 w 128"/>
                  <a:gd name="T11" fmla="*/ 0 h 232"/>
                </a:gdLst>
                <a:cxnLst>
                  <a:cxn ang="0">
                    <a:pos x="T0" y="T1"/>
                  </a:cxn>
                  <a:cxn ang="0">
                    <a:pos x="T2" y="T3"/>
                  </a:cxn>
                  <a:cxn ang="0">
                    <a:pos x="T4" y="T5"/>
                  </a:cxn>
                  <a:cxn ang="0">
                    <a:pos x="T6" y="T7"/>
                  </a:cxn>
                  <a:cxn ang="0">
                    <a:pos x="T8" y="T9"/>
                  </a:cxn>
                  <a:cxn ang="0">
                    <a:pos x="T10" y="T11"/>
                  </a:cxn>
                </a:cxnLst>
                <a:rect l="0" t="0" r="r" b="b"/>
                <a:pathLst>
                  <a:path w="128" h="231">
                    <a:moveTo>
                      <a:pt x="1" y="0"/>
                    </a:moveTo>
                    <a:cubicBezTo>
                      <a:pt x="1" y="0"/>
                      <a:pt x="57" y="25"/>
                      <a:pt x="92" y="30"/>
                    </a:cubicBezTo>
                    <a:cubicBezTo>
                      <a:pt x="128" y="135"/>
                      <a:pt x="128" y="135"/>
                      <a:pt x="128" y="135"/>
                    </a:cubicBezTo>
                    <a:cubicBezTo>
                      <a:pt x="128" y="232"/>
                      <a:pt x="128" y="232"/>
                      <a:pt x="128" y="232"/>
                    </a:cubicBezTo>
                    <a:cubicBezTo>
                      <a:pt x="128" y="232"/>
                      <a:pt x="20" y="158"/>
                      <a:pt x="1" y="95"/>
                    </a:cubicBezTo>
                    <a:cubicBezTo>
                      <a:pt x="0" y="36"/>
                      <a:pt x="1" y="0"/>
                      <a:pt x="1" y="0"/>
                    </a:cubicBezTo>
                    <a:close/>
                  </a:path>
                </a:pathLst>
              </a:cu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8" name="Freeform 274">
                <a:extLst>
                  <a:ext uri="{FF2B5EF4-FFF2-40B4-BE49-F238E27FC236}">
                    <a16:creationId xmlns:a16="http://schemas.microsoft.com/office/drawing/2014/main" id="{A31E4D51-4186-3BC0-3A81-B9F1CD2896A9}"/>
                  </a:ext>
                </a:extLst>
              </p:cNvPr>
              <p:cNvSpPr/>
              <p:nvPr/>
            </p:nvSpPr>
            <p:spPr bwMode="auto">
              <a:xfrm>
                <a:off x="5149" y="2276"/>
                <a:ext cx="482" cy="434"/>
              </a:xfrm>
              <a:custGeom>
                <a:gdLst>
                  <a:gd name="T0" fmla="*/ 75 w 264"/>
                  <a:gd name="T1" fmla="*/ 0 h 238"/>
                  <a:gd name="T2" fmla="*/ 0 w 264"/>
                  <a:gd name="T3" fmla="*/ 89 h 238"/>
                  <a:gd name="T4" fmla="*/ 202 w 264"/>
                  <a:gd name="T5" fmla="*/ 238 h 238"/>
                  <a:gd name="T6" fmla="*/ 264 w 264"/>
                  <a:gd name="T7" fmla="*/ 144 h 238"/>
                  <a:gd name="T8" fmla="*/ 75 w 264"/>
                  <a:gd name="T9" fmla="*/ 0 h 238"/>
                </a:gdLst>
                <a:cxnLst>
                  <a:cxn ang="0">
                    <a:pos x="T0" y="T1"/>
                  </a:cxn>
                  <a:cxn ang="0">
                    <a:pos x="T2" y="T3"/>
                  </a:cxn>
                  <a:cxn ang="0">
                    <a:pos x="T4" y="T5"/>
                  </a:cxn>
                  <a:cxn ang="0">
                    <a:pos x="T6" y="T7"/>
                  </a:cxn>
                  <a:cxn ang="0">
                    <a:pos x="T8" y="T9"/>
                  </a:cxn>
                </a:cxnLst>
                <a:rect l="0" t="0" r="r" b="b"/>
                <a:pathLst>
                  <a:path w="264" h="238">
                    <a:moveTo>
                      <a:pt x="75" y="0"/>
                    </a:moveTo>
                    <a:cubicBezTo>
                      <a:pt x="0" y="89"/>
                      <a:pt x="0" y="89"/>
                      <a:pt x="0" y="89"/>
                    </a:cubicBezTo>
                    <a:cubicBezTo>
                      <a:pt x="42" y="137"/>
                      <a:pt x="115" y="208"/>
                      <a:pt x="202" y="238"/>
                    </a:cubicBezTo>
                    <a:cubicBezTo>
                      <a:pt x="221" y="209"/>
                      <a:pt x="242" y="178"/>
                      <a:pt x="264" y="144"/>
                    </a:cubicBezTo>
                    <a:cubicBezTo>
                      <a:pt x="137" y="120"/>
                      <a:pt x="75" y="0"/>
                      <a:pt x="75" y="0"/>
                    </a:cubicBezTo>
                    <a:close/>
                  </a:path>
                </a:pathLst>
              </a:custGeom>
              <a:solidFill>
                <a:srgbClr val="D3C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9" name="Freeform 275">
                <a:extLst>
                  <a:ext uri="{FF2B5EF4-FFF2-40B4-BE49-F238E27FC236}">
                    <a16:creationId xmlns:a16="http://schemas.microsoft.com/office/drawing/2014/main" id="{8ECF8BC8-509D-3504-8EF5-FBF3EF9985D9}"/>
                  </a:ext>
                </a:extLst>
              </p:cNvPr>
              <p:cNvSpPr/>
              <p:nvPr/>
            </p:nvSpPr>
            <p:spPr bwMode="auto">
              <a:xfrm>
                <a:off x="4777" y="2603"/>
                <a:ext cx="237" cy="275"/>
              </a:xfrm>
              <a:custGeom>
                <a:gdLst>
                  <a:gd name="T0" fmla="*/ 232 w 237"/>
                  <a:gd name="T1" fmla="*/ 0 h 275"/>
                  <a:gd name="T2" fmla="*/ 0 w 237"/>
                  <a:gd name="T3" fmla="*/ 270 h 275"/>
                  <a:gd name="T4" fmla="*/ 5 w 237"/>
                  <a:gd name="T5" fmla="*/ 275 h 275"/>
                  <a:gd name="T6" fmla="*/ 237 w 237"/>
                  <a:gd name="T7" fmla="*/ 5 h 275"/>
                  <a:gd name="T8" fmla="*/ 232 w 237"/>
                  <a:gd name="T9" fmla="*/ 0 h 275"/>
                </a:gdLst>
                <a:cxnLst>
                  <a:cxn ang="0">
                    <a:pos x="T0" y="T1"/>
                  </a:cxn>
                  <a:cxn ang="0">
                    <a:pos x="T2" y="T3"/>
                  </a:cxn>
                  <a:cxn ang="0">
                    <a:pos x="T4" y="T5"/>
                  </a:cxn>
                  <a:cxn ang="0">
                    <a:pos x="T6" y="T7"/>
                  </a:cxn>
                  <a:cxn ang="0">
                    <a:pos x="T8" y="T9"/>
                  </a:cxn>
                </a:cxnLst>
                <a:rect l="0" t="0" r="r" b="b"/>
                <a:pathLst>
                  <a:path w="236" h="275">
                    <a:moveTo>
                      <a:pt x="232" y="0"/>
                    </a:moveTo>
                    <a:lnTo>
                      <a:pt x="0" y="270"/>
                    </a:lnTo>
                    <a:lnTo>
                      <a:pt x="5" y="275"/>
                    </a:lnTo>
                    <a:lnTo>
                      <a:pt x="237" y="5"/>
                    </a:lnTo>
                    <a:lnTo>
                      <a:pt x="232" y="0"/>
                    </a:lnTo>
                    <a:close/>
                  </a:path>
                </a:pathLst>
              </a:custGeom>
              <a:solidFill>
                <a:srgbClr val="9B94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0" name="Freeform 276">
                <a:extLst>
                  <a:ext uri="{FF2B5EF4-FFF2-40B4-BE49-F238E27FC236}">
                    <a16:creationId xmlns:a16="http://schemas.microsoft.com/office/drawing/2014/main" id="{1478B307-30B4-B791-8367-F52BDD6957F9}"/>
                  </a:ext>
                </a:extLst>
              </p:cNvPr>
              <p:cNvSpPr/>
              <p:nvPr/>
            </p:nvSpPr>
            <p:spPr bwMode="auto">
              <a:xfrm>
                <a:off x="4777" y="2603"/>
                <a:ext cx="237" cy="275"/>
              </a:xfrm>
              <a:custGeom>
                <a:gdLst>
                  <a:gd name="T0" fmla="*/ 232 w 237"/>
                  <a:gd name="T1" fmla="*/ 0 h 275"/>
                  <a:gd name="T2" fmla="*/ 0 w 237"/>
                  <a:gd name="T3" fmla="*/ 270 h 275"/>
                  <a:gd name="T4" fmla="*/ 5 w 237"/>
                  <a:gd name="T5" fmla="*/ 275 h 275"/>
                  <a:gd name="T6" fmla="*/ 237 w 237"/>
                  <a:gd name="T7" fmla="*/ 5 h 275"/>
                </a:gdLst>
                <a:cxnLst>
                  <a:cxn ang="0">
                    <a:pos x="T0" y="T1"/>
                  </a:cxn>
                  <a:cxn ang="0">
                    <a:pos x="T2" y="T3"/>
                  </a:cxn>
                  <a:cxn ang="0">
                    <a:pos x="T4" y="T5"/>
                  </a:cxn>
                  <a:cxn ang="0">
                    <a:pos x="T6" y="T7"/>
                  </a:cxn>
                </a:cxnLst>
                <a:rect l="0" t="0" r="r" b="b"/>
                <a:pathLst>
                  <a:path w="236" h="275">
                    <a:moveTo>
                      <a:pt x="232" y="0"/>
                    </a:moveTo>
                    <a:lnTo>
                      <a:pt x="0" y="270"/>
                    </a:lnTo>
                    <a:lnTo>
                      <a:pt x="5" y="275"/>
                    </a:lnTo>
                    <a:lnTo>
                      <a:pt x="23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1" name="Freeform 277">
                <a:extLst>
                  <a:ext uri="{FF2B5EF4-FFF2-40B4-BE49-F238E27FC236}">
                    <a16:creationId xmlns:a16="http://schemas.microsoft.com/office/drawing/2014/main" id="{7ED92588-5183-BD5D-603D-044686705D4C}"/>
                  </a:ext>
                </a:extLst>
              </p:cNvPr>
              <p:cNvSpPr/>
              <p:nvPr/>
            </p:nvSpPr>
            <p:spPr bwMode="auto">
              <a:xfrm>
                <a:off x="4746" y="2707"/>
                <a:ext cx="184" cy="82"/>
              </a:xfrm>
              <a:custGeom>
                <a:gdLst>
                  <a:gd name="T0" fmla="*/ 3 w 184"/>
                  <a:gd name="T1" fmla="*/ 82 h 82"/>
                  <a:gd name="T2" fmla="*/ 184 w 184"/>
                  <a:gd name="T3" fmla="*/ 7 h 82"/>
                  <a:gd name="T4" fmla="*/ 180 w 184"/>
                  <a:gd name="T5" fmla="*/ 0 h 82"/>
                  <a:gd name="T6" fmla="*/ 0 w 184"/>
                  <a:gd name="T7" fmla="*/ 74 h 82"/>
                  <a:gd name="T8" fmla="*/ 3 w 184"/>
                  <a:gd name="T9" fmla="*/ 82 h 82"/>
                </a:gdLst>
                <a:cxnLst>
                  <a:cxn ang="0">
                    <a:pos x="T0" y="T1"/>
                  </a:cxn>
                  <a:cxn ang="0">
                    <a:pos x="T2" y="T3"/>
                  </a:cxn>
                  <a:cxn ang="0">
                    <a:pos x="T4" y="T5"/>
                  </a:cxn>
                  <a:cxn ang="0">
                    <a:pos x="T6" y="T7"/>
                  </a:cxn>
                  <a:cxn ang="0">
                    <a:pos x="T8" y="T9"/>
                  </a:cxn>
                </a:cxnLst>
                <a:rect l="0" t="0" r="r" b="b"/>
                <a:pathLst>
                  <a:path w="184" h="82">
                    <a:moveTo>
                      <a:pt x="3" y="82"/>
                    </a:moveTo>
                    <a:lnTo>
                      <a:pt x="184" y="7"/>
                    </a:lnTo>
                    <a:lnTo>
                      <a:pt x="180" y="0"/>
                    </a:lnTo>
                    <a:lnTo>
                      <a:pt x="0" y="74"/>
                    </a:lnTo>
                    <a:lnTo>
                      <a:pt x="3" y="82"/>
                    </a:lnTo>
                    <a:close/>
                  </a:path>
                </a:pathLst>
              </a:custGeom>
              <a:solidFill>
                <a:srgbClr val="9B94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2" name="Freeform 278">
                <a:extLst>
                  <a:ext uri="{FF2B5EF4-FFF2-40B4-BE49-F238E27FC236}">
                    <a16:creationId xmlns:a16="http://schemas.microsoft.com/office/drawing/2014/main" id="{34824996-4A6F-4236-B427-816CF8601A44}"/>
                  </a:ext>
                </a:extLst>
              </p:cNvPr>
              <p:cNvSpPr/>
              <p:nvPr/>
            </p:nvSpPr>
            <p:spPr bwMode="auto">
              <a:xfrm>
                <a:off x="4746" y="2707"/>
                <a:ext cx="184" cy="82"/>
              </a:xfrm>
              <a:custGeom>
                <a:gdLst>
                  <a:gd name="T0" fmla="*/ 3 w 184"/>
                  <a:gd name="T1" fmla="*/ 82 h 82"/>
                  <a:gd name="T2" fmla="*/ 184 w 184"/>
                  <a:gd name="T3" fmla="*/ 7 h 82"/>
                  <a:gd name="T4" fmla="*/ 180 w 184"/>
                  <a:gd name="T5" fmla="*/ 0 h 82"/>
                  <a:gd name="T6" fmla="*/ 0 w 184"/>
                  <a:gd name="T7" fmla="*/ 74 h 82"/>
                </a:gdLst>
                <a:cxnLst>
                  <a:cxn ang="0">
                    <a:pos x="T0" y="T1"/>
                  </a:cxn>
                  <a:cxn ang="0">
                    <a:pos x="T2" y="T3"/>
                  </a:cxn>
                  <a:cxn ang="0">
                    <a:pos x="T4" y="T5"/>
                  </a:cxn>
                  <a:cxn ang="0">
                    <a:pos x="T6" y="T7"/>
                  </a:cxn>
                </a:cxnLst>
                <a:rect l="0" t="0" r="r" b="b"/>
                <a:pathLst>
                  <a:path w="184" h="82">
                    <a:moveTo>
                      <a:pt x="3" y="82"/>
                    </a:moveTo>
                    <a:lnTo>
                      <a:pt x="184" y="7"/>
                    </a:lnTo>
                    <a:lnTo>
                      <a:pt x="180" y="0"/>
                    </a:lnTo>
                    <a:lnTo>
                      <a:pt x="0"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3" name="Freeform 279">
                <a:extLst>
                  <a:ext uri="{FF2B5EF4-FFF2-40B4-BE49-F238E27FC236}">
                    <a16:creationId xmlns:a16="http://schemas.microsoft.com/office/drawing/2014/main" id="{61840AF4-1CD4-7420-B366-B7F5D4167D74}"/>
                  </a:ext>
                </a:extLst>
              </p:cNvPr>
              <p:cNvSpPr/>
              <p:nvPr/>
            </p:nvSpPr>
            <p:spPr bwMode="auto">
              <a:xfrm>
                <a:off x="4695" y="3083"/>
                <a:ext cx="449" cy="281"/>
              </a:xfrm>
              <a:custGeom>
                <a:gdLst>
                  <a:gd name="T0" fmla="*/ 246 w 246"/>
                  <a:gd name="T1" fmla="*/ 81 h 154"/>
                  <a:gd name="T2" fmla="*/ 123 w 246"/>
                  <a:gd name="T3" fmla="*/ 0 h 154"/>
                  <a:gd name="T4" fmla="*/ 0 w 246"/>
                  <a:gd name="T5" fmla="*/ 80 h 154"/>
                  <a:gd name="T6" fmla="*/ 85 w 246"/>
                  <a:gd name="T7" fmla="*/ 149 h 154"/>
                  <a:gd name="T8" fmla="*/ 246 w 246"/>
                  <a:gd name="T9" fmla="*/ 81 h 154"/>
                </a:gdLst>
                <a:cxnLst>
                  <a:cxn ang="0">
                    <a:pos x="T0" y="T1"/>
                  </a:cxn>
                  <a:cxn ang="0">
                    <a:pos x="T2" y="T3"/>
                  </a:cxn>
                  <a:cxn ang="0">
                    <a:pos x="T4" y="T5"/>
                  </a:cxn>
                  <a:cxn ang="0">
                    <a:pos x="T6" y="T7"/>
                  </a:cxn>
                  <a:cxn ang="0">
                    <a:pos x="T8" y="T9"/>
                  </a:cxn>
                </a:cxnLst>
                <a:rect l="0" t="0" r="r" b="b"/>
                <a:pathLst>
                  <a:path w="246" h="154">
                    <a:moveTo>
                      <a:pt x="246" y="81"/>
                    </a:moveTo>
                    <a:cubicBezTo>
                      <a:pt x="225" y="34"/>
                      <a:pt x="178" y="0"/>
                      <a:pt x="123" y="0"/>
                    </a:cubicBezTo>
                    <a:cubicBezTo>
                      <a:pt x="68" y="0"/>
                      <a:pt x="21" y="33"/>
                      <a:pt x="0" y="80"/>
                    </a:cubicBezTo>
                    <a:cubicBezTo>
                      <a:pt x="24" y="118"/>
                      <a:pt x="52" y="146"/>
                      <a:pt x="85" y="149"/>
                    </a:cubicBezTo>
                    <a:cubicBezTo>
                      <a:pt x="146" y="154"/>
                      <a:pt x="186" y="145"/>
                      <a:pt x="246" y="81"/>
                    </a:cubicBezTo>
                    <a:close/>
                  </a:path>
                </a:pathLst>
              </a:custGeom>
              <a:solidFill>
                <a:srgbClr val="D3C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4" name="Freeform 280">
                <a:extLst>
                  <a:ext uri="{FF2B5EF4-FFF2-40B4-BE49-F238E27FC236}">
                    <a16:creationId xmlns:a16="http://schemas.microsoft.com/office/drawing/2014/main" id="{6659F26B-6370-0A25-96E1-BE0ED5A7DA54}"/>
                  </a:ext>
                </a:extLst>
              </p:cNvPr>
              <p:cNvSpPr/>
              <p:nvPr/>
            </p:nvSpPr>
            <p:spPr bwMode="auto">
              <a:xfrm>
                <a:off x="3907" y="1604"/>
                <a:ext cx="127" cy="385"/>
              </a:xfrm>
              <a:custGeom>
                <a:gdLst>
                  <a:gd name="T0" fmla="*/ 36 w 70"/>
                  <a:gd name="T1" fmla="*/ 9 h 211"/>
                  <a:gd name="T2" fmla="*/ 0 w 70"/>
                  <a:gd name="T3" fmla="*/ 114 h 211"/>
                  <a:gd name="T4" fmla="*/ 0 w 70"/>
                  <a:gd name="T5" fmla="*/ 211 h 211"/>
                  <a:gd name="T6" fmla="*/ 24 w 70"/>
                  <a:gd name="T7" fmla="*/ 193 h 211"/>
                  <a:gd name="T8" fmla="*/ 70 w 70"/>
                  <a:gd name="T9" fmla="*/ 0 h 211"/>
                  <a:gd name="T10" fmla="*/ 36 w 70"/>
                  <a:gd name="T11" fmla="*/ 9 h 211"/>
                </a:gdLst>
                <a:cxnLst>
                  <a:cxn ang="0">
                    <a:pos x="T0" y="T1"/>
                  </a:cxn>
                  <a:cxn ang="0">
                    <a:pos x="T2" y="T3"/>
                  </a:cxn>
                  <a:cxn ang="0">
                    <a:pos x="T4" y="T5"/>
                  </a:cxn>
                  <a:cxn ang="0">
                    <a:pos x="T6" y="T7"/>
                  </a:cxn>
                  <a:cxn ang="0">
                    <a:pos x="T8" y="T9"/>
                  </a:cxn>
                  <a:cxn ang="0">
                    <a:pos x="T10" y="T11"/>
                  </a:cxn>
                </a:cxnLst>
                <a:rect l="0" t="0" r="r" b="b"/>
                <a:pathLst>
                  <a:path w="70" h="211">
                    <a:moveTo>
                      <a:pt x="36" y="9"/>
                    </a:moveTo>
                    <a:cubicBezTo>
                      <a:pt x="0" y="114"/>
                      <a:pt x="0" y="114"/>
                      <a:pt x="0" y="114"/>
                    </a:cubicBezTo>
                    <a:cubicBezTo>
                      <a:pt x="0" y="211"/>
                      <a:pt x="0" y="211"/>
                      <a:pt x="0" y="211"/>
                    </a:cubicBezTo>
                    <a:cubicBezTo>
                      <a:pt x="0" y="211"/>
                      <a:pt x="10" y="204"/>
                      <a:pt x="24" y="193"/>
                    </a:cubicBezTo>
                    <a:cubicBezTo>
                      <a:pt x="16" y="109"/>
                      <a:pt x="70" y="0"/>
                      <a:pt x="70" y="0"/>
                    </a:cubicBezTo>
                    <a:cubicBezTo>
                      <a:pt x="58" y="4"/>
                      <a:pt x="46" y="7"/>
                      <a:pt x="36" y="9"/>
                    </a:cubicBezTo>
                    <a:close/>
                  </a:path>
                </a:pathLst>
              </a:custGeom>
              <a:solidFill>
                <a:srgbClr val="006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5" name="Freeform 281">
                <a:extLst>
                  <a:ext uri="{FF2B5EF4-FFF2-40B4-BE49-F238E27FC236}">
                    <a16:creationId xmlns:a16="http://schemas.microsoft.com/office/drawing/2014/main" id="{F7ED40A0-0CFB-A1FE-6BAA-5A22BA120F89}"/>
                  </a:ext>
                </a:extLst>
              </p:cNvPr>
              <p:cNvSpPr/>
              <p:nvPr/>
            </p:nvSpPr>
            <p:spPr bwMode="auto">
              <a:xfrm>
                <a:off x="3779" y="1604"/>
                <a:ext cx="128" cy="385"/>
              </a:xfrm>
              <a:custGeom>
                <a:gdLst>
                  <a:gd name="T0" fmla="*/ 34 w 70"/>
                  <a:gd name="T1" fmla="*/ 9 h 211"/>
                  <a:gd name="T2" fmla="*/ 70 w 70"/>
                  <a:gd name="T3" fmla="*/ 114 h 211"/>
                  <a:gd name="T4" fmla="*/ 70 w 70"/>
                  <a:gd name="T5" fmla="*/ 211 h 211"/>
                  <a:gd name="T6" fmla="*/ 46 w 70"/>
                  <a:gd name="T7" fmla="*/ 193 h 211"/>
                  <a:gd name="T8" fmla="*/ 0 w 70"/>
                  <a:gd name="T9" fmla="*/ 0 h 211"/>
                  <a:gd name="T10" fmla="*/ 34 w 70"/>
                  <a:gd name="T11" fmla="*/ 9 h 211"/>
                </a:gdLst>
                <a:cxnLst>
                  <a:cxn ang="0">
                    <a:pos x="T0" y="T1"/>
                  </a:cxn>
                  <a:cxn ang="0">
                    <a:pos x="T2" y="T3"/>
                  </a:cxn>
                  <a:cxn ang="0">
                    <a:pos x="T4" y="T5"/>
                  </a:cxn>
                  <a:cxn ang="0">
                    <a:pos x="T6" y="T7"/>
                  </a:cxn>
                  <a:cxn ang="0">
                    <a:pos x="T8" y="T9"/>
                  </a:cxn>
                  <a:cxn ang="0">
                    <a:pos x="T10" y="T11"/>
                  </a:cxn>
                </a:cxnLst>
                <a:rect l="0" t="0" r="r" b="b"/>
                <a:pathLst>
                  <a:path w="70" h="211">
                    <a:moveTo>
                      <a:pt x="34" y="9"/>
                    </a:moveTo>
                    <a:cubicBezTo>
                      <a:pt x="70" y="114"/>
                      <a:pt x="70" y="114"/>
                      <a:pt x="70" y="114"/>
                    </a:cubicBezTo>
                    <a:cubicBezTo>
                      <a:pt x="70" y="211"/>
                      <a:pt x="70" y="211"/>
                      <a:pt x="70" y="211"/>
                    </a:cubicBezTo>
                    <a:cubicBezTo>
                      <a:pt x="70" y="211"/>
                      <a:pt x="60" y="204"/>
                      <a:pt x="46" y="193"/>
                    </a:cubicBezTo>
                    <a:cubicBezTo>
                      <a:pt x="54" y="109"/>
                      <a:pt x="0" y="0"/>
                      <a:pt x="0" y="0"/>
                    </a:cubicBezTo>
                    <a:cubicBezTo>
                      <a:pt x="12" y="4"/>
                      <a:pt x="24" y="7"/>
                      <a:pt x="34" y="9"/>
                    </a:cubicBezTo>
                    <a:close/>
                  </a:path>
                </a:pathLst>
              </a:custGeom>
              <a:solidFill>
                <a:srgbClr val="006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6" name="Oval 282">
                <a:extLst>
                  <a:ext uri="{FF2B5EF4-FFF2-40B4-BE49-F238E27FC236}">
                    <a16:creationId xmlns:a16="http://schemas.microsoft.com/office/drawing/2014/main" id="{9834F014-171E-EAC7-283F-9FB572F9E624}"/>
                  </a:ext>
                </a:extLst>
              </p:cNvPr>
              <p:cNvSpPr>
                <a:spLocks noChangeArrowheads="1"/>
              </p:cNvSpPr>
              <p:nvPr/>
            </p:nvSpPr>
            <p:spPr bwMode="auto">
              <a:xfrm>
                <a:off x="4018" y="2081"/>
                <a:ext cx="93" cy="93"/>
              </a:xfrm>
              <a:prstGeom prst="ellipse">
                <a:avLst/>
              </a:prstGeom>
              <a:solidFill>
                <a:srgbClr val="2D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7" name="Oval 283">
                <a:extLst>
                  <a:ext uri="{FF2B5EF4-FFF2-40B4-BE49-F238E27FC236}">
                    <a16:creationId xmlns:a16="http://schemas.microsoft.com/office/drawing/2014/main" id="{35A6C015-A141-891F-B8D0-A90AC6EF512A}"/>
                  </a:ext>
                </a:extLst>
              </p:cNvPr>
              <p:cNvSpPr>
                <a:spLocks noChangeArrowheads="1"/>
              </p:cNvSpPr>
              <p:nvPr/>
            </p:nvSpPr>
            <p:spPr bwMode="auto">
              <a:xfrm>
                <a:off x="4018" y="2497"/>
                <a:ext cx="93" cy="93"/>
              </a:xfrm>
              <a:prstGeom prst="ellipse">
                <a:avLst/>
              </a:prstGeom>
              <a:solidFill>
                <a:srgbClr val="2D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8" name="Oval 284">
                <a:extLst>
                  <a:ext uri="{FF2B5EF4-FFF2-40B4-BE49-F238E27FC236}">
                    <a16:creationId xmlns:a16="http://schemas.microsoft.com/office/drawing/2014/main" id="{46EBB289-736A-D72A-662E-3EF7A1F97EFB}"/>
                  </a:ext>
                </a:extLst>
              </p:cNvPr>
              <p:cNvSpPr>
                <a:spLocks noChangeArrowheads="1"/>
              </p:cNvSpPr>
              <p:nvPr/>
            </p:nvSpPr>
            <p:spPr bwMode="auto">
              <a:xfrm>
                <a:off x="4018" y="2913"/>
                <a:ext cx="93" cy="91"/>
              </a:xfrm>
              <a:prstGeom prst="ellipse">
                <a:avLst/>
              </a:prstGeom>
              <a:solidFill>
                <a:srgbClr val="2D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9" name="Oval 285">
                <a:extLst>
                  <a:ext uri="{FF2B5EF4-FFF2-40B4-BE49-F238E27FC236}">
                    <a16:creationId xmlns:a16="http://schemas.microsoft.com/office/drawing/2014/main" id="{81C5A646-4711-8495-11E4-70269B5088D7}"/>
                  </a:ext>
                </a:extLst>
              </p:cNvPr>
              <p:cNvSpPr>
                <a:spLocks noChangeArrowheads="1"/>
              </p:cNvSpPr>
              <p:nvPr/>
            </p:nvSpPr>
            <p:spPr bwMode="auto">
              <a:xfrm>
                <a:off x="4018" y="3329"/>
                <a:ext cx="93" cy="91"/>
              </a:xfrm>
              <a:prstGeom prst="ellipse">
                <a:avLst/>
              </a:prstGeom>
              <a:solidFill>
                <a:srgbClr val="2D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30" name="Oval 286">
                <a:extLst>
                  <a:ext uri="{FF2B5EF4-FFF2-40B4-BE49-F238E27FC236}">
                    <a16:creationId xmlns:a16="http://schemas.microsoft.com/office/drawing/2014/main" id="{01126362-18EB-2544-3476-5A3D5BECB2C1}"/>
                  </a:ext>
                </a:extLst>
              </p:cNvPr>
              <p:cNvSpPr>
                <a:spLocks noChangeArrowheads="1"/>
              </p:cNvSpPr>
              <p:nvPr/>
            </p:nvSpPr>
            <p:spPr bwMode="auto">
              <a:xfrm>
                <a:off x="4018" y="3743"/>
                <a:ext cx="93" cy="93"/>
              </a:xfrm>
              <a:prstGeom prst="ellipse">
                <a:avLst/>
              </a:prstGeom>
              <a:solidFill>
                <a:srgbClr val="2D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31" name="Freeform 287">
                <a:extLst>
                  <a:ext uri="{FF2B5EF4-FFF2-40B4-BE49-F238E27FC236}">
                    <a16:creationId xmlns:a16="http://schemas.microsoft.com/office/drawing/2014/main" id="{45E220CA-E0D1-6A3C-33B1-01B45819A961}"/>
                  </a:ext>
                </a:extLst>
              </p:cNvPr>
              <p:cNvSpPr/>
              <p:nvPr/>
            </p:nvSpPr>
            <p:spPr bwMode="auto">
              <a:xfrm>
                <a:off x="3109" y="3906"/>
                <a:ext cx="1588" cy="259"/>
              </a:xfrm>
              <a:custGeom>
                <a:gdLst>
                  <a:gd name="T0" fmla="*/ 861 w 870"/>
                  <a:gd name="T1" fmla="*/ 0 h 142"/>
                  <a:gd name="T2" fmla="*/ 435 w 870"/>
                  <a:gd name="T3" fmla="*/ 66 h 142"/>
                  <a:gd name="T4" fmla="*/ 9 w 870"/>
                  <a:gd name="T5" fmla="*/ 0 h 142"/>
                  <a:gd name="T6" fmla="*/ 0 w 870"/>
                  <a:gd name="T7" fmla="*/ 76 h 142"/>
                  <a:gd name="T8" fmla="*/ 435 w 870"/>
                  <a:gd name="T9" fmla="*/ 137 h 142"/>
                  <a:gd name="T10" fmla="*/ 870 w 870"/>
                  <a:gd name="T11" fmla="*/ 76 h 142"/>
                  <a:gd name="T12" fmla="*/ 861 w 870"/>
                  <a:gd name="T13" fmla="*/ 0 h 142"/>
                </a:gdLst>
                <a:cxnLst>
                  <a:cxn ang="0">
                    <a:pos x="T0" y="T1"/>
                  </a:cxn>
                  <a:cxn ang="0">
                    <a:pos x="T2" y="T3"/>
                  </a:cxn>
                  <a:cxn ang="0">
                    <a:pos x="T4" y="T5"/>
                  </a:cxn>
                  <a:cxn ang="0">
                    <a:pos x="T6" y="T7"/>
                  </a:cxn>
                  <a:cxn ang="0">
                    <a:pos x="T8" y="T9"/>
                  </a:cxn>
                  <a:cxn ang="0">
                    <a:pos x="T10" y="T11"/>
                  </a:cxn>
                  <a:cxn ang="0">
                    <a:pos x="T12" y="T13"/>
                  </a:cxn>
                </a:cxnLst>
                <a:rect l="0" t="0" r="r" b="b"/>
                <a:pathLst>
                  <a:path w="870" h="142">
                    <a:moveTo>
                      <a:pt x="861" y="0"/>
                    </a:moveTo>
                    <a:cubicBezTo>
                      <a:pt x="684" y="59"/>
                      <a:pt x="499" y="65"/>
                      <a:pt x="435" y="66"/>
                    </a:cubicBezTo>
                    <a:cubicBezTo>
                      <a:pt x="371" y="65"/>
                      <a:pt x="186" y="59"/>
                      <a:pt x="9" y="0"/>
                    </a:cubicBezTo>
                    <a:cubicBezTo>
                      <a:pt x="5" y="28"/>
                      <a:pt x="2" y="54"/>
                      <a:pt x="0" y="76"/>
                    </a:cubicBezTo>
                    <a:cubicBezTo>
                      <a:pt x="339" y="142"/>
                      <a:pt x="435" y="137"/>
                      <a:pt x="435" y="137"/>
                    </a:cubicBezTo>
                    <a:cubicBezTo>
                      <a:pt x="435" y="137"/>
                      <a:pt x="532" y="142"/>
                      <a:pt x="870" y="76"/>
                    </a:cubicBezTo>
                    <a:cubicBezTo>
                      <a:pt x="868" y="54"/>
                      <a:pt x="865" y="28"/>
                      <a:pt x="861" y="0"/>
                    </a:cubicBezTo>
                    <a:close/>
                  </a:path>
                </a:pathLst>
              </a:custGeom>
              <a:solidFill>
                <a:srgbClr val="006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32" name="Freeform 288">
                <a:extLst>
                  <a:ext uri="{FF2B5EF4-FFF2-40B4-BE49-F238E27FC236}">
                    <a16:creationId xmlns:a16="http://schemas.microsoft.com/office/drawing/2014/main" id="{83BD40CA-9949-4A9D-252E-1BCFD3DA6569}"/>
                  </a:ext>
                </a:extLst>
              </p:cNvPr>
              <p:cNvSpPr/>
              <p:nvPr/>
            </p:nvSpPr>
            <p:spPr bwMode="auto">
              <a:xfrm>
                <a:off x="4467" y="1683"/>
                <a:ext cx="106" cy="1053"/>
              </a:xfrm>
              <a:custGeom>
                <a:gdLst>
                  <a:gd name="T0" fmla="*/ 0 w 58"/>
                  <a:gd name="T1" fmla="*/ 1 h 577"/>
                  <a:gd name="T2" fmla="*/ 3 w 58"/>
                  <a:gd name="T3" fmla="*/ 15 h 577"/>
                  <a:gd name="T4" fmla="*/ 32 w 58"/>
                  <a:gd name="T5" fmla="*/ 212 h 577"/>
                  <a:gd name="T6" fmla="*/ 53 w 58"/>
                  <a:gd name="T7" fmla="*/ 440 h 577"/>
                  <a:gd name="T8" fmla="*/ 53 w 58"/>
                  <a:gd name="T9" fmla="*/ 459 h 577"/>
                  <a:gd name="T10" fmla="*/ 41 w 58"/>
                  <a:gd name="T11" fmla="*/ 555 h 577"/>
                  <a:gd name="T12" fmla="*/ 37 w 58"/>
                  <a:gd name="T13" fmla="*/ 571 h 577"/>
                  <a:gd name="T14" fmla="*/ 35 w 58"/>
                  <a:gd name="T15" fmla="*/ 573 h 577"/>
                  <a:gd name="T16" fmla="*/ 35 w 58"/>
                  <a:gd name="T17" fmla="*/ 574 h 577"/>
                  <a:gd name="T18" fmla="*/ 35 w 58"/>
                  <a:gd name="T19" fmla="*/ 574 h 577"/>
                  <a:gd name="T20" fmla="*/ 36 w 58"/>
                  <a:gd name="T21" fmla="*/ 575 h 577"/>
                  <a:gd name="T22" fmla="*/ 35 w 58"/>
                  <a:gd name="T23" fmla="*/ 574 h 577"/>
                  <a:gd name="T24" fmla="*/ 35 w 58"/>
                  <a:gd name="T25" fmla="*/ 574 h 577"/>
                  <a:gd name="T26" fmla="*/ 36 w 58"/>
                  <a:gd name="T27" fmla="*/ 575 h 577"/>
                  <a:gd name="T28" fmla="*/ 35 w 58"/>
                  <a:gd name="T29" fmla="*/ 574 h 577"/>
                  <a:gd name="T30" fmla="*/ 38 w 58"/>
                  <a:gd name="T31" fmla="*/ 577 h 577"/>
                  <a:gd name="T32" fmla="*/ 45 w 58"/>
                  <a:gd name="T33" fmla="*/ 556 h 577"/>
                  <a:gd name="T34" fmla="*/ 57 w 58"/>
                  <a:gd name="T35" fmla="*/ 459 h 577"/>
                  <a:gd name="T36" fmla="*/ 58 w 58"/>
                  <a:gd name="T37" fmla="*/ 440 h 577"/>
                  <a:gd name="T38" fmla="*/ 31 w 58"/>
                  <a:gd name="T39" fmla="*/ 175 h 577"/>
                  <a:gd name="T40" fmla="*/ 5 w 58"/>
                  <a:gd name="T41" fmla="*/ 0 h 577"/>
                  <a:gd name="T42" fmla="*/ 0 w 58"/>
                  <a:gd name="T43" fmla="*/ 1 h 5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 h="577">
                    <a:moveTo>
                      <a:pt x="0" y="1"/>
                    </a:moveTo>
                    <a:cubicBezTo>
                      <a:pt x="0" y="1"/>
                      <a:pt x="1" y="6"/>
                      <a:pt x="3" y="15"/>
                    </a:cubicBezTo>
                    <a:cubicBezTo>
                      <a:pt x="8" y="46"/>
                      <a:pt x="20" y="126"/>
                      <a:pt x="32" y="212"/>
                    </a:cubicBezTo>
                    <a:cubicBezTo>
                      <a:pt x="43" y="297"/>
                      <a:pt x="53" y="388"/>
                      <a:pt x="53" y="440"/>
                    </a:cubicBezTo>
                    <a:cubicBezTo>
                      <a:pt x="53" y="447"/>
                      <a:pt x="53" y="453"/>
                      <a:pt x="53" y="459"/>
                    </a:cubicBezTo>
                    <a:cubicBezTo>
                      <a:pt x="49" y="510"/>
                      <a:pt x="45" y="539"/>
                      <a:pt x="41" y="555"/>
                    </a:cubicBezTo>
                    <a:cubicBezTo>
                      <a:pt x="39" y="563"/>
                      <a:pt x="38" y="568"/>
                      <a:pt x="37" y="571"/>
                    </a:cubicBezTo>
                    <a:cubicBezTo>
                      <a:pt x="36" y="572"/>
                      <a:pt x="36" y="573"/>
                      <a:pt x="35" y="573"/>
                    </a:cubicBezTo>
                    <a:cubicBezTo>
                      <a:pt x="35" y="574"/>
                      <a:pt x="35" y="574"/>
                      <a:pt x="35" y="574"/>
                    </a:cubicBezTo>
                    <a:cubicBezTo>
                      <a:pt x="35" y="574"/>
                      <a:pt x="35" y="574"/>
                      <a:pt x="35" y="574"/>
                    </a:cubicBezTo>
                    <a:cubicBezTo>
                      <a:pt x="36" y="575"/>
                      <a:pt x="36" y="575"/>
                      <a:pt x="36" y="575"/>
                    </a:cubicBezTo>
                    <a:cubicBezTo>
                      <a:pt x="35" y="574"/>
                      <a:pt x="35" y="574"/>
                      <a:pt x="35" y="574"/>
                    </a:cubicBezTo>
                    <a:cubicBezTo>
                      <a:pt x="35" y="574"/>
                      <a:pt x="35" y="574"/>
                      <a:pt x="35" y="574"/>
                    </a:cubicBezTo>
                    <a:cubicBezTo>
                      <a:pt x="36" y="575"/>
                      <a:pt x="36" y="575"/>
                      <a:pt x="36" y="575"/>
                    </a:cubicBezTo>
                    <a:cubicBezTo>
                      <a:pt x="35" y="574"/>
                      <a:pt x="35" y="574"/>
                      <a:pt x="35" y="574"/>
                    </a:cubicBezTo>
                    <a:cubicBezTo>
                      <a:pt x="38" y="577"/>
                      <a:pt x="38" y="577"/>
                      <a:pt x="38" y="577"/>
                    </a:cubicBezTo>
                    <a:cubicBezTo>
                      <a:pt x="39" y="576"/>
                      <a:pt x="42" y="572"/>
                      <a:pt x="45" y="556"/>
                    </a:cubicBezTo>
                    <a:cubicBezTo>
                      <a:pt x="49" y="539"/>
                      <a:pt x="54" y="510"/>
                      <a:pt x="57" y="459"/>
                    </a:cubicBezTo>
                    <a:cubicBezTo>
                      <a:pt x="57" y="453"/>
                      <a:pt x="58" y="447"/>
                      <a:pt x="58" y="440"/>
                    </a:cubicBezTo>
                    <a:cubicBezTo>
                      <a:pt x="58" y="380"/>
                      <a:pt x="44" y="270"/>
                      <a:pt x="31" y="175"/>
                    </a:cubicBezTo>
                    <a:cubicBezTo>
                      <a:pt x="18" y="80"/>
                      <a:pt x="5" y="0"/>
                      <a:pt x="5" y="0"/>
                    </a:cubicBezTo>
                    <a:cubicBezTo>
                      <a:pt x="0" y="1"/>
                      <a:pt x="0" y="1"/>
                      <a:pt x="0" y="1"/>
                    </a:cubicBezTo>
                    <a:close/>
                  </a:path>
                </a:pathLst>
              </a:custGeom>
              <a:solidFill>
                <a:srgbClr val="9B94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33" name="Freeform 289">
                <a:extLst>
                  <a:ext uri="{FF2B5EF4-FFF2-40B4-BE49-F238E27FC236}">
                    <a16:creationId xmlns:a16="http://schemas.microsoft.com/office/drawing/2014/main" id="{9F6678B4-8B8B-FF4D-4B35-CE4637A64EEB}"/>
                  </a:ext>
                </a:extLst>
              </p:cNvPr>
              <p:cNvSpPr/>
              <p:nvPr/>
            </p:nvSpPr>
            <p:spPr bwMode="auto">
              <a:xfrm>
                <a:off x="5842" y="2081"/>
                <a:ext cx="196" cy="89"/>
              </a:xfrm>
              <a:custGeom>
                <a:gdLst>
                  <a:gd name="T0" fmla="*/ 103 w 107"/>
                  <a:gd name="T1" fmla="*/ 0 h 49"/>
                  <a:gd name="T2" fmla="*/ 103 w 107"/>
                  <a:gd name="T3" fmla="*/ 0 h 49"/>
                  <a:gd name="T4" fmla="*/ 103 w 107"/>
                  <a:gd name="T5" fmla="*/ 0 h 49"/>
                  <a:gd name="T6" fmla="*/ 103 w 107"/>
                  <a:gd name="T7" fmla="*/ 0 h 49"/>
                  <a:gd name="T8" fmla="*/ 103 w 107"/>
                  <a:gd name="T9" fmla="*/ 0 h 49"/>
                  <a:gd name="T10" fmla="*/ 103 w 107"/>
                  <a:gd name="T11" fmla="*/ 0 h 49"/>
                  <a:gd name="T12" fmla="*/ 85 w 107"/>
                  <a:gd name="T13" fmla="*/ 21 h 49"/>
                  <a:gd name="T14" fmla="*/ 0 w 107"/>
                  <a:gd name="T15" fmla="*/ 45 h 49"/>
                  <a:gd name="T16" fmla="*/ 0 w 107"/>
                  <a:gd name="T17" fmla="*/ 49 h 49"/>
                  <a:gd name="T18" fmla="*/ 88 w 107"/>
                  <a:gd name="T19" fmla="*/ 24 h 49"/>
                  <a:gd name="T20" fmla="*/ 107 w 107"/>
                  <a:gd name="T21" fmla="*/ 1 h 49"/>
                  <a:gd name="T22" fmla="*/ 103 w 107"/>
                  <a:gd name="T23" fmla="*/ 0 h 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7" h="49">
                    <a:moveTo>
                      <a:pt x="103" y="0"/>
                    </a:moveTo>
                    <a:cubicBezTo>
                      <a:pt x="103" y="0"/>
                      <a:pt x="103" y="0"/>
                      <a:pt x="103" y="0"/>
                    </a:cubicBezTo>
                    <a:cubicBezTo>
                      <a:pt x="103" y="0"/>
                      <a:pt x="103" y="0"/>
                      <a:pt x="103" y="0"/>
                    </a:cubicBezTo>
                    <a:cubicBezTo>
                      <a:pt x="103" y="0"/>
                      <a:pt x="103" y="0"/>
                      <a:pt x="103" y="0"/>
                    </a:cubicBezTo>
                    <a:cubicBezTo>
                      <a:pt x="103" y="0"/>
                      <a:pt x="103" y="0"/>
                      <a:pt x="103" y="0"/>
                    </a:cubicBezTo>
                    <a:cubicBezTo>
                      <a:pt x="103" y="0"/>
                      <a:pt x="103" y="0"/>
                      <a:pt x="103" y="0"/>
                    </a:cubicBezTo>
                    <a:cubicBezTo>
                      <a:pt x="103" y="0"/>
                      <a:pt x="100" y="10"/>
                      <a:pt x="85" y="21"/>
                    </a:cubicBezTo>
                    <a:cubicBezTo>
                      <a:pt x="71" y="31"/>
                      <a:pt x="45" y="43"/>
                      <a:pt x="0" y="45"/>
                    </a:cubicBezTo>
                    <a:cubicBezTo>
                      <a:pt x="0" y="49"/>
                      <a:pt x="0" y="49"/>
                      <a:pt x="0" y="49"/>
                    </a:cubicBezTo>
                    <a:cubicBezTo>
                      <a:pt x="46" y="47"/>
                      <a:pt x="73" y="35"/>
                      <a:pt x="88" y="24"/>
                    </a:cubicBezTo>
                    <a:cubicBezTo>
                      <a:pt x="104" y="12"/>
                      <a:pt x="107" y="1"/>
                      <a:pt x="107" y="1"/>
                    </a:cubicBezTo>
                    <a:cubicBezTo>
                      <a:pt x="103" y="0"/>
                      <a:pt x="103" y="0"/>
                      <a:pt x="103" y="0"/>
                    </a:cubicBezTo>
                    <a:close/>
                  </a:path>
                </a:pathLst>
              </a:custGeom>
              <a:solidFill>
                <a:srgbClr val="931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34" name="Freeform 290">
                <a:extLst>
                  <a:ext uri="{FF2B5EF4-FFF2-40B4-BE49-F238E27FC236}">
                    <a16:creationId xmlns:a16="http://schemas.microsoft.com/office/drawing/2014/main" id="{E4AF59F1-861B-8365-5DBB-76558382EA7F}"/>
                  </a:ext>
                </a:extLst>
              </p:cNvPr>
              <p:cNvSpPr/>
              <p:nvPr/>
            </p:nvSpPr>
            <p:spPr bwMode="auto">
              <a:xfrm>
                <a:off x="5698" y="1456"/>
                <a:ext cx="186" cy="166"/>
              </a:xfrm>
              <a:custGeom>
                <a:gdLst>
                  <a:gd name="T0" fmla="*/ 98 w 102"/>
                  <a:gd name="T1" fmla="*/ 10 h 91"/>
                  <a:gd name="T2" fmla="*/ 93 w 102"/>
                  <a:gd name="T3" fmla="*/ 0 h 91"/>
                  <a:gd name="T4" fmla="*/ 51 w 102"/>
                  <a:gd name="T5" fmla="*/ 0 h 91"/>
                  <a:gd name="T6" fmla="*/ 8 w 102"/>
                  <a:gd name="T7" fmla="*/ 0 h 91"/>
                  <a:gd name="T8" fmla="*/ 3 w 102"/>
                  <a:gd name="T9" fmla="*/ 10 h 91"/>
                  <a:gd name="T10" fmla="*/ 27 w 102"/>
                  <a:gd name="T11" fmla="*/ 85 h 91"/>
                  <a:gd name="T12" fmla="*/ 51 w 102"/>
                  <a:gd name="T13" fmla="*/ 91 h 91"/>
                  <a:gd name="T14" fmla="*/ 74 w 102"/>
                  <a:gd name="T15" fmla="*/ 85 h 91"/>
                  <a:gd name="T16" fmla="*/ 98 w 102"/>
                  <a:gd name="T17" fmla="*/ 10 h 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91">
                    <a:moveTo>
                      <a:pt x="98" y="10"/>
                    </a:moveTo>
                    <a:cubicBezTo>
                      <a:pt x="102" y="6"/>
                      <a:pt x="99" y="0"/>
                      <a:pt x="93" y="0"/>
                    </a:cubicBezTo>
                    <a:cubicBezTo>
                      <a:pt x="51" y="0"/>
                      <a:pt x="51" y="0"/>
                      <a:pt x="51" y="0"/>
                    </a:cubicBezTo>
                    <a:cubicBezTo>
                      <a:pt x="8" y="0"/>
                      <a:pt x="8" y="0"/>
                      <a:pt x="8" y="0"/>
                    </a:cubicBezTo>
                    <a:cubicBezTo>
                      <a:pt x="3" y="0"/>
                      <a:pt x="0" y="6"/>
                      <a:pt x="3" y="10"/>
                    </a:cubicBezTo>
                    <a:cubicBezTo>
                      <a:pt x="15" y="23"/>
                      <a:pt x="31" y="48"/>
                      <a:pt x="27" y="85"/>
                    </a:cubicBezTo>
                    <a:cubicBezTo>
                      <a:pt x="46" y="83"/>
                      <a:pt x="51" y="91"/>
                      <a:pt x="51" y="91"/>
                    </a:cubicBezTo>
                    <a:cubicBezTo>
                      <a:pt x="51" y="91"/>
                      <a:pt x="55" y="83"/>
                      <a:pt x="74" y="85"/>
                    </a:cubicBezTo>
                    <a:cubicBezTo>
                      <a:pt x="70" y="48"/>
                      <a:pt x="86" y="23"/>
                      <a:pt x="98" y="10"/>
                    </a:cubicBezTo>
                  </a:path>
                </a:pathLst>
              </a:cu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35" name="Freeform 291">
                <a:extLst>
                  <a:ext uri="{FF2B5EF4-FFF2-40B4-BE49-F238E27FC236}">
                    <a16:creationId xmlns:a16="http://schemas.microsoft.com/office/drawing/2014/main" id="{B88F8215-FDDF-1417-DC92-A0D1488E065A}"/>
                  </a:ext>
                </a:extLst>
              </p:cNvPr>
              <p:cNvSpPr/>
              <p:nvPr/>
            </p:nvSpPr>
            <p:spPr bwMode="auto">
              <a:xfrm>
                <a:off x="5698" y="1456"/>
                <a:ext cx="153" cy="166"/>
              </a:xfrm>
              <a:custGeom>
                <a:gdLst>
                  <a:gd name="T0" fmla="*/ 27 w 84"/>
                  <a:gd name="T1" fmla="*/ 85 h 91"/>
                  <a:gd name="T2" fmla="*/ 51 w 84"/>
                  <a:gd name="T3" fmla="*/ 91 h 91"/>
                  <a:gd name="T4" fmla="*/ 74 w 84"/>
                  <a:gd name="T5" fmla="*/ 85 h 91"/>
                  <a:gd name="T6" fmla="*/ 84 w 84"/>
                  <a:gd name="T7" fmla="*/ 32 h 91"/>
                  <a:gd name="T8" fmla="*/ 43 w 84"/>
                  <a:gd name="T9" fmla="*/ 16 h 91"/>
                  <a:gd name="T10" fmla="*/ 36 w 84"/>
                  <a:gd name="T11" fmla="*/ 0 h 91"/>
                  <a:gd name="T12" fmla="*/ 8 w 84"/>
                  <a:gd name="T13" fmla="*/ 0 h 91"/>
                  <a:gd name="T14" fmla="*/ 3 w 84"/>
                  <a:gd name="T15" fmla="*/ 10 h 91"/>
                  <a:gd name="T16" fmla="*/ 27 w 84"/>
                  <a:gd name="T17" fmla="*/ 85 h 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91">
                    <a:moveTo>
                      <a:pt x="27" y="85"/>
                    </a:moveTo>
                    <a:cubicBezTo>
                      <a:pt x="46" y="83"/>
                      <a:pt x="51" y="91"/>
                      <a:pt x="51" y="91"/>
                    </a:cubicBezTo>
                    <a:cubicBezTo>
                      <a:pt x="51" y="91"/>
                      <a:pt x="55" y="83"/>
                      <a:pt x="74" y="85"/>
                    </a:cubicBezTo>
                    <a:cubicBezTo>
                      <a:pt x="72" y="63"/>
                      <a:pt x="77" y="45"/>
                      <a:pt x="84" y="32"/>
                    </a:cubicBezTo>
                    <a:cubicBezTo>
                      <a:pt x="62" y="33"/>
                      <a:pt x="54" y="25"/>
                      <a:pt x="43" y="16"/>
                    </a:cubicBezTo>
                    <a:cubicBezTo>
                      <a:pt x="38" y="11"/>
                      <a:pt x="36" y="5"/>
                      <a:pt x="36" y="0"/>
                    </a:cubicBezTo>
                    <a:cubicBezTo>
                      <a:pt x="8" y="0"/>
                      <a:pt x="8" y="0"/>
                      <a:pt x="8" y="0"/>
                    </a:cubicBezTo>
                    <a:cubicBezTo>
                      <a:pt x="3" y="0"/>
                      <a:pt x="0" y="6"/>
                      <a:pt x="3" y="10"/>
                    </a:cubicBezTo>
                    <a:cubicBezTo>
                      <a:pt x="15" y="23"/>
                      <a:pt x="31" y="48"/>
                      <a:pt x="27" y="85"/>
                    </a:cubicBezTo>
                  </a:path>
                </a:pathLst>
              </a:custGeom>
              <a:solidFill>
                <a:srgbClr val="C1B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36" name="Freeform 292">
                <a:extLst>
                  <a:ext uri="{FF2B5EF4-FFF2-40B4-BE49-F238E27FC236}">
                    <a16:creationId xmlns:a16="http://schemas.microsoft.com/office/drawing/2014/main" id="{AC13D288-61C0-B486-BEE9-523816E27B89}"/>
                  </a:ext>
                </a:extLst>
              </p:cNvPr>
              <p:cNvSpPr/>
              <p:nvPr/>
            </p:nvSpPr>
            <p:spPr bwMode="auto">
              <a:xfrm>
                <a:off x="5160" y="2017"/>
                <a:ext cx="1314" cy="85"/>
              </a:xfrm>
              <a:custGeom>
                <a:gdLst>
                  <a:gd name="T0" fmla="*/ 696 w 720"/>
                  <a:gd name="T1" fmla="*/ 47 h 47"/>
                  <a:gd name="T2" fmla="*/ 23 w 720"/>
                  <a:gd name="T3" fmla="*/ 47 h 47"/>
                  <a:gd name="T4" fmla="*/ 0 w 720"/>
                  <a:gd name="T5" fmla="*/ 23 h 47"/>
                  <a:gd name="T6" fmla="*/ 23 w 720"/>
                  <a:gd name="T7" fmla="*/ 0 h 47"/>
                  <a:gd name="T8" fmla="*/ 696 w 720"/>
                  <a:gd name="T9" fmla="*/ 0 h 47"/>
                  <a:gd name="T10" fmla="*/ 720 w 720"/>
                  <a:gd name="T11" fmla="*/ 23 h 47"/>
                  <a:gd name="T12" fmla="*/ 696 w 720"/>
                  <a:gd name="T13" fmla="*/ 47 h 47"/>
                </a:gdLst>
                <a:cxnLst>
                  <a:cxn ang="0">
                    <a:pos x="T0" y="T1"/>
                  </a:cxn>
                  <a:cxn ang="0">
                    <a:pos x="T2" y="T3"/>
                  </a:cxn>
                  <a:cxn ang="0">
                    <a:pos x="T4" y="T5"/>
                  </a:cxn>
                  <a:cxn ang="0">
                    <a:pos x="T6" y="T7"/>
                  </a:cxn>
                  <a:cxn ang="0">
                    <a:pos x="T8" y="T9"/>
                  </a:cxn>
                  <a:cxn ang="0">
                    <a:pos x="T10" y="T11"/>
                  </a:cxn>
                  <a:cxn ang="0">
                    <a:pos x="T12" y="T13"/>
                  </a:cxn>
                </a:cxnLst>
                <a:rect l="0" t="0" r="r" b="b"/>
                <a:pathLst>
                  <a:path w="720" h="47">
                    <a:moveTo>
                      <a:pt x="696" y="47"/>
                    </a:moveTo>
                    <a:cubicBezTo>
                      <a:pt x="23" y="47"/>
                      <a:pt x="23" y="47"/>
                      <a:pt x="23" y="47"/>
                    </a:cubicBezTo>
                    <a:cubicBezTo>
                      <a:pt x="10" y="47"/>
                      <a:pt x="0" y="36"/>
                      <a:pt x="0" y="23"/>
                    </a:cubicBezTo>
                    <a:cubicBezTo>
                      <a:pt x="0" y="10"/>
                      <a:pt x="10" y="0"/>
                      <a:pt x="23" y="0"/>
                    </a:cubicBezTo>
                    <a:cubicBezTo>
                      <a:pt x="696" y="0"/>
                      <a:pt x="696" y="0"/>
                      <a:pt x="696" y="0"/>
                    </a:cubicBezTo>
                    <a:cubicBezTo>
                      <a:pt x="709" y="0"/>
                      <a:pt x="720" y="10"/>
                      <a:pt x="720" y="23"/>
                    </a:cubicBezTo>
                    <a:cubicBezTo>
                      <a:pt x="720" y="36"/>
                      <a:pt x="709" y="47"/>
                      <a:pt x="696" y="47"/>
                    </a:cubicBezTo>
                  </a:path>
                </a:pathLst>
              </a:custGeom>
              <a:solidFill>
                <a:srgbClr val="C1B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37" name="Freeform 293">
                <a:extLst>
                  <a:ext uri="{FF2B5EF4-FFF2-40B4-BE49-F238E27FC236}">
                    <a16:creationId xmlns:a16="http://schemas.microsoft.com/office/drawing/2014/main" id="{08AAFA54-4232-0395-5327-C11CA7CD83BB}"/>
                  </a:ext>
                </a:extLst>
              </p:cNvPr>
              <p:cNvSpPr/>
              <p:nvPr/>
            </p:nvSpPr>
            <p:spPr bwMode="auto">
              <a:xfrm>
                <a:off x="5310" y="1553"/>
                <a:ext cx="963" cy="464"/>
              </a:xfrm>
              <a:custGeom>
                <a:gdLst>
                  <a:gd name="T0" fmla="*/ 528 w 528"/>
                  <a:gd name="T1" fmla="*/ 254 h 254"/>
                  <a:gd name="T2" fmla="*/ 264 w 528"/>
                  <a:gd name="T3" fmla="*/ 0 h 254"/>
                  <a:gd name="T4" fmla="*/ 0 w 528"/>
                  <a:gd name="T5" fmla="*/ 254 h 254"/>
                  <a:gd name="T6" fmla="*/ 528 w 528"/>
                  <a:gd name="T7" fmla="*/ 254 h 254"/>
                </a:gdLst>
                <a:cxnLst>
                  <a:cxn ang="0">
                    <a:pos x="T0" y="T1"/>
                  </a:cxn>
                  <a:cxn ang="0">
                    <a:pos x="T2" y="T3"/>
                  </a:cxn>
                  <a:cxn ang="0">
                    <a:pos x="T4" y="T5"/>
                  </a:cxn>
                  <a:cxn ang="0">
                    <a:pos x="T6" y="T7"/>
                  </a:cxn>
                </a:cxnLst>
                <a:rect l="0" t="0" r="r" b="b"/>
                <a:pathLst>
                  <a:path w="528" h="254">
                    <a:moveTo>
                      <a:pt x="528" y="254"/>
                    </a:moveTo>
                    <a:cubicBezTo>
                      <a:pt x="522" y="113"/>
                      <a:pt x="406" y="0"/>
                      <a:pt x="264" y="0"/>
                    </a:cubicBezTo>
                    <a:cubicBezTo>
                      <a:pt x="121" y="0"/>
                      <a:pt x="5" y="113"/>
                      <a:pt x="0" y="254"/>
                    </a:cubicBezTo>
                    <a:cubicBezTo>
                      <a:pt x="528" y="254"/>
                      <a:pt x="528" y="254"/>
                      <a:pt x="528" y="254"/>
                    </a:cubicBezTo>
                  </a:path>
                </a:pathLst>
              </a:cu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38" name="Freeform 294">
                <a:extLst>
                  <a:ext uri="{FF2B5EF4-FFF2-40B4-BE49-F238E27FC236}">
                    <a16:creationId xmlns:a16="http://schemas.microsoft.com/office/drawing/2014/main" id="{A8AE5B50-7E54-E020-C04F-B591EE750EAE}"/>
                  </a:ext>
                </a:extLst>
              </p:cNvPr>
              <p:cNvSpPr/>
              <p:nvPr/>
            </p:nvSpPr>
            <p:spPr bwMode="auto">
              <a:xfrm>
                <a:off x="5310" y="1553"/>
                <a:ext cx="481" cy="464"/>
              </a:xfrm>
              <a:custGeom>
                <a:gdLst>
                  <a:gd name="T0" fmla="*/ 264 w 264"/>
                  <a:gd name="T1" fmla="*/ 0 h 254"/>
                  <a:gd name="T2" fmla="*/ 0 w 264"/>
                  <a:gd name="T3" fmla="*/ 254 h 254"/>
                  <a:gd name="T4" fmla="*/ 122 w 264"/>
                  <a:gd name="T5" fmla="*/ 254 h 254"/>
                  <a:gd name="T6" fmla="*/ 264 w 264"/>
                  <a:gd name="T7" fmla="*/ 0 h 254"/>
                </a:gdLst>
                <a:cxnLst>
                  <a:cxn ang="0">
                    <a:pos x="T0" y="T1"/>
                  </a:cxn>
                  <a:cxn ang="0">
                    <a:pos x="T2" y="T3"/>
                  </a:cxn>
                  <a:cxn ang="0">
                    <a:pos x="T4" y="T5"/>
                  </a:cxn>
                  <a:cxn ang="0">
                    <a:pos x="T6" y="T7"/>
                  </a:cxn>
                </a:cxnLst>
                <a:rect l="0" t="0" r="r" b="b"/>
                <a:pathLst>
                  <a:path w="264" h="254">
                    <a:moveTo>
                      <a:pt x="264" y="0"/>
                    </a:moveTo>
                    <a:cubicBezTo>
                      <a:pt x="121" y="0"/>
                      <a:pt x="5" y="113"/>
                      <a:pt x="0" y="254"/>
                    </a:cubicBezTo>
                    <a:cubicBezTo>
                      <a:pt x="122" y="254"/>
                      <a:pt x="122" y="254"/>
                      <a:pt x="122" y="254"/>
                    </a:cubicBezTo>
                    <a:cubicBezTo>
                      <a:pt x="122" y="39"/>
                      <a:pt x="264" y="0"/>
                      <a:pt x="264" y="0"/>
                    </a:cubicBezTo>
                  </a:path>
                </a:pathLst>
              </a:custGeom>
              <a:solidFill>
                <a:srgbClr val="DAD5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39" name="Freeform 295">
                <a:extLst>
                  <a:ext uri="{FF2B5EF4-FFF2-40B4-BE49-F238E27FC236}">
                    <a16:creationId xmlns:a16="http://schemas.microsoft.com/office/drawing/2014/main" id="{455AB768-A4BA-702B-560B-1CB8651C2E83}"/>
                  </a:ext>
                </a:extLst>
              </p:cNvPr>
              <p:cNvSpPr/>
              <p:nvPr/>
            </p:nvSpPr>
            <p:spPr bwMode="auto">
              <a:xfrm>
                <a:off x="5383" y="1593"/>
                <a:ext cx="288" cy="342"/>
              </a:xfrm>
              <a:custGeom>
                <a:gdLst>
                  <a:gd name="T0" fmla="*/ 158 w 158"/>
                  <a:gd name="T1" fmla="*/ 0 h 187"/>
                  <a:gd name="T2" fmla="*/ 43 w 158"/>
                  <a:gd name="T3" fmla="*/ 103 h 187"/>
                  <a:gd name="T4" fmla="*/ 31 w 158"/>
                  <a:gd name="T5" fmla="*/ 122 h 187"/>
                  <a:gd name="T6" fmla="*/ 13 w 158"/>
                  <a:gd name="T7" fmla="*/ 157 h 187"/>
                  <a:gd name="T8" fmla="*/ 7 w 158"/>
                  <a:gd name="T9" fmla="*/ 172 h 187"/>
                  <a:gd name="T10" fmla="*/ 0 w 158"/>
                  <a:gd name="T11" fmla="*/ 187 h 187"/>
                  <a:gd name="T12" fmla="*/ 5 w 158"/>
                  <a:gd name="T13" fmla="*/ 159 h 187"/>
                  <a:gd name="T14" fmla="*/ 158 w 158"/>
                  <a:gd name="T15" fmla="*/ 0 h 18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 h="187">
                    <a:moveTo>
                      <a:pt x="158" y="0"/>
                    </a:moveTo>
                    <a:cubicBezTo>
                      <a:pt x="112" y="24"/>
                      <a:pt x="72" y="59"/>
                      <a:pt x="43" y="103"/>
                    </a:cubicBezTo>
                    <a:cubicBezTo>
                      <a:pt x="40" y="107"/>
                      <a:pt x="33" y="118"/>
                      <a:pt x="31" y="122"/>
                    </a:cubicBezTo>
                    <a:cubicBezTo>
                      <a:pt x="24" y="133"/>
                      <a:pt x="18" y="146"/>
                      <a:pt x="13" y="157"/>
                    </a:cubicBezTo>
                    <a:cubicBezTo>
                      <a:pt x="10" y="161"/>
                      <a:pt x="8" y="168"/>
                      <a:pt x="7" y="172"/>
                    </a:cubicBezTo>
                    <a:cubicBezTo>
                      <a:pt x="5" y="177"/>
                      <a:pt x="3" y="182"/>
                      <a:pt x="0" y="187"/>
                    </a:cubicBezTo>
                    <a:cubicBezTo>
                      <a:pt x="2" y="177"/>
                      <a:pt x="4" y="168"/>
                      <a:pt x="5" y="159"/>
                    </a:cubicBezTo>
                    <a:cubicBezTo>
                      <a:pt x="25" y="85"/>
                      <a:pt x="83" y="19"/>
                      <a:pt x="158" y="0"/>
                    </a:cubicBezTo>
                    <a:close/>
                  </a:path>
                </a:pathLst>
              </a:cu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40" name="Freeform 296">
                <a:extLst>
                  <a:ext uri="{FF2B5EF4-FFF2-40B4-BE49-F238E27FC236}">
                    <a16:creationId xmlns:a16="http://schemas.microsoft.com/office/drawing/2014/main" id="{CCB34F86-4CA3-24D3-C192-F7C2FB3FB814}"/>
                  </a:ext>
                </a:extLst>
              </p:cNvPr>
              <p:cNvSpPr/>
              <p:nvPr/>
            </p:nvSpPr>
            <p:spPr bwMode="auto">
              <a:xfrm>
                <a:off x="5842" y="1557"/>
                <a:ext cx="431" cy="460"/>
              </a:xfrm>
              <a:custGeom>
                <a:gdLst>
                  <a:gd name="T0" fmla="*/ 0 w 236"/>
                  <a:gd name="T1" fmla="*/ 0 h 252"/>
                  <a:gd name="T2" fmla="*/ 163 w 236"/>
                  <a:gd name="T3" fmla="*/ 252 h 252"/>
                  <a:gd name="T4" fmla="*/ 236 w 236"/>
                  <a:gd name="T5" fmla="*/ 252 h 252"/>
                  <a:gd name="T6" fmla="*/ 0 w 236"/>
                  <a:gd name="T7" fmla="*/ 0 h 252"/>
                </a:gdLst>
                <a:cxnLst>
                  <a:cxn ang="0">
                    <a:pos x="T0" y="T1"/>
                  </a:cxn>
                  <a:cxn ang="0">
                    <a:pos x="T2" y="T3"/>
                  </a:cxn>
                  <a:cxn ang="0">
                    <a:pos x="T4" y="T5"/>
                  </a:cxn>
                  <a:cxn ang="0">
                    <a:pos x="T6" y="T7"/>
                  </a:cxn>
                </a:cxnLst>
                <a:rect l="0" t="0" r="r" b="b"/>
                <a:pathLst>
                  <a:path w="236" h="251">
                    <a:moveTo>
                      <a:pt x="0" y="0"/>
                    </a:moveTo>
                    <a:cubicBezTo>
                      <a:pt x="2" y="0"/>
                      <a:pt x="151" y="60"/>
                      <a:pt x="163" y="252"/>
                    </a:cubicBezTo>
                    <a:cubicBezTo>
                      <a:pt x="236" y="252"/>
                      <a:pt x="236" y="252"/>
                      <a:pt x="236" y="252"/>
                    </a:cubicBezTo>
                    <a:cubicBezTo>
                      <a:pt x="231" y="120"/>
                      <a:pt x="129" y="13"/>
                      <a:pt x="0" y="0"/>
                    </a:cubicBezTo>
                    <a:close/>
                  </a:path>
                </a:pathLst>
              </a:custGeom>
              <a:solidFill>
                <a:srgbClr val="F7F5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41" name="Freeform 297">
                <a:extLst>
                  <a:ext uri="{FF2B5EF4-FFF2-40B4-BE49-F238E27FC236}">
                    <a16:creationId xmlns:a16="http://schemas.microsoft.com/office/drawing/2014/main" id="{12BA2C95-E13F-22CF-98B9-E2EA41A04C86}"/>
                  </a:ext>
                </a:extLst>
              </p:cNvPr>
              <p:cNvSpPr/>
              <p:nvPr/>
            </p:nvSpPr>
            <p:spPr bwMode="auto">
              <a:xfrm>
                <a:off x="4248" y="2466"/>
                <a:ext cx="299" cy="753"/>
              </a:xfrm>
              <a:custGeom>
                <a:gdLst>
                  <a:gd name="T0" fmla="*/ 121 w 164"/>
                  <a:gd name="T1" fmla="*/ 0 h 413"/>
                  <a:gd name="T2" fmla="*/ 0 w 164"/>
                  <a:gd name="T3" fmla="*/ 413 h 413"/>
                  <a:gd name="T4" fmla="*/ 121 w 164"/>
                  <a:gd name="T5" fmla="*/ 0 h 413"/>
                </a:gdLst>
                <a:cxnLst>
                  <a:cxn ang="0">
                    <a:pos x="T0" y="T1"/>
                  </a:cxn>
                  <a:cxn ang="0">
                    <a:pos x="T2" y="T3"/>
                  </a:cxn>
                  <a:cxn ang="0">
                    <a:pos x="T4" y="T5"/>
                  </a:cxn>
                </a:cxnLst>
                <a:rect l="0" t="0" r="r" b="b"/>
                <a:pathLst>
                  <a:path w="164" h="412">
                    <a:moveTo>
                      <a:pt x="121" y="0"/>
                    </a:moveTo>
                    <a:cubicBezTo>
                      <a:pt x="121" y="0"/>
                      <a:pt x="164" y="170"/>
                      <a:pt x="0" y="413"/>
                    </a:cubicBezTo>
                    <a:cubicBezTo>
                      <a:pt x="45" y="292"/>
                      <a:pt x="111" y="106"/>
                      <a:pt x="121" y="0"/>
                    </a:cubicBezTo>
                    <a:close/>
                  </a:path>
                </a:pathLst>
              </a:custGeom>
              <a:solidFill>
                <a:srgbClr val="E0DB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42" name="Freeform 298">
                <a:extLst>
                  <a:ext uri="{FF2B5EF4-FFF2-40B4-BE49-F238E27FC236}">
                    <a16:creationId xmlns:a16="http://schemas.microsoft.com/office/drawing/2014/main" id="{F1F2545C-C91C-0922-5B4A-8D29B3180C19}"/>
                  </a:ext>
                </a:extLst>
              </p:cNvPr>
              <p:cNvSpPr/>
              <p:nvPr/>
            </p:nvSpPr>
            <p:spPr bwMode="auto">
              <a:xfrm>
                <a:off x="4120" y="1747"/>
                <a:ext cx="363" cy="34"/>
              </a:xfrm>
              <a:custGeom>
                <a:gdLst>
                  <a:gd name="T0" fmla="*/ 1 w 199"/>
                  <a:gd name="T1" fmla="*/ 19 h 19"/>
                  <a:gd name="T2" fmla="*/ 4 w 199"/>
                  <a:gd name="T3" fmla="*/ 18 h 19"/>
                  <a:gd name="T4" fmla="*/ 131 w 199"/>
                  <a:gd name="T5" fmla="*/ 5 h 19"/>
                  <a:gd name="T6" fmla="*/ 199 w 199"/>
                  <a:gd name="T7" fmla="*/ 9 h 19"/>
                  <a:gd name="T8" fmla="*/ 199 w 199"/>
                  <a:gd name="T9" fmla="*/ 5 h 19"/>
                  <a:gd name="T10" fmla="*/ 131 w 199"/>
                  <a:gd name="T11" fmla="*/ 0 h 19"/>
                  <a:gd name="T12" fmla="*/ 0 w 199"/>
                  <a:gd name="T13" fmla="*/ 15 h 19"/>
                  <a:gd name="T14" fmla="*/ 1 w 199"/>
                  <a:gd name="T15" fmla="*/ 19 h 1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9" h="19">
                    <a:moveTo>
                      <a:pt x="1" y="19"/>
                    </a:moveTo>
                    <a:cubicBezTo>
                      <a:pt x="1" y="19"/>
                      <a:pt x="2" y="19"/>
                      <a:pt x="4" y="18"/>
                    </a:cubicBezTo>
                    <a:cubicBezTo>
                      <a:pt x="16" y="16"/>
                      <a:pt x="69" y="5"/>
                      <a:pt x="131" y="5"/>
                    </a:cubicBezTo>
                    <a:cubicBezTo>
                      <a:pt x="153" y="5"/>
                      <a:pt x="176" y="6"/>
                      <a:pt x="199" y="9"/>
                    </a:cubicBezTo>
                    <a:cubicBezTo>
                      <a:pt x="199" y="5"/>
                      <a:pt x="199" y="5"/>
                      <a:pt x="199" y="5"/>
                    </a:cubicBezTo>
                    <a:cubicBezTo>
                      <a:pt x="176" y="2"/>
                      <a:pt x="153" y="0"/>
                      <a:pt x="131" y="0"/>
                    </a:cubicBezTo>
                    <a:cubicBezTo>
                      <a:pt x="59" y="0"/>
                      <a:pt x="0" y="15"/>
                      <a:pt x="0" y="15"/>
                    </a:cubicBezTo>
                    <a:cubicBezTo>
                      <a:pt x="1" y="19"/>
                      <a:pt x="1" y="19"/>
                      <a:pt x="1" y="19"/>
                    </a:cubicBezTo>
                    <a:close/>
                  </a:path>
                </a:pathLst>
              </a:custGeom>
              <a:solidFill>
                <a:srgbClr val="9B94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43" name="Rectangle 299">
                <a:extLst>
                  <a:ext uri="{FF2B5EF4-FFF2-40B4-BE49-F238E27FC236}">
                    <a16:creationId xmlns:a16="http://schemas.microsoft.com/office/drawing/2014/main" id="{8F3BD7EC-BE56-0C64-6AA1-C0DDA29BB607}"/>
                  </a:ext>
                </a:extLst>
              </p:cNvPr>
              <p:cNvSpPr>
                <a:spLocks noChangeArrowheads="1"/>
              </p:cNvSpPr>
              <p:nvPr/>
            </p:nvSpPr>
            <p:spPr bwMode="auto">
              <a:xfrm>
                <a:off x="3863" y="1956"/>
                <a:ext cx="87" cy="2110"/>
              </a:xfrm>
              <a:prstGeom prst="rect">
                <a:avLst/>
              </a:prstGeom>
              <a:solidFill>
                <a:srgbClr val="0067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44" name="Rectangle 300">
                <a:extLst>
                  <a:ext uri="{FF2B5EF4-FFF2-40B4-BE49-F238E27FC236}">
                    <a16:creationId xmlns:a16="http://schemas.microsoft.com/office/drawing/2014/main" id="{BD6067C7-71EA-095D-B252-AB5402FAE1F5}"/>
                  </a:ext>
                </a:extLst>
              </p:cNvPr>
              <p:cNvSpPr>
                <a:spLocks noChangeArrowheads="1"/>
              </p:cNvSpPr>
              <p:nvPr/>
            </p:nvSpPr>
            <p:spPr bwMode="auto">
              <a:xfrm>
                <a:off x="1332" y="2042"/>
                <a:ext cx="1314" cy="11"/>
              </a:xfrm>
              <a:prstGeom prst="rect">
                <a:avLst/>
              </a:prstGeom>
              <a:solidFill>
                <a:srgbClr val="F0E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45" name="Freeform 301">
                <a:extLst>
                  <a:ext uri="{FF2B5EF4-FFF2-40B4-BE49-F238E27FC236}">
                    <a16:creationId xmlns:a16="http://schemas.microsoft.com/office/drawing/2014/main" id="{BE8CD5F5-385E-B416-9DBB-AAAB70911FE3}"/>
                  </a:ext>
                </a:extLst>
              </p:cNvPr>
              <p:cNvSpPr/>
              <p:nvPr/>
            </p:nvSpPr>
            <p:spPr bwMode="auto">
              <a:xfrm>
                <a:off x="1332" y="2042"/>
                <a:ext cx="1314" cy="11"/>
              </a:xfrm>
              <a:custGeom>
                <a:gdLst>
                  <a:gd name="T0" fmla="*/ 0 w 1314"/>
                  <a:gd name="T1" fmla="*/ 11 h 11"/>
                  <a:gd name="T2" fmla="*/ 1314 w 1314"/>
                  <a:gd name="T3" fmla="*/ 11 h 11"/>
                  <a:gd name="T4" fmla="*/ 1314 w 1314"/>
                  <a:gd name="T5" fmla="*/ 0 h 11"/>
                  <a:gd name="T6" fmla="*/ 0 w 1314"/>
                  <a:gd name="T7" fmla="*/ 0 h 11"/>
                </a:gdLst>
                <a:cxnLst>
                  <a:cxn ang="0">
                    <a:pos x="T0" y="T1"/>
                  </a:cxn>
                  <a:cxn ang="0">
                    <a:pos x="T2" y="T3"/>
                  </a:cxn>
                  <a:cxn ang="0">
                    <a:pos x="T4" y="T5"/>
                  </a:cxn>
                  <a:cxn ang="0">
                    <a:pos x="T6" y="T7"/>
                  </a:cxn>
                </a:cxnLst>
                <a:rect l="0" t="0" r="r" b="b"/>
                <a:pathLst>
                  <a:path w="1314" h="11">
                    <a:moveTo>
                      <a:pt x="0" y="11"/>
                    </a:moveTo>
                    <a:lnTo>
                      <a:pt x="1314" y="11"/>
                    </a:lnTo>
                    <a:lnTo>
                      <a:pt x="131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grpSp>
        <p:sp>
          <p:nvSpPr>
            <p:cNvPr id="247" name="Freeform 17">
              <a:extLst>
                <a:ext uri="{FF2B5EF4-FFF2-40B4-BE49-F238E27FC236}">
                  <a16:creationId xmlns:a16="http://schemas.microsoft.com/office/drawing/2014/main" id="{A96BDDB7-C171-F2DE-3FB8-6D2B12C707D5}"/>
                </a:ext>
              </a:extLst>
            </p:cNvPr>
            <p:cNvSpPr/>
            <p:nvPr/>
          </p:nvSpPr>
          <p:spPr bwMode="auto">
            <a:xfrm>
              <a:off x="6424240" y="1327930"/>
              <a:ext cx="796925" cy="1162050"/>
            </a:xfrm>
            <a:custGeom>
              <a:gdLst>
                <a:gd name="T0" fmla="*/ 189 w 292"/>
                <a:gd name="T1" fmla="*/ 426 h 426"/>
                <a:gd name="T2" fmla="*/ 140 w 292"/>
                <a:gd name="T3" fmla="*/ 35 h 426"/>
                <a:gd name="T4" fmla="*/ 44 w 292"/>
                <a:gd name="T5" fmla="*/ 21 h 426"/>
                <a:gd name="T6" fmla="*/ 40 w 292"/>
                <a:gd name="T7" fmla="*/ 139 h 426"/>
                <a:gd name="T8" fmla="*/ 189 w 292"/>
                <a:gd name="T9" fmla="*/ 426 h 426"/>
              </a:gdLst>
              <a:cxnLst>
                <a:cxn ang="0">
                  <a:pos x="T0" y="T1"/>
                </a:cxn>
                <a:cxn ang="0">
                  <a:pos x="T2" y="T3"/>
                </a:cxn>
                <a:cxn ang="0">
                  <a:pos x="T4" y="T5"/>
                </a:cxn>
                <a:cxn ang="0">
                  <a:pos x="T6" y="T7"/>
                </a:cxn>
                <a:cxn ang="0">
                  <a:pos x="T8" y="T9"/>
                </a:cxn>
              </a:cxnLst>
              <a:rect l="0" t="0" r="r" b="b"/>
              <a:pathLst>
                <a:path w="292" h="426">
                  <a:moveTo>
                    <a:pt x="189" y="426"/>
                  </a:moveTo>
                  <a:cubicBezTo>
                    <a:pt x="189" y="426"/>
                    <a:pt x="292" y="221"/>
                    <a:pt x="140" y="35"/>
                  </a:cubicBezTo>
                  <a:cubicBezTo>
                    <a:pt x="116" y="6"/>
                    <a:pt x="75" y="0"/>
                    <a:pt x="44" y="21"/>
                  </a:cubicBezTo>
                  <a:cubicBezTo>
                    <a:pt x="2" y="48"/>
                    <a:pt x="0" y="108"/>
                    <a:pt x="40" y="139"/>
                  </a:cubicBezTo>
                  <a:cubicBezTo>
                    <a:pt x="106" y="189"/>
                    <a:pt x="184" y="280"/>
                    <a:pt x="189" y="426"/>
                  </a:cubicBezTo>
                  <a:close/>
                </a:path>
              </a:pathLst>
            </a:custGeom>
            <a:solidFill>
              <a:srgbClr val="0093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48" name="Freeform 18">
              <a:extLst>
                <a:ext uri="{FF2B5EF4-FFF2-40B4-BE49-F238E27FC236}">
                  <a16:creationId xmlns:a16="http://schemas.microsoft.com/office/drawing/2014/main" id="{C2F01FEC-0A78-993D-3347-7CBF52517E18}"/>
                </a:ext>
              </a:extLst>
            </p:cNvPr>
            <p:cNvSpPr/>
            <p:nvPr/>
          </p:nvSpPr>
          <p:spPr bwMode="auto">
            <a:xfrm>
              <a:off x="6209928" y="1897842"/>
              <a:ext cx="604838" cy="547688"/>
            </a:xfrm>
            <a:custGeom>
              <a:gdLst>
                <a:gd name="T0" fmla="*/ 222 w 222"/>
                <a:gd name="T1" fmla="*/ 201 h 201"/>
                <a:gd name="T2" fmla="*/ 70 w 222"/>
                <a:gd name="T3" fmla="*/ 11 h 201"/>
                <a:gd name="T4" fmla="*/ 6 w 222"/>
                <a:gd name="T5" fmla="*/ 45 h 201"/>
                <a:gd name="T6" fmla="*/ 49 w 222"/>
                <a:gd name="T7" fmla="*/ 104 h 201"/>
                <a:gd name="T8" fmla="*/ 222 w 222"/>
                <a:gd name="T9" fmla="*/ 201 h 201"/>
              </a:gdLst>
              <a:cxnLst>
                <a:cxn ang="0">
                  <a:pos x="T0" y="T1"/>
                </a:cxn>
                <a:cxn ang="0">
                  <a:pos x="T2" y="T3"/>
                </a:cxn>
                <a:cxn ang="0">
                  <a:pos x="T4" y="T5"/>
                </a:cxn>
                <a:cxn ang="0">
                  <a:pos x="T6" y="T7"/>
                </a:cxn>
                <a:cxn ang="0">
                  <a:pos x="T8" y="T9"/>
                </a:cxn>
              </a:cxnLst>
              <a:rect l="0" t="0" r="r" b="b"/>
              <a:pathLst>
                <a:path w="221" h="201">
                  <a:moveTo>
                    <a:pt x="222" y="201"/>
                  </a:moveTo>
                  <a:cubicBezTo>
                    <a:pt x="222" y="201"/>
                    <a:pt x="206" y="64"/>
                    <a:pt x="70" y="11"/>
                  </a:cubicBezTo>
                  <a:cubicBezTo>
                    <a:pt x="43" y="0"/>
                    <a:pt x="12" y="16"/>
                    <a:pt x="6" y="45"/>
                  </a:cubicBezTo>
                  <a:cubicBezTo>
                    <a:pt x="0" y="74"/>
                    <a:pt x="20" y="101"/>
                    <a:pt x="49" y="104"/>
                  </a:cubicBezTo>
                  <a:cubicBezTo>
                    <a:pt x="92" y="107"/>
                    <a:pt x="154" y="127"/>
                    <a:pt x="222" y="201"/>
                  </a:cubicBezTo>
                  <a:close/>
                </a:path>
              </a:pathLst>
            </a:custGeom>
            <a:solidFill>
              <a:srgbClr val="006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49" name="Freeform 19">
              <a:extLst>
                <a:ext uri="{FF2B5EF4-FFF2-40B4-BE49-F238E27FC236}">
                  <a16:creationId xmlns:a16="http://schemas.microsoft.com/office/drawing/2014/main" id="{3869DB25-7979-CD4D-9FB4-F35C936DEAA9}"/>
                </a:ext>
              </a:extLst>
            </p:cNvPr>
            <p:cNvSpPr/>
            <p:nvPr/>
          </p:nvSpPr>
          <p:spPr bwMode="auto">
            <a:xfrm>
              <a:off x="7084640" y="1821642"/>
              <a:ext cx="238125" cy="509588"/>
            </a:xfrm>
            <a:custGeom>
              <a:gdLst>
                <a:gd name="T0" fmla="*/ 0 w 87"/>
                <a:gd name="T1" fmla="*/ 187 h 187"/>
                <a:gd name="T2" fmla="*/ 87 w 87"/>
                <a:gd name="T3" fmla="*/ 37 h 187"/>
                <a:gd name="T4" fmla="*/ 47 w 87"/>
                <a:gd name="T5" fmla="*/ 3 h 187"/>
                <a:gd name="T6" fmla="*/ 47 w 87"/>
                <a:gd name="T7" fmla="*/ 3 h 187"/>
                <a:gd name="T8" fmla="*/ 20 w 87"/>
                <a:gd name="T9" fmla="*/ 47 h 187"/>
                <a:gd name="T10" fmla="*/ 0 w 87"/>
                <a:gd name="T11" fmla="*/ 187 h 187"/>
              </a:gdLst>
              <a:cxnLst>
                <a:cxn ang="0">
                  <a:pos x="T0" y="T1"/>
                </a:cxn>
                <a:cxn ang="0">
                  <a:pos x="T2" y="T3"/>
                </a:cxn>
                <a:cxn ang="0">
                  <a:pos x="T4" y="T5"/>
                </a:cxn>
                <a:cxn ang="0">
                  <a:pos x="T6" y="T7"/>
                </a:cxn>
                <a:cxn ang="0">
                  <a:pos x="T8" y="T9"/>
                </a:cxn>
                <a:cxn ang="0">
                  <a:pos x="T10" y="T11"/>
                </a:cxn>
              </a:cxnLst>
              <a:rect l="0" t="0" r="r" b="b"/>
              <a:pathLst>
                <a:path w="87" h="187">
                  <a:moveTo>
                    <a:pt x="0" y="187"/>
                  </a:moveTo>
                  <a:cubicBezTo>
                    <a:pt x="0" y="187"/>
                    <a:pt x="86" y="141"/>
                    <a:pt x="87" y="37"/>
                  </a:cubicBezTo>
                  <a:cubicBezTo>
                    <a:pt x="87" y="16"/>
                    <a:pt x="68" y="0"/>
                    <a:pt x="47" y="3"/>
                  </a:cubicBezTo>
                  <a:cubicBezTo>
                    <a:pt x="47" y="3"/>
                    <a:pt x="47" y="3"/>
                    <a:pt x="47" y="3"/>
                  </a:cubicBezTo>
                  <a:cubicBezTo>
                    <a:pt x="27" y="6"/>
                    <a:pt x="14" y="27"/>
                    <a:pt x="20" y="47"/>
                  </a:cubicBezTo>
                  <a:cubicBezTo>
                    <a:pt x="29" y="76"/>
                    <a:pt x="31" y="123"/>
                    <a:pt x="0" y="187"/>
                  </a:cubicBezTo>
                  <a:close/>
                </a:path>
              </a:pathLst>
            </a:cu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63" name="Forma libre: forma 262">
              <a:extLst>
                <a:ext uri="{FF2B5EF4-FFF2-40B4-BE49-F238E27FC236}">
                  <a16:creationId xmlns:a16="http://schemas.microsoft.com/office/drawing/2014/main" id="{5008EAD0-8D00-12F6-3FE9-BA481C70D434}"/>
                </a:ext>
              </a:extLst>
            </p:cNvPr>
            <p:cNvSpPr/>
            <p:nvPr/>
          </p:nvSpPr>
          <p:spPr bwMode="auto">
            <a:xfrm>
              <a:off x="5917829" y="5164917"/>
              <a:ext cx="1396945" cy="1693082"/>
            </a:xfrm>
            <a:custGeom>
              <a:gdLst>
                <a:gd name="connsiteX0" fmla="*/ 561823 w 1396945"/>
                <a:gd name="connsiteY0" fmla="*/ 0 h 1693082"/>
                <a:gd name="connsiteX1" fmla="*/ 1071828 w 1396945"/>
                <a:gd name="connsiteY1" fmla="*/ 744694 h 1693082"/>
                <a:gd name="connsiteX2" fmla="*/ 1036373 w 1396945"/>
                <a:gd name="connsiteY2" fmla="*/ 919275 h 1693082"/>
                <a:gd name="connsiteX3" fmla="*/ 927281 w 1396945"/>
                <a:gd name="connsiteY3" fmla="*/ 992926 h 1693082"/>
                <a:gd name="connsiteX4" fmla="*/ 1299501 w 1396945"/>
                <a:gd name="connsiteY4" fmla="*/ 1547817 h 1693082"/>
                <a:gd name="connsiteX5" fmla="*/ 1396945 w 1396945"/>
                <a:gd name="connsiteY5" fmla="*/ 1693082 h 1693082"/>
                <a:gd name="connsiteX6" fmla="*/ 1143211 w 1396945"/>
                <a:gd name="connsiteY6" fmla="*/ 1693082 h 1693082"/>
                <a:gd name="connsiteX7" fmla="*/ 1129133 w 1396945"/>
                <a:gd name="connsiteY7" fmla="*/ 1671060 h 1693082"/>
                <a:gd name="connsiteX8" fmla="*/ 763643 w 1396945"/>
                <a:gd name="connsiteY8" fmla="*/ 1099310 h 1693082"/>
                <a:gd name="connsiteX9" fmla="*/ 651824 w 1396945"/>
                <a:gd name="connsiteY9" fmla="*/ 1172961 h 1693082"/>
                <a:gd name="connsiteX10" fmla="*/ 477277 w 1396945"/>
                <a:gd name="connsiteY10" fmla="*/ 1134772 h 1693082"/>
                <a:gd name="connsiteX11" fmla="*/ 0 w 1396945"/>
                <a:gd name="connsiteY11" fmla="*/ 368256 h 1693082"/>
                <a:gd name="connsiteX12" fmla="*/ 79092 w 1396945"/>
                <a:gd name="connsiteY12" fmla="*/ 316427 h 1693082"/>
                <a:gd name="connsiteX13" fmla="*/ 436368 w 1396945"/>
                <a:gd name="connsiteY13" fmla="*/ 859263 h 1693082"/>
                <a:gd name="connsiteX14" fmla="*/ 515459 w 1396945"/>
                <a:gd name="connsiteY14" fmla="*/ 810162 h 1693082"/>
                <a:gd name="connsiteX15" fmla="*/ 158183 w 1396945"/>
                <a:gd name="connsiteY15" fmla="*/ 264598 h 1693082"/>
                <a:gd name="connsiteX16" fmla="*/ 242730 w 1396945"/>
                <a:gd name="connsiteY16" fmla="*/ 210042 h 1693082"/>
                <a:gd name="connsiteX17" fmla="*/ 597278 w 1396945"/>
                <a:gd name="connsiteY17" fmla="*/ 752878 h 1693082"/>
                <a:gd name="connsiteX18" fmla="*/ 676370 w 1396945"/>
                <a:gd name="connsiteY18" fmla="*/ 703777 h 1693082"/>
                <a:gd name="connsiteX19" fmla="*/ 319094 w 1396945"/>
                <a:gd name="connsiteY19" fmla="*/ 158214 h 1693082"/>
                <a:gd name="connsiteX20" fmla="*/ 403640 w 1396945"/>
                <a:gd name="connsiteY20" fmla="*/ 103657 h 1693082"/>
                <a:gd name="connsiteX21" fmla="*/ 758189 w 1396945"/>
                <a:gd name="connsiteY21" fmla="*/ 649221 h 1693082"/>
                <a:gd name="connsiteX22" fmla="*/ 837280 w 1396945"/>
                <a:gd name="connsiteY22" fmla="*/ 597392 h 1693082"/>
                <a:gd name="connsiteX23" fmla="*/ 480004 w 1396945"/>
                <a:gd name="connsiteY23" fmla="*/ 51829 h 1693082"/>
                <a:gd name="connsiteX24" fmla="*/ 561823 w 1396945"/>
                <a:gd name="connsiteY24" fmla="*/ 0 h 169308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96945" h="1693081">
                  <a:moveTo>
                    <a:pt x="561823" y="0"/>
                  </a:moveTo>
                  <a:lnTo>
                    <a:pt x="1071828" y="744694"/>
                  </a:lnTo>
                  <a:cubicBezTo>
                    <a:pt x="1112737" y="801978"/>
                    <a:pt x="1096373" y="881085"/>
                    <a:pt x="1036373" y="919275"/>
                  </a:cubicBezTo>
                  <a:cubicBezTo>
                    <a:pt x="1036373" y="919275"/>
                    <a:pt x="1036373" y="919275"/>
                    <a:pt x="927281" y="992926"/>
                  </a:cubicBezTo>
                  <a:cubicBezTo>
                    <a:pt x="927281" y="992926"/>
                    <a:pt x="927281" y="992926"/>
                    <a:pt x="1299501" y="1547817"/>
                  </a:cubicBezTo>
                  <a:lnTo>
                    <a:pt x="1396945" y="1693082"/>
                  </a:lnTo>
                  <a:lnTo>
                    <a:pt x="1143211" y="1693082"/>
                  </a:lnTo>
                  <a:lnTo>
                    <a:pt x="1129133" y="1671060"/>
                  </a:lnTo>
                  <a:cubicBezTo>
                    <a:pt x="1023163" y="1505286"/>
                    <a:pt x="902054" y="1315831"/>
                    <a:pt x="763643" y="1099310"/>
                  </a:cubicBezTo>
                  <a:cubicBezTo>
                    <a:pt x="763643" y="1099310"/>
                    <a:pt x="763643" y="1099310"/>
                    <a:pt x="651824" y="1172961"/>
                  </a:cubicBezTo>
                  <a:cubicBezTo>
                    <a:pt x="594551" y="1211151"/>
                    <a:pt x="515459" y="1192056"/>
                    <a:pt x="477277" y="1134772"/>
                  </a:cubicBezTo>
                  <a:cubicBezTo>
                    <a:pt x="477277" y="1134772"/>
                    <a:pt x="477277" y="1134772"/>
                    <a:pt x="0" y="368256"/>
                  </a:cubicBezTo>
                  <a:cubicBezTo>
                    <a:pt x="0" y="368256"/>
                    <a:pt x="0" y="368256"/>
                    <a:pt x="79092" y="316427"/>
                  </a:cubicBezTo>
                  <a:cubicBezTo>
                    <a:pt x="79092" y="316427"/>
                    <a:pt x="79092" y="316427"/>
                    <a:pt x="436368" y="859263"/>
                  </a:cubicBezTo>
                  <a:cubicBezTo>
                    <a:pt x="436368" y="859263"/>
                    <a:pt x="436368" y="859263"/>
                    <a:pt x="515459" y="810162"/>
                  </a:cubicBezTo>
                  <a:cubicBezTo>
                    <a:pt x="515459" y="810162"/>
                    <a:pt x="515459" y="810162"/>
                    <a:pt x="158183" y="264598"/>
                  </a:cubicBezTo>
                  <a:cubicBezTo>
                    <a:pt x="158183" y="264598"/>
                    <a:pt x="158183" y="264598"/>
                    <a:pt x="242730" y="210042"/>
                  </a:cubicBezTo>
                  <a:cubicBezTo>
                    <a:pt x="242730" y="210042"/>
                    <a:pt x="242730" y="210042"/>
                    <a:pt x="597278" y="752878"/>
                  </a:cubicBezTo>
                  <a:cubicBezTo>
                    <a:pt x="597278" y="752878"/>
                    <a:pt x="597278" y="752878"/>
                    <a:pt x="676370" y="703777"/>
                  </a:cubicBezTo>
                  <a:cubicBezTo>
                    <a:pt x="676370" y="703777"/>
                    <a:pt x="676370" y="703777"/>
                    <a:pt x="319094" y="158214"/>
                  </a:cubicBezTo>
                  <a:cubicBezTo>
                    <a:pt x="319094" y="158214"/>
                    <a:pt x="319094" y="158214"/>
                    <a:pt x="403640" y="103657"/>
                  </a:cubicBezTo>
                  <a:cubicBezTo>
                    <a:pt x="403640" y="103657"/>
                    <a:pt x="403640" y="103657"/>
                    <a:pt x="758189" y="649221"/>
                  </a:cubicBezTo>
                  <a:cubicBezTo>
                    <a:pt x="758189" y="649221"/>
                    <a:pt x="758189" y="649221"/>
                    <a:pt x="837280" y="597392"/>
                  </a:cubicBezTo>
                  <a:cubicBezTo>
                    <a:pt x="837280" y="597392"/>
                    <a:pt x="837280" y="597392"/>
                    <a:pt x="480004" y="51829"/>
                  </a:cubicBezTo>
                  <a:cubicBezTo>
                    <a:pt x="480004" y="51829"/>
                    <a:pt x="480004" y="51829"/>
                    <a:pt x="561823" y="0"/>
                  </a:cubicBezTo>
                  <a:close/>
                </a:path>
              </a:pathLst>
            </a:custGeom>
            <a:solidFill>
              <a:srgbClr val="006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s-PE"/>
            </a:p>
          </p:txBody>
        </p:sp>
        <p:grpSp>
          <p:nvGrpSpPr>
            <p:cNvPr id="260" name="Grupo 259">
              <a:extLst>
                <a:ext uri="{FF2B5EF4-FFF2-40B4-BE49-F238E27FC236}">
                  <a16:creationId xmlns:a16="http://schemas.microsoft.com/office/drawing/2014/main" id="{0D83ACA8-9A87-7CA4-593A-DC1BC0E7507A}"/>
                </a:ext>
              </a:extLst>
            </p:cNvPr>
            <p:cNvGrpSpPr/>
            <p:nvPr/>
          </p:nvGrpSpPr>
          <p:grpSpPr>
            <a:xfrm>
              <a:off x="5214565" y="369080"/>
              <a:ext cx="2092325" cy="595313"/>
              <a:chOff x="6052765" y="369080"/>
              <a:chExt cx="2092325" cy="595313"/>
            </a:xfrm>
          </p:grpSpPr>
          <p:sp>
            <p:nvSpPr>
              <p:cNvPr id="252" name="Freeform 22">
                <a:extLst>
                  <a:ext uri="{FF2B5EF4-FFF2-40B4-BE49-F238E27FC236}">
                    <a16:creationId xmlns:a16="http://schemas.microsoft.com/office/drawing/2014/main" id="{A353F351-E2DF-A8C7-65E2-98EA17F32464}"/>
                  </a:ext>
                </a:extLst>
              </p:cNvPr>
              <p:cNvSpPr/>
              <p:nvPr/>
            </p:nvSpPr>
            <p:spPr bwMode="auto">
              <a:xfrm>
                <a:off x="6052765" y="369080"/>
                <a:ext cx="2092325" cy="595313"/>
              </a:xfrm>
              <a:custGeom>
                <a:gdLst>
                  <a:gd name="T0" fmla="*/ 0 w 767"/>
                  <a:gd name="T1" fmla="*/ 132 h 218"/>
                  <a:gd name="T2" fmla="*/ 403 w 767"/>
                  <a:gd name="T3" fmla="*/ 147 h 218"/>
                  <a:gd name="T4" fmla="*/ 419 w 767"/>
                  <a:gd name="T5" fmla="*/ 108 h 218"/>
                  <a:gd name="T6" fmla="*/ 750 w 767"/>
                  <a:gd name="T7" fmla="*/ 60 h 218"/>
                  <a:gd name="T8" fmla="*/ 762 w 767"/>
                  <a:gd name="T9" fmla="*/ 27 h 218"/>
                  <a:gd name="T10" fmla="*/ 740 w 767"/>
                  <a:gd name="T11" fmla="*/ 0 h 218"/>
                  <a:gd name="T12" fmla="*/ 0 w 767"/>
                  <a:gd name="T13" fmla="*/ 132 h 218"/>
                </a:gdLst>
                <a:cxnLst>
                  <a:cxn ang="0">
                    <a:pos x="T0" y="T1"/>
                  </a:cxn>
                  <a:cxn ang="0">
                    <a:pos x="T2" y="T3"/>
                  </a:cxn>
                  <a:cxn ang="0">
                    <a:pos x="T4" y="T5"/>
                  </a:cxn>
                  <a:cxn ang="0">
                    <a:pos x="T6" y="T7"/>
                  </a:cxn>
                  <a:cxn ang="0">
                    <a:pos x="T8" y="T9"/>
                  </a:cxn>
                  <a:cxn ang="0">
                    <a:pos x="T10" y="T11"/>
                  </a:cxn>
                  <a:cxn ang="0">
                    <a:pos x="T12" y="T13"/>
                  </a:cxn>
                </a:cxnLst>
                <a:rect l="0" t="0" r="r" b="b"/>
                <a:pathLst>
                  <a:path w="767" h="218">
                    <a:moveTo>
                      <a:pt x="0" y="132"/>
                    </a:moveTo>
                    <a:cubicBezTo>
                      <a:pt x="0" y="132"/>
                      <a:pt x="71" y="218"/>
                      <a:pt x="403" y="147"/>
                    </a:cubicBezTo>
                    <a:cubicBezTo>
                      <a:pt x="411" y="128"/>
                      <a:pt x="415" y="116"/>
                      <a:pt x="419" y="108"/>
                    </a:cubicBezTo>
                    <a:cubicBezTo>
                      <a:pt x="750" y="60"/>
                      <a:pt x="750" y="60"/>
                      <a:pt x="750" y="60"/>
                    </a:cubicBezTo>
                    <a:cubicBezTo>
                      <a:pt x="750" y="60"/>
                      <a:pt x="767" y="54"/>
                      <a:pt x="762" y="27"/>
                    </a:cubicBezTo>
                    <a:cubicBezTo>
                      <a:pt x="758" y="0"/>
                      <a:pt x="740" y="0"/>
                      <a:pt x="740" y="0"/>
                    </a:cubicBezTo>
                    <a:cubicBezTo>
                      <a:pt x="0" y="132"/>
                      <a:pt x="0" y="132"/>
                      <a:pt x="0" y="132"/>
                    </a:cubicBezTo>
                  </a:path>
                </a:pathLst>
              </a:custGeom>
              <a:solidFill>
                <a:srgbClr val="006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53" name="Freeform 23">
                <a:extLst>
                  <a:ext uri="{FF2B5EF4-FFF2-40B4-BE49-F238E27FC236}">
                    <a16:creationId xmlns:a16="http://schemas.microsoft.com/office/drawing/2014/main" id="{9DCFB358-1D7C-E647-7D25-11DEC5A9F807}"/>
                  </a:ext>
                </a:extLst>
              </p:cNvPr>
              <p:cNvSpPr/>
              <p:nvPr/>
            </p:nvSpPr>
            <p:spPr bwMode="auto">
              <a:xfrm>
                <a:off x="6117853" y="604030"/>
                <a:ext cx="1077913" cy="242888"/>
              </a:xfrm>
              <a:custGeom>
                <a:gdLst>
                  <a:gd name="T0" fmla="*/ 0 w 395"/>
                  <a:gd name="T1" fmla="*/ 63 h 89"/>
                  <a:gd name="T2" fmla="*/ 2 w 395"/>
                  <a:gd name="T3" fmla="*/ 64 h 89"/>
                  <a:gd name="T4" fmla="*/ 6 w 395"/>
                  <a:gd name="T5" fmla="*/ 66 h 89"/>
                  <a:gd name="T6" fmla="*/ 11 w 395"/>
                  <a:gd name="T7" fmla="*/ 68 h 89"/>
                  <a:gd name="T8" fmla="*/ 13 w 395"/>
                  <a:gd name="T9" fmla="*/ 69 h 89"/>
                  <a:gd name="T10" fmla="*/ 19 w 395"/>
                  <a:gd name="T11" fmla="*/ 71 h 89"/>
                  <a:gd name="T12" fmla="*/ 21 w 395"/>
                  <a:gd name="T13" fmla="*/ 72 h 89"/>
                  <a:gd name="T14" fmla="*/ 25 w 395"/>
                  <a:gd name="T15" fmla="*/ 73 h 89"/>
                  <a:gd name="T16" fmla="*/ 27 w 395"/>
                  <a:gd name="T17" fmla="*/ 74 h 89"/>
                  <a:gd name="T18" fmla="*/ 30 w 395"/>
                  <a:gd name="T19" fmla="*/ 74 h 89"/>
                  <a:gd name="T20" fmla="*/ 34 w 395"/>
                  <a:gd name="T21" fmla="*/ 76 h 89"/>
                  <a:gd name="T22" fmla="*/ 37 w 395"/>
                  <a:gd name="T23" fmla="*/ 76 h 89"/>
                  <a:gd name="T24" fmla="*/ 41 w 395"/>
                  <a:gd name="T25" fmla="*/ 77 h 89"/>
                  <a:gd name="T26" fmla="*/ 44 w 395"/>
                  <a:gd name="T27" fmla="*/ 78 h 89"/>
                  <a:gd name="T28" fmla="*/ 48 w 395"/>
                  <a:gd name="T29" fmla="*/ 79 h 89"/>
                  <a:gd name="T30" fmla="*/ 52 w 395"/>
                  <a:gd name="T31" fmla="*/ 80 h 89"/>
                  <a:gd name="T32" fmla="*/ 55 w 395"/>
                  <a:gd name="T33" fmla="*/ 81 h 89"/>
                  <a:gd name="T34" fmla="*/ 60 w 395"/>
                  <a:gd name="T35" fmla="*/ 82 h 89"/>
                  <a:gd name="T36" fmla="*/ 64 w 395"/>
                  <a:gd name="T37" fmla="*/ 82 h 89"/>
                  <a:gd name="T38" fmla="*/ 68 w 395"/>
                  <a:gd name="T39" fmla="*/ 83 h 89"/>
                  <a:gd name="T40" fmla="*/ 73 w 395"/>
                  <a:gd name="T41" fmla="*/ 84 h 89"/>
                  <a:gd name="T42" fmla="*/ 77 w 395"/>
                  <a:gd name="T43" fmla="*/ 84 h 89"/>
                  <a:gd name="T44" fmla="*/ 82 w 395"/>
                  <a:gd name="T45" fmla="*/ 85 h 89"/>
                  <a:gd name="T46" fmla="*/ 87 w 395"/>
                  <a:gd name="T47" fmla="*/ 86 h 89"/>
                  <a:gd name="T48" fmla="*/ 92 w 395"/>
                  <a:gd name="T49" fmla="*/ 86 h 89"/>
                  <a:gd name="T50" fmla="*/ 97 w 395"/>
                  <a:gd name="T51" fmla="*/ 87 h 89"/>
                  <a:gd name="T52" fmla="*/ 102 w 395"/>
                  <a:gd name="T53" fmla="*/ 87 h 89"/>
                  <a:gd name="T54" fmla="*/ 108 w 395"/>
                  <a:gd name="T55" fmla="*/ 88 h 89"/>
                  <a:gd name="T56" fmla="*/ 113 w 395"/>
                  <a:gd name="T57" fmla="*/ 88 h 89"/>
                  <a:gd name="T58" fmla="*/ 119 w 395"/>
                  <a:gd name="T59" fmla="*/ 88 h 89"/>
                  <a:gd name="T60" fmla="*/ 124 w 395"/>
                  <a:gd name="T61" fmla="*/ 89 h 89"/>
                  <a:gd name="T62" fmla="*/ 130 w 395"/>
                  <a:gd name="T63" fmla="*/ 89 h 89"/>
                  <a:gd name="T64" fmla="*/ 137 w 395"/>
                  <a:gd name="T65" fmla="*/ 89 h 89"/>
                  <a:gd name="T66" fmla="*/ 142 w 395"/>
                  <a:gd name="T67" fmla="*/ 89 h 89"/>
                  <a:gd name="T68" fmla="*/ 149 w 395"/>
                  <a:gd name="T69" fmla="*/ 89 h 89"/>
                  <a:gd name="T70" fmla="*/ 155 w 395"/>
                  <a:gd name="T71" fmla="*/ 89 h 89"/>
                  <a:gd name="T72" fmla="*/ 161 w 395"/>
                  <a:gd name="T73" fmla="*/ 89 h 89"/>
                  <a:gd name="T74" fmla="*/ 169 w 395"/>
                  <a:gd name="T75" fmla="*/ 89 h 89"/>
                  <a:gd name="T76" fmla="*/ 175 w 395"/>
                  <a:gd name="T77" fmla="*/ 89 h 89"/>
                  <a:gd name="T78" fmla="*/ 183 w 395"/>
                  <a:gd name="T79" fmla="*/ 88 h 89"/>
                  <a:gd name="T80" fmla="*/ 190 w 395"/>
                  <a:gd name="T81" fmla="*/ 88 h 89"/>
                  <a:gd name="T82" fmla="*/ 197 w 395"/>
                  <a:gd name="T83" fmla="*/ 88 h 89"/>
                  <a:gd name="T84" fmla="*/ 205 w 395"/>
                  <a:gd name="T85" fmla="*/ 87 h 89"/>
                  <a:gd name="T86" fmla="*/ 212 w 395"/>
                  <a:gd name="T87" fmla="*/ 87 h 89"/>
                  <a:gd name="T88" fmla="*/ 221 w 395"/>
                  <a:gd name="T89" fmla="*/ 86 h 89"/>
                  <a:gd name="T90" fmla="*/ 229 w 395"/>
                  <a:gd name="T91" fmla="*/ 85 h 89"/>
                  <a:gd name="T92" fmla="*/ 236 w 395"/>
                  <a:gd name="T93" fmla="*/ 84 h 89"/>
                  <a:gd name="T94" fmla="*/ 245 w 395"/>
                  <a:gd name="T95" fmla="*/ 83 h 89"/>
                  <a:gd name="T96" fmla="*/ 253 w 395"/>
                  <a:gd name="T97" fmla="*/ 83 h 89"/>
                  <a:gd name="T98" fmla="*/ 263 w 395"/>
                  <a:gd name="T99" fmla="*/ 81 h 89"/>
                  <a:gd name="T100" fmla="*/ 271 w 395"/>
                  <a:gd name="T101" fmla="*/ 80 h 89"/>
                  <a:gd name="T102" fmla="*/ 279 w 395"/>
                  <a:gd name="T103" fmla="*/ 79 h 89"/>
                  <a:gd name="T104" fmla="*/ 290 w 395"/>
                  <a:gd name="T105" fmla="*/ 78 h 89"/>
                  <a:gd name="T106" fmla="*/ 299 w 395"/>
                  <a:gd name="T107" fmla="*/ 76 h 89"/>
                  <a:gd name="T108" fmla="*/ 309 w 395"/>
                  <a:gd name="T109" fmla="*/ 75 h 89"/>
                  <a:gd name="T110" fmla="*/ 318 w 395"/>
                  <a:gd name="T111" fmla="*/ 73 h 89"/>
                  <a:gd name="T112" fmla="*/ 327 w 395"/>
                  <a:gd name="T113" fmla="*/ 72 h 89"/>
                  <a:gd name="T114" fmla="*/ 339 w 395"/>
                  <a:gd name="T115" fmla="*/ 69 h 89"/>
                  <a:gd name="T116" fmla="*/ 348 w 395"/>
                  <a:gd name="T117" fmla="*/ 68 h 89"/>
                  <a:gd name="T118" fmla="*/ 359 w 395"/>
                  <a:gd name="T119" fmla="*/ 65 h 89"/>
                  <a:gd name="T120" fmla="*/ 370 w 395"/>
                  <a:gd name="T121" fmla="*/ 63 h 89"/>
                  <a:gd name="T122" fmla="*/ 395 w 395"/>
                  <a:gd name="T123" fmla="*/ 22 h 8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5" h="89">
                    <a:moveTo>
                      <a:pt x="391" y="0"/>
                    </a:moveTo>
                    <a:cubicBezTo>
                      <a:pt x="0" y="63"/>
                      <a:pt x="0" y="63"/>
                      <a:pt x="0" y="63"/>
                    </a:cubicBezTo>
                    <a:cubicBezTo>
                      <a:pt x="0" y="63"/>
                      <a:pt x="1" y="63"/>
                      <a:pt x="2" y="64"/>
                    </a:cubicBezTo>
                    <a:cubicBezTo>
                      <a:pt x="2" y="64"/>
                      <a:pt x="2" y="64"/>
                      <a:pt x="2" y="64"/>
                    </a:cubicBezTo>
                    <a:cubicBezTo>
                      <a:pt x="3" y="64"/>
                      <a:pt x="5" y="65"/>
                      <a:pt x="6" y="66"/>
                    </a:cubicBezTo>
                    <a:cubicBezTo>
                      <a:pt x="6" y="66"/>
                      <a:pt x="6" y="66"/>
                      <a:pt x="6" y="66"/>
                    </a:cubicBezTo>
                    <a:cubicBezTo>
                      <a:pt x="8" y="66"/>
                      <a:pt x="9" y="67"/>
                      <a:pt x="11" y="68"/>
                    </a:cubicBezTo>
                    <a:cubicBezTo>
                      <a:pt x="11" y="68"/>
                      <a:pt x="11" y="68"/>
                      <a:pt x="11" y="68"/>
                    </a:cubicBezTo>
                    <a:cubicBezTo>
                      <a:pt x="12" y="68"/>
                      <a:pt x="12" y="68"/>
                      <a:pt x="13" y="69"/>
                    </a:cubicBezTo>
                    <a:cubicBezTo>
                      <a:pt x="13" y="69"/>
                      <a:pt x="13" y="69"/>
                      <a:pt x="13" y="69"/>
                    </a:cubicBezTo>
                    <a:cubicBezTo>
                      <a:pt x="15" y="69"/>
                      <a:pt x="17" y="70"/>
                      <a:pt x="18" y="71"/>
                    </a:cubicBezTo>
                    <a:cubicBezTo>
                      <a:pt x="19" y="71"/>
                      <a:pt x="19" y="71"/>
                      <a:pt x="19" y="71"/>
                    </a:cubicBezTo>
                    <a:cubicBezTo>
                      <a:pt x="20" y="71"/>
                      <a:pt x="20" y="71"/>
                      <a:pt x="21" y="72"/>
                    </a:cubicBezTo>
                    <a:cubicBezTo>
                      <a:pt x="21" y="72"/>
                      <a:pt x="21" y="72"/>
                      <a:pt x="21" y="72"/>
                    </a:cubicBezTo>
                    <a:cubicBezTo>
                      <a:pt x="22" y="72"/>
                      <a:pt x="23" y="72"/>
                      <a:pt x="24" y="73"/>
                    </a:cubicBezTo>
                    <a:cubicBezTo>
                      <a:pt x="25" y="73"/>
                      <a:pt x="25" y="73"/>
                      <a:pt x="25" y="73"/>
                    </a:cubicBezTo>
                    <a:cubicBezTo>
                      <a:pt x="25" y="73"/>
                      <a:pt x="26" y="73"/>
                      <a:pt x="27" y="73"/>
                    </a:cubicBezTo>
                    <a:cubicBezTo>
                      <a:pt x="27" y="74"/>
                      <a:pt x="27" y="74"/>
                      <a:pt x="27" y="74"/>
                    </a:cubicBezTo>
                    <a:cubicBezTo>
                      <a:pt x="28" y="74"/>
                      <a:pt x="29" y="74"/>
                      <a:pt x="30" y="74"/>
                    </a:cubicBezTo>
                    <a:cubicBezTo>
                      <a:pt x="30" y="74"/>
                      <a:pt x="30" y="74"/>
                      <a:pt x="30" y="74"/>
                    </a:cubicBezTo>
                    <a:cubicBezTo>
                      <a:pt x="31" y="75"/>
                      <a:pt x="32" y="75"/>
                      <a:pt x="33" y="75"/>
                    </a:cubicBezTo>
                    <a:cubicBezTo>
                      <a:pt x="34" y="76"/>
                      <a:pt x="34" y="76"/>
                      <a:pt x="34" y="76"/>
                    </a:cubicBezTo>
                    <a:cubicBezTo>
                      <a:pt x="35" y="76"/>
                      <a:pt x="36" y="76"/>
                      <a:pt x="37" y="76"/>
                    </a:cubicBezTo>
                    <a:cubicBezTo>
                      <a:pt x="37" y="76"/>
                      <a:pt x="37" y="76"/>
                      <a:pt x="37" y="76"/>
                    </a:cubicBezTo>
                    <a:cubicBezTo>
                      <a:pt x="38" y="77"/>
                      <a:pt x="39" y="77"/>
                      <a:pt x="40" y="77"/>
                    </a:cubicBezTo>
                    <a:cubicBezTo>
                      <a:pt x="41" y="77"/>
                      <a:pt x="41" y="77"/>
                      <a:pt x="41" y="77"/>
                    </a:cubicBezTo>
                    <a:cubicBezTo>
                      <a:pt x="42" y="78"/>
                      <a:pt x="43" y="78"/>
                      <a:pt x="44" y="78"/>
                    </a:cubicBezTo>
                    <a:cubicBezTo>
                      <a:pt x="44" y="78"/>
                      <a:pt x="44" y="78"/>
                      <a:pt x="44" y="78"/>
                    </a:cubicBezTo>
                    <a:cubicBezTo>
                      <a:pt x="45" y="78"/>
                      <a:pt x="46" y="79"/>
                      <a:pt x="48" y="79"/>
                    </a:cubicBezTo>
                    <a:cubicBezTo>
                      <a:pt x="48" y="79"/>
                      <a:pt x="48" y="79"/>
                      <a:pt x="48" y="79"/>
                    </a:cubicBezTo>
                    <a:cubicBezTo>
                      <a:pt x="49" y="79"/>
                      <a:pt x="50" y="80"/>
                      <a:pt x="51" y="80"/>
                    </a:cubicBezTo>
                    <a:cubicBezTo>
                      <a:pt x="52" y="80"/>
                      <a:pt x="52" y="80"/>
                      <a:pt x="52" y="80"/>
                    </a:cubicBezTo>
                    <a:cubicBezTo>
                      <a:pt x="53" y="80"/>
                      <a:pt x="54" y="80"/>
                      <a:pt x="55" y="81"/>
                    </a:cubicBezTo>
                    <a:cubicBezTo>
                      <a:pt x="55" y="81"/>
                      <a:pt x="55" y="81"/>
                      <a:pt x="55" y="81"/>
                    </a:cubicBezTo>
                    <a:cubicBezTo>
                      <a:pt x="57" y="81"/>
                      <a:pt x="58" y="81"/>
                      <a:pt x="59" y="81"/>
                    </a:cubicBezTo>
                    <a:cubicBezTo>
                      <a:pt x="60" y="82"/>
                      <a:pt x="60" y="82"/>
                      <a:pt x="60" y="82"/>
                    </a:cubicBezTo>
                    <a:cubicBezTo>
                      <a:pt x="61" y="82"/>
                      <a:pt x="62" y="82"/>
                      <a:pt x="63" y="82"/>
                    </a:cubicBezTo>
                    <a:cubicBezTo>
                      <a:pt x="64" y="82"/>
                      <a:pt x="64" y="82"/>
                      <a:pt x="64" y="82"/>
                    </a:cubicBezTo>
                    <a:cubicBezTo>
                      <a:pt x="65" y="83"/>
                      <a:pt x="66" y="83"/>
                      <a:pt x="68" y="83"/>
                    </a:cubicBezTo>
                    <a:cubicBezTo>
                      <a:pt x="68" y="83"/>
                      <a:pt x="68" y="83"/>
                      <a:pt x="68" y="83"/>
                    </a:cubicBezTo>
                    <a:cubicBezTo>
                      <a:pt x="69" y="83"/>
                      <a:pt x="71" y="83"/>
                      <a:pt x="72" y="84"/>
                    </a:cubicBezTo>
                    <a:cubicBezTo>
                      <a:pt x="72" y="84"/>
                      <a:pt x="72" y="84"/>
                      <a:pt x="73" y="84"/>
                    </a:cubicBezTo>
                    <a:cubicBezTo>
                      <a:pt x="74" y="84"/>
                      <a:pt x="75" y="84"/>
                      <a:pt x="76" y="84"/>
                    </a:cubicBezTo>
                    <a:cubicBezTo>
                      <a:pt x="77" y="84"/>
                      <a:pt x="77" y="84"/>
                      <a:pt x="77" y="84"/>
                    </a:cubicBezTo>
                    <a:cubicBezTo>
                      <a:pt x="78" y="85"/>
                      <a:pt x="80" y="85"/>
                      <a:pt x="81" y="85"/>
                    </a:cubicBezTo>
                    <a:cubicBezTo>
                      <a:pt x="82" y="85"/>
                      <a:pt x="82" y="85"/>
                      <a:pt x="82" y="85"/>
                    </a:cubicBezTo>
                    <a:cubicBezTo>
                      <a:pt x="83" y="85"/>
                      <a:pt x="84" y="85"/>
                      <a:pt x="86" y="86"/>
                    </a:cubicBezTo>
                    <a:cubicBezTo>
                      <a:pt x="86" y="86"/>
                      <a:pt x="86" y="86"/>
                      <a:pt x="87" y="86"/>
                    </a:cubicBezTo>
                    <a:cubicBezTo>
                      <a:pt x="88" y="86"/>
                      <a:pt x="90" y="86"/>
                      <a:pt x="91" y="86"/>
                    </a:cubicBezTo>
                    <a:cubicBezTo>
                      <a:pt x="92" y="86"/>
                      <a:pt x="92" y="86"/>
                      <a:pt x="92" y="86"/>
                    </a:cubicBezTo>
                    <a:cubicBezTo>
                      <a:pt x="93" y="86"/>
                      <a:pt x="94" y="86"/>
                      <a:pt x="96" y="87"/>
                    </a:cubicBezTo>
                    <a:cubicBezTo>
                      <a:pt x="96" y="87"/>
                      <a:pt x="96" y="87"/>
                      <a:pt x="97" y="87"/>
                    </a:cubicBezTo>
                    <a:cubicBezTo>
                      <a:pt x="98" y="87"/>
                      <a:pt x="100" y="87"/>
                      <a:pt x="101" y="87"/>
                    </a:cubicBezTo>
                    <a:cubicBezTo>
                      <a:pt x="102" y="87"/>
                      <a:pt x="102" y="87"/>
                      <a:pt x="102" y="87"/>
                    </a:cubicBezTo>
                    <a:cubicBezTo>
                      <a:pt x="103" y="87"/>
                      <a:pt x="105" y="87"/>
                      <a:pt x="106" y="88"/>
                    </a:cubicBezTo>
                    <a:cubicBezTo>
                      <a:pt x="107" y="88"/>
                      <a:pt x="107" y="88"/>
                      <a:pt x="108" y="88"/>
                    </a:cubicBezTo>
                    <a:cubicBezTo>
                      <a:pt x="109" y="88"/>
                      <a:pt x="110" y="88"/>
                      <a:pt x="111" y="88"/>
                    </a:cubicBezTo>
                    <a:cubicBezTo>
                      <a:pt x="112" y="88"/>
                      <a:pt x="112" y="88"/>
                      <a:pt x="113" y="88"/>
                    </a:cubicBezTo>
                    <a:cubicBezTo>
                      <a:pt x="114" y="88"/>
                      <a:pt x="116" y="88"/>
                      <a:pt x="118" y="88"/>
                    </a:cubicBezTo>
                    <a:cubicBezTo>
                      <a:pt x="119" y="88"/>
                      <a:pt x="119" y="88"/>
                      <a:pt x="119" y="88"/>
                    </a:cubicBezTo>
                    <a:cubicBezTo>
                      <a:pt x="120" y="88"/>
                      <a:pt x="121" y="88"/>
                      <a:pt x="123" y="89"/>
                    </a:cubicBezTo>
                    <a:cubicBezTo>
                      <a:pt x="123" y="89"/>
                      <a:pt x="124" y="89"/>
                      <a:pt x="124" y="89"/>
                    </a:cubicBezTo>
                    <a:cubicBezTo>
                      <a:pt x="126" y="89"/>
                      <a:pt x="127" y="89"/>
                      <a:pt x="129" y="89"/>
                    </a:cubicBezTo>
                    <a:cubicBezTo>
                      <a:pt x="130" y="89"/>
                      <a:pt x="130" y="89"/>
                      <a:pt x="130" y="89"/>
                    </a:cubicBezTo>
                    <a:cubicBezTo>
                      <a:pt x="131" y="89"/>
                      <a:pt x="133" y="89"/>
                      <a:pt x="135" y="89"/>
                    </a:cubicBezTo>
                    <a:cubicBezTo>
                      <a:pt x="135" y="89"/>
                      <a:pt x="136" y="89"/>
                      <a:pt x="137" y="89"/>
                    </a:cubicBezTo>
                    <a:cubicBezTo>
                      <a:pt x="138" y="89"/>
                      <a:pt x="139" y="89"/>
                      <a:pt x="141" y="89"/>
                    </a:cubicBezTo>
                    <a:cubicBezTo>
                      <a:pt x="141" y="89"/>
                      <a:pt x="142" y="89"/>
                      <a:pt x="142" y="89"/>
                    </a:cubicBezTo>
                    <a:cubicBezTo>
                      <a:pt x="144" y="89"/>
                      <a:pt x="146" y="89"/>
                      <a:pt x="148" y="89"/>
                    </a:cubicBezTo>
                    <a:cubicBezTo>
                      <a:pt x="148" y="89"/>
                      <a:pt x="149" y="89"/>
                      <a:pt x="149" y="89"/>
                    </a:cubicBezTo>
                    <a:cubicBezTo>
                      <a:pt x="150" y="89"/>
                      <a:pt x="152" y="89"/>
                      <a:pt x="154" y="89"/>
                    </a:cubicBezTo>
                    <a:cubicBezTo>
                      <a:pt x="154" y="89"/>
                      <a:pt x="155" y="89"/>
                      <a:pt x="155" y="89"/>
                    </a:cubicBezTo>
                    <a:cubicBezTo>
                      <a:pt x="157" y="89"/>
                      <a:pt x="159" y="89"/>
                      <a:pt x="161" y="89"/>
                    </a:cubicBezTo>
                    <a:cubicBezTo>
                      <a:pt x="161" y="89"/>
                      <a:pt x="161" y="89"/>
                      <a:pt x="161" y="89"/>
                    </a:cubicBezTo>
                    <a:cubicBezTo>
                      <a:pt x="163" y="89"/>
                      <a:pt x="165" y="89"/>
                      <a:pt x="167" y="89"/>
                    </a:cubicBezTo>
                    <a:cubicBezTo>
                      <a:pt x="168" y="89"/>
                      <a:pt x="168" y="89"/>
                      <a:pt x="169" y="89"/>
                    </a:cubicBezTo>
                    <a:cubicBezTo>
                      <a:pt x="171" y="89"/>
                      <a:pt x="172" y="89"/>
                      <a:pt x="174" y="89"/>
                    </a:cubicBezTo>
                    <a:cubicBezTo>
                      <a:pt x="174" y="89"/>
                      <a:pt x="175" y="89"/>
                      <a:pt x="175" y="89"/>
                    </a:cubicBezTo>
                    <a:cubicBezTo>
                      <a:pt x="177" y="89"/>
                      <a:pt x="179" y="89"/>
                      <a:pt x="182" y="88"/>
                    </a:cubicBezTo>
                    <a:cubicBezTo>
                      <a:pt x="182" y="88"/>
                      <a:pt x="182" y="88"/>
                      <a:pt x="183" y="88"/>
                    </a:cubicBezTo>
                    <a:cubicBezTo>
                      <a:pt x="185" y="88"/>
                      <a:pt x="186" y="88"/>
                      <a:pt x="188" y="88"/>
                    </a:cubicBezTo>
                    <a:cubicBezTo>
                      <a:pt x="189" y="88"/>
                      <a:pt x="189" y="88"/>
                      <a:pt x="190" y="88"/>
                    </a:cubicBezTo>
                    <a:cubicBezTo>
                      <a:pt x="192" y="88"/>
                      <a:pt x="194" y="88"/>
                      <a:pt x="196" y="88"/>
                    </a:cubicBezTo>
                    <a:cubicBezTo>
                      <a:pt x="197" y="88"/>
                      <a:pt x="197" y="88"/>
                      <a:pt x="197" y="88"/>
                    </a:cubicBezTo>
                    <a:cubicBezTo>
                      <a:pt x="199" y="88"/>
                      <a:pt x="201" y="87"/>
                      <a:pt x="203" y="87"/>
                    </a:cubicBezTo>
                    <a:cubicBezTo>
                      <a:pt x="204" y="87"/>
                      <a:pt x="205" y="87"/>
                      <a:pt x="205" y="87"/>
                    </a:cubicBezTo>
                    <a:cubicBezTo>
                      <a:pt x="207" y="87"/>
                      <a:pt x="209" y="87"/>
                      <a:pt x="211" y="87"/>
                    </a:cubicBezTo>
                    <a:cubicBezTo>
                      <a:pt x="211" y="87"/>
                      <a:pt x="212" y="87"/>
                      <a:pt x="212" y="87"/>
                    </a:cubicBezTo>
                    <a:cubicBezTo>
                      <a:pt x="215" y="86"/>
                      <a:pt x="217" y="86"/>
                      <a:pt x="219" y="86"/>
                    </a:cubicBezTo>
                    <a:cubicBezTo>
                      <a:pt x="220" y="86"/>
                      <a:pt x="220" y="86"/>
                      <a:pt x="221" y="86"/>
                    </a:cubicBezTo>
                    <a:cubicBezTo>
                      <a:pt x="223" y="86"/>
                      <a:pt x="225" y="86"/>
                      <a:pt x="227" y="85"/>
                    </a:cubicBezTo>
                    <a:cubicBezTo>
                      <a:pt x="227" y="85"/>
                      <a:pt x="228" y="85"/>
                      <a:pt x="229" y="85"/>
                    </a:cubicBezTo>
                    <a:cubicBezTo>
                      <a:pt x="231" y="85"/>
                      <a:pt x="233" y="85"/>
                      <a:pt x="235" y="85"/>
                    </a:cubicBezTo>
                    <a:cubicBezTo>
                      <a:pt x="236" y="84"/>
                      <a:pt x="236" y="84"/>
                      <a:pt x="236" y="84"/>
                    </a:cubicBezTo>
                    <a:cubicBezTo>
                      <a:pt x="238" y="84"/>
                      <a:pt x="241" y="84"/>
                      <a:pt x="243" y="84"/>
                    </a:cubicBezTo>
                    <a:cubicBezTo>
                      <a:pt x="244" y="84"/>
                      <a:pt x="245" y="84"/>
                      <a:pt x="245" y="83"/>
                    </a:cubicBezTo>
                    <a:cubicBezTo>
                      <a:pt x="247" y="83"/>
                      <a:pt x="249" y="83"/>
                      <a:pt x="251" y="83"/>
                    </a:cubicBezTo>
                    <a:cubicBezTo>
                      <a:pt x="252" y="83"/>
                      <a:pt x="253" y="83"/>
                      <a:pt x="253" y="83"/>
                    </a:cubicBezTo>
                    <a:cubicBezTo>
                      <a:pt x="256" y="82"/>
                      <a:pt x="258" y="82"/>
                      <a:pt x="261" y="82"/>
                    </a:cubicBezTo>
                    <a:cubicBezTo>
                      <a:pt x="262" y="82"/>
                      <a:pt x="262" y="82"/>
                      <a:pt x="263" y="81"/>
                    </a:cubicBezTo>
                    <a:cubicBezTo>
                      <a:pt x="265" y="81"/>
                      <a:pt x="267" y="81"/>
                      <a:pt x="269" y="81"/>
                    </a:cubicBezTo>
                    <a:cubicBezTo>
                      <a:pt x="270" y="81"/>
                      <a:pt x="271" y="80"/>
                      <a:pt x="271" y="80"/>
                    </a:cubicBezTo>
                    <a:cubicBezTo>
                      <a:pt x="274" y="80"/>
                      <a:pt x="276" y="80"/>
                      <a:pt x="279" y="79"/>
                    </a:cubicBezTo>
                    <a:cubicBezTo>
                      <a:pt x="279" y="79"/>
                      <a:pt x="279" y="79"/>
                      <a:pt x="279" y="79"/>
                    </a:cubicBezTo>
                    <a:cubicBezTo>
                      <a:pt x="282" y="79"/>
                      <a:pt x="285" y="78"/>
                      <a:pt x="288" y="78"/>
                    </a:cubicBezTo>
                    <a:cubicBezTo>
                      <a:pt x="288" y="78"/>
                      <a:pt x="289" y="78"/>
                      <a:pt x="290" y="78"/>
                    </a:cubicBezTo>
                    <a:cubicBezTo>
                      <a:pt x="292" y="77"/>
                      <a:pt x="294" y="77"/>
                      <a:pt x="296" y="77"/>
                    </a:cubicBezTo>
                    <a:cubicBezTo>
                      <a:pt x="297" y="77"/>
                      <a:pt x="298" y="76"/>
                      <a:pt x="299" y="76"/>
                    </a:cubicBezTo>
                    <a:cubicBezTo>
                      <a:pt x="301" y="76"/>
                      <a:pt x="304" y="75"/>
                      <a:pt x="307" y="75"/>
                    </a:cubicBezTo>
                    <a:cubicBezTo>
                      <a:pt x="308" y="75"/>
                      <a:pt x="308" y="75"/>
                      <a:pt x="309" y="75"/>
                    </a:cubicBezTo>
                    <a:cubicBezTo>
                      <a:pt x="311" y="74"/>
                      <a:pt x="313" y="74"/>
                      <a:pt x="316" y="74"/>
                    </a:cubicBezTo>
                    <a:cubicBezTo>
                      <a:pt x="317" y="73"/>
                      <a:pt x="317" y="73"/>
                      <a:pt x="318" y="73"/>
                    </a:cubicBezTo>
                    <a:cubicBezTo>
                      <a:pt x="321" y="73"/>
                      <a:pt x="324" y="72"/>
                      <a:pt x="327" y="72"/>
                    </a:cubicBezTo>
                    <a:cubicBezTo>
                      <a:pt x="327" y="72"/>
                      <a:pt x="327" y="72"/>
                      <a:pt x="327" y="72"/>
                    </a:cubicBezTo>
                    <a:cubicBezTo>
                      <a:pt x="330" y="71"/>
                      <a:pt x="333" y="71"/>
                      <a:pt x="336" y="70"/>
                    </a:cubicBezTo>
                    <a:cubicBezTo>
                      <a:pt x="337" y="70"/>
                      <a:pt x="338" y="70"/>
                      <a:pt x="339" y="69"/>
                    </a:cubicBezTo>
                    <a:cubicBezTo>
                      <a:pt x="341" y="69"/>
                      <a:pt x="344" y="69"/>
                      <a:pt x="346" y="68"/>
                    </a:cubicBezTo>
                    <a:cubicBezTo>
                      <a:pt x="347" y="68"/>
                      <a:pt x="347" y="68"/>
                      <a:pt x="348" y="68"/>
                    </a:cubicBezTo>
                    <a:cubicBezTo>
                      <a:pt x="351" y="67"/>
                      <a:pt x="354" y="67"/>
                      <a:pt x="357" y="66"/>
                    </a:cubicBezTo>
                    <a:cubicBezTo>
                      <a:pt x="358" y="66"/>
                      <a:pt x="359" y="66"/>
                      <a:pt x="359" y="65"/>
                    </a:cubicBezTo>
                    <a:cubicBezTo>
                      <a:pt x="362" y="65"/>
                      <a:pt x="364" y="64"/>
                      <a:pt x="367" y="64"/>
                    </a:cubicBezTo>
                    <a:cubicBezTo>
                      <a:pt x="368" y="64"/>
                      <a:pt x="369" y="64"/>
                      <a:pt x="370" y="63"/>
                    </a:cubicBezTo>
                    <a:cubicBezTo>
                      <a:pt x="373" y="63"/>
                      <a:pt x="376" y="62"/>
                      <a:pt x="379" y="61"/>
                    </a:cubicBezTo>
                    <a:cubicBezTo>
                      <a:pt x="387" y="42"/>
                      <a:pt x="391" y="30"/>
                      <a:pt x="395" y="22"/>
                    </a:cubicBezTo>
                    <a:lnTo>
                      <a:pt x="391" y="0"/>
                    </a:lnTo>
                    <a:close/>
                  </a:path>
                </a:pathLst>
              </a:custGeom>
              <a:solidFill>
                <a:srgbClr val="006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54" name="Freeform 24">
                <a:extLst>
                  <a:ext uri="{FF2B5EF4-FFF2-40B4-BE49-F238E27FC236}">
                    <a16:creationId xmlns:a16="http://schemas.microsoft.com/office/drawing/2014/main" id="{0D1F2064-2E55-D227-84BC-CCA62607B29F}"/>
                  </a:ext>
                </a:extLst>
              </p:cNvPr>
              <p:cNvSpPr/>
              <p:nvPr/>
            </p:nvSpPr>
            <p:spPr bwMode="auto">
              <a:xfrm>
                <a:off x="7291015" y="465917"/>
                <a:ext cx="815975" cy="152400"/>
              </a:xfrm>
              <a:custGeom>
                <a:gdLst>
                  <a:gd name="T0" fmla="*/ 278 w 299"/>
                  <a:gd name="T1" fmla="*/ 0 h 56"/>
                  <a:gd name="T2" fmla="*/ 274 w 299"/>
                  <a:gd name="T3" fmla="*/ 0 h 56"/>
                  <a:gd name="T4" fmla="*/ 21 w 299"/>
                  <a:gd name="T5" fmla="*/ 41 h 56"/>
                  <a:gd name="T6" fmla="*/ 14 w 299"/>
                  <a:gd name="T7" fmla="*/ 56 h 56"/>
                  <a:gd name="T8" fmla="*/ 20 w 299"/>
                  <a:gd name="T9" fmla="*/ 55 h 56"/>
                  <a:gd name="T10" fmla="*/ 277 w 299"/>
                  <a:gd name="T11" fmla="*/ 19 h 56"/>
                  <a:gd name="T12" fmla="*/ 278 w 299"/>
                  <a:gd name="T13" fmla="*/ 0 h 56"/>
                </a:gdLst>
                <a:cxnLst>
                  <a:cxn ang="0">
                    <a:pos x="T0" y="T1"/>
                  </a:cxn>
                  <a:cxn ang="0">
                    <a:pos x="T2" y="T3"/>
                  </a:cxn>
                  <a:cxn ang="0">
                    <a:pos x="T4" y="T5"/>
                  </a:cxn>
                  <a:cxn ang="0">
                    <a:pos x="T6" y="T7"/>
                  </a:cxn>
                  <a:cxn ang="0">
                    <a:pos x="T8" y="T9"/>
                  </a:cxn>
                  <a:cxn ang="0">
                    <a:pos x="T10" y="T11"/>
                  </a:cxn>
                  <a:cxn ang="0">
                    <a:pos x="T12" y="T13"/>
                  </a:cxn>
                </a:cxnLst>
                <a:rect l="0" t="0" r="r" b="b"/>
                <a:pathLst>
                  <a:path w="299" h="56">
                    <a:moveTo>
                      <a:pt x="278" y="0"/>
                    </a:moveTo>
                    <a:cubicBezTo>
                      <a:pt x="276" y="0"/>
                      <a:pt x="275" y="0"/>
                      <a:pt x="274" y="0"/>
                    </a:cubicBezTo>
                    <a:cubicBezTo>
                      <a:pt x="256" y="3"/>
                      <a:pt x="40" y="36"/>
                      <a:pt x="21" y="41"/>
                    </a:cubicBezTo>
                    <a:cubicBezTo>
                      <a:pt x="3" y="46"/>
                      <a:pt x="0" y="56"/>
                      <a:pt x="14" y="56"/>
                    </a:cubicBezTo>
                    <a:cubicBezTo>
                      <a:pt x="16" y="56"/>
                      <a:pt x="18" y="56"/>
                      <a:pt x="20" y="55"/>
                    </a:cubicBezTo>
                    <a:cubicBezTo>
                      <a:pt x="20" y="55"/>
                      <a:pt x="252" y="24"/>
                      <a:pt x="277" y="19"/>
                    </a:cubicBezTo>
                    <a:cubicBezTo>
                      <a:pt x="299" y="14"/>
                      <a:pt x="293" y="0"/>
                      <a:pt x="278" y="0"/>
                    </a:cubicBezTo>
                  </a:path>
                </a:pathLst>
              </a:custGeom>
              <a:solidFill>
                <a:srgbClr val="0047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grpSp>
        <p:grpSp>
          <p:nvGrpSpPr>
            <p:cNvPr id="261" name="Grupo 260">
              <a:extLst>
                <a:ext uri="{FF2B5EF4-FFF2-40B4-BE49-F238E27FC236}">
                  <a16:creationId xmlns:a16="http://schemas.microsoft.com/office/drawing/2014/main" id="{34197B2B-FBDC-D4FD-C17A-D3F43390FB74}"/>
                </a:ext>
              </a:extLst>
            </p:cNvPr>
            <p:cNvGrpSpPr/>
            <p:nvPr/>
          </p:nvGrpSpPr>
          <p:grpSpPr>
            <a:xfrm>
              <a:off x="-275010" y="-235758"/>
              <a:ext cx="1992313" cy="1620838"/>
              <a:chOff x="220290" y="-235758"/>
              <a:chExt cx="1992313" cy="1620838"/>
            </a:xfrm>
          </p:grpSpPr>
          <p:sp>
            <p:nvSpPr>
              <p:cNvPr id="255" name="Freeform 25">
                <a:extLst>
                  <a:ext uri="{FF2B5EF4-FFF2-40B4-BE49-F238E27FC236}">
                    <a16:creationId xmlns:a16="http://schemas.microsoft.com/office/drawing/2014/main" id="{5EDF9CBD-D3CE-C83B-9E76-475ED03686CD}"/>
                  </a:ext>
                </a:extLst>
              </p:cNvPr>
              <p:cNvSpPr/>
              <p:nvPr/>
            </p:nvSpPr>
            <p:spPr bwMode="auto">
              <a:xfrm>
                <a:off x="220290" y="-235758"/>
                <a:ext cx="1992313" cy="1620838"/>
              </a:xfrm>
              <a:custGeom>
                <a:gdLst>
                  <a:gd name="T0" fmla="*/ 529 w 730"/>
                  <a:gd name="T1" fmla="*/ 272 h 594"/>
                  <a:gd name="T2" fmla="*/ 529 w 730"/>
                  <a:gd name="T3" fmla="*/ 272 h 594"/>
                  <a:gd name="T4" fmla="*/ 338 w 730"/>
                  <a:gd name="T5" fmla="*/ 186 h 594"/>
                  <a:gd name="T6" fmla="*/ 29 w 730"/>
                  <a:gd name="T7" fmla="*/ 5 h 594"/>
                  <a:gd name="T8" fmla="*/ 5 w 730"/>
                  <a:gd name="T9" fmla="*/ 15 h 594"/>
                  <a:gd name="T10" fmla="*/ 5 w 730"/>
                  <a:gd name="T11" fmla="*/ 15 h 594"/>
                  <a:gd name="T12" fmla="*/ 1 w 730"/>
                  <a:gd name="T13" fmla="*/ 41 h 594"/>
                  <a:gd name="T14" fmla="*/ 257 w 730"/>
                  <a:gd name="T15" fmla="*/ 292 h 594"/>
                  <a:gd name="T16" fmla="*/ 390 w 730"/>
                  <a:gd name="T17" fmla="*/ 454 h 594"/>
                  <a:gd name="T18" fmla="*/ 390 w 730"/>
                  <a:gd name="T19" fmla="*/ 454 h 594"/>
                  <a:gd name="T20" fmla="*/ 452 w 730"/>
                  <a:gd name="T21" fmla="*/ 519 h 594"/>
                  <a:gd name="T22" fmla="*/ 687 w 730"/>
                  <a:gd name="T23" fmla="*/ 538 h 594"/>
                  <a:gd name="T24" fmla="*/ 607 w 730"/>
                  <a:gd name="T25" fmla="*/ 316 h 594"/>
                  <a:gd name="T26" fmla="*/ 529 w 730"/>
                  <a:gd name="T27" fmla="*/ 272 h 59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0" h="594">
                    <a:moveTo>
                      <a:pt x="529" y="272"/>
                    </a:moveTo>
                    <a:cubicBezTo>
                      <a:pt x="529" y="272"/>
                      <a:pt x="529" y="272"/>
                      <a:pt x="529" y="272"/>
                    </a:cubicBezTo>
                    <a:cubicBezTo>
                      <a:pt x="529" y="272"/>
                      <a:pt x="447" y="244"/>
                      <a:pt x="338" y="186"/>
                    </a:cubicBezTo>
                    <a:cubicBezTo>
                      <a:pt x="210" y="118"/>
                      <a:pt x="50" y="0"/>
                      <a:pt x="29" y="5"/>
                    </a:cubicBezTo>
                    <a:cubicBezTo>
                      <a:pt x="7" y="10"/>
                      <a:pt x="5" y="15"/>
                      <a:pt x="5" y="15"/>
                    </a:cubicBezTo>
                    <a:cubicBezTo>
                      <a:pt x="5" y="15"/>
                      <a:pt x="5" y="15"/>
                      <a:pt x="5" y="15"/>
                    </a:cubicBezTo>
                    <a:cubicBezTo>
                      <a:pt x="5" y="15"/>
                      <a:pt x="0" y="18"/>
                      <a:pt x="1" y="41"/>
                    </a:cubicBezTo>
                    <a:cubicBezTo>
                      <a:pt x="2" y="63"/>
                      <a:pt x="158" y="187"/>
                      <a:pt x="257" y="292"/>
                    </a:cubicBezTo>
                    <a:cubicBezTo>
                      <a:pt x="341" y="382"/>
                      <a:pt x="390" y="454"/>
                      <a:pt x="390" y="454"/>
                    </a:cubicBezTo>
                    <a:cubicBezTo>
                      <a:pt x="390" y="454"/>
                      <a:pt x="390" y="454"/>
                      <a:pt x="390" y="454"/>
                    </a:cubicBezTo>
                    <a:cubicBezTo>
                      <a:pt x="406" y="477"/>
                      <a:pt x="427" y="499"/>
                      <a:pt x="452" y="519"/>
                    </a:cubicBezTo>
                    <a:cubicBezTo>
                      <a:pt x="539" y="585"/>
                      <a:pt x="644" y="594"/>
                      <a:pt x="687" y="538"/>
                    </a:cubicBezTo>
                    <a:cubicBezTo>
                      <a:pt x="730" y="482"/>
                      <a:pt x="695" y="382"/>
                      <a:pt x="607" y="316"/>
                    </a:cubicBezTo>
                    <a:cubicBezTo>
                      <a:pt x="582" y="296"/>
                      <a:pt x="555" y="282"/>
                      <a:pt x="529" y="272"/>
                    </a:cubicBezTo>
                  </a:path>
                </a:pathLst>
              </a:custGeom>
              <a:solidFill>
                <a:srgbClr val="006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56" name="Freeform 26">
                <a:extLst>
                  <a:ext uri="{FF2B5EF4-FFF2-40B4-BE49-F238E27FC236}">
                    <a16:creationId xmlns:a16="http://schemas.microsoft.com/office/drawing/2014/main" id="{B204A671-2E86-1576-D261-4E18E7AC062B}"/>
                  </a:ext>
                </a:extLst>
              </p:cNvPr>
              <p:cNvSpPr>
                <a:spLocks noEditPoints="1"/>
              </p:cNvSpPr>
              <p:nvPr/>
            </p:nvSpPr>
            <p:spPr bwMode="auto">
              <a:xfrm>
                <a:off x="2095128" y="1229505"/>
                <a:ext cx="1588" cy="1588"/>
              </a:xfrm>
              <a:custGeom>
                <a:gdLst>
                  <a:gd name="T0" fmla="*/ 1 w 1"/>
                  <a:gd name="T1" fmla="*/ 1 h 1"/>
                  <a:gd name="T2" fmla="*/ 0 w 1"/>
                  <a:gd name="T3" fmla="*/ 1 h 1"/>
                  <a:gd name="T4" fmla="*/ 1 w 1"/>
                  <a:gd name="T5" fmla="*/ 1 h 1"/>
                  <a:gd name="T6" fmla="*/ 1 w 1"/>
                  <a:gd name="T7" fmla="*/ 0 h 1"/>
                  <a:gd name="T8" fmla="*/ 1 w 1"/>
                  <a:gd name="T9" fmla="*/ 1 h 1"/>
                  <a:gd name="T10" fmla="*/ 1 w 1"/>
                  <a:gd name="T11" fmla="*/ 0 h 1"/>
                  <a:gd name="T12" fmla="*/ 1 w 1"/>
                  <a:gd name="T13" fmla="*/ 0 h 1"/>
                  <a:gd name="T14" fmla="*/ 1 w 1"/>
                  <a:gd name="T15" fmla="*/ 0 h 1"/>
                  <a:gd name="T16" fmla="*/ 1 w 1"/>
                  <a:gd name="T17" fmla="*/ 0 h 1"/>
                  <a:gd name="T18" fmla="*/ 1 w 1"/>
                  <a:gd name="T19" fmla="*/ 0 h 1"/>
                  <a:gd name="T20" fmla="*/ 1 w 1"/>
                  <a:gd name="T21" fmla="*/ 0 h 1"/>
                  <a:gd name="T22" fmla="*/ 1 w 1"/>
                  <a:gd name="T23" fmla="*/ 0 h 1"/>
                  <a:gd name="T24" fmla="*/ 1 w 1"/>
                  <a:gd name="T25" fmla="*/ 0 h 1"/>
                  <a:gd name="T26" fmla="*/ 1 w 1"/>
                  <a:gd name="T27" fmla="*/ 0 h 1"/>
                  <a:gd name="T28" fmla="*/ 1 w 1"/>
                  <a:gd name="T29" fmla="*/ 0 h 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 h="1">
                    <a:moveTo>
                      <a:pt x="1" y="1"/>
                    </a:moveTo>
                    <a:cubicBezTo>
                      <a:pt x="1" y="1"/>
                      <a:pt x="0" y="1"/>
                      <a:pt x="0" y="1"/>
                    </a:cubicBezTo>
                    <a:cubicBezTo>
                      <a:pt x="0" y="1"/>
                      <a:pt x="1" y="1"/>
                      <a:pt x="1" y="1"/>
                    </a:cubicBezTo>
                    <a:moveTo>
                      <a:pt x="1" y="0"/>
                    </a:moveTo>
                    <a:cubicBezTo>
                      <a:pt x="1" y="0"/>
                      <a:pt x="1" y="0"/>
                      <a:pt x="1" y="1"/>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57" name="Freeform 27">
                <a:extLst>
                  <a:ext uri="{FF2B5EF4-FFF2-40B4-BE49-F238E27FC236}">
                    <a16:creationId xmlns:a16="http://schemas.microsoft.com/office/drawing/2014/main" id="{933B2604-09F4-59BB-3819-D87E96FDF01C}"/>
                  </a:ext>
                </a:extLst>
              </p:cNvPr>
              <p:cNvSpPr/>
              <p:nvPr/>
            </p:nvSpPr>
            <p:spPr bwMode="auto">
              <a:xfrm>
                <a:off x="518740" y="173817"/>
                <a:ext cx="1638300" cy="1158875"/>
              </a:xfrm>
              <a:custGeom>
                <a:gdLst>
                  <a:gd name="T0" fmla="*/ 54 w 601"/>
                  <a:gd name="T1" fmla="*/ 0 h 425"/>
                  <a:gd name="T2" fmla="*/ 0 w 601"/>
                  <a:gd name="T3" fmla="*/ 0 h 425"/>
                  <a:gd name="T4" fmla="*/ 148 w 601"/>
                  <a:gd name="T5" fmla="*/ 142 h 425"/>
                  <a:gd name="T6" fmla="*/ 281 w 601"/>
                  <a:gd name="T7" fmla="*/ 304 h 425"/>
                  <a:gd name="T8" fmla="*/ 281 w 601"/>
                  <a:gd name="T9" fmla="*/ 304 h 425"/>
                  <a:gd name="T10" fmla="*/ 343 w 601"/>
                  <a:gd name="T11" fmla="*/ 369 h 425"/>
                  <a:gd name="T12" fmla="*/ 492 w 601"/>
                  <a:gd name="T13" fmla="*/ 425 h 425"/>
                  <a:gd name="T14" fmla="*/ 578 w 601"/>
                  <a:gd name="T15" fmla="*/ 388 h 425"/>
                  <a:gd name="T16" fmla="*/ 578 w 601"/>
                  <a:gd name="T17" fmla="*/ 388 h 425"/>
                  <a:gd name="T18" fmla="*/ 579 w 601"/>
                  <a:gd name="T19" fmla="*/ 388 h 425"/>
                  <a:gd name="T20" fmla="*/ 579 w 601"/>
                  <a:gd name="T21" fmla="*/ 388 h 425"/>
                  <a:gd name="T22" fmla="*/ 579 w 601"/>
                  <a:gd name="T23" fmla="*/ 387 h 425"/>
                  <a:gd name="T24" fmla="*/ 579 w 601"/>
                  <a:gd name="T25" fmla="*/ 387 h 425"/>
                  <a:gd name="T26" fmla="*/ 579 w 601"/>
                  <a:gd name="T27" fmla="*/ 387 h 425"/>
                  <a:gd name="T28" fmla="*/ 579 w 601"/>
                  <a:gd name="T29" fmla="*/ 387 h 425"/>
                  <a:gd name="T30" fmla="*/ 579 w 601"/>
                  <a:gd name="T31" fmla="*/ 387 h 425"/>
                  <a:gd name="T32" fmla="*/ 579 w 601"/>
                  <a:gd name="T33" fmla="*/ 387 h 425"/>
                  <a:gd name="T34" fmla="*/ 579 w 601"/>
                  <a:gd name="T35" fmla="*/ 387 h 425"/>
                  <a:gd name="T36" fmla="*/ 587 w 601"/>
                  <a:gd name="T37" fmla="*/ 282 h 425"/>
                  <a:gd name="T38" fmla="*/ 551 w 601"/>
                  <a:gd name="T39" fmla="*/ 339 h 425"/>
                  <a:gd name="T40" fmla="*/ 488 w 601"/>
                  <a:gd name="T41" fmla="*/ 376 h 425"/>
                  <a:gd name="T42" fmla="*/ 291 w 601"/>
                  <a:gd name="T43" fmla="*/ 263 h 425"/>
                  <a:gd name="T44" fmla="*/ 54 w 601"/>
                  <a:gd name="T45" fmla="*/ 0 h 4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1" h="425">
                    <a:moveTo>
                      <a:pt x="54" y="0"/>
                    </a:moveTo>
                    <a:cubicBezTo>
                      <a:pt x="0" y="0"/>
                      <a:pt x="0" y="0"/>
                      <a:pt x="0" y="0"/>
                    </a:cubicBezTo>
                    <a:cubicBezTo>
                      <a:pt x="48" y="44"/>
                      <a:pt x="103" y="95"/>
                      <a:pt x="148" y="142"/>
                    </a:cubicBezTo>
                    <a:cubicBezTo>
                      <a:pt x="232" y="232"/>
                      <a:pt x="281" y="304"/>
                      <a:pt x="281" y="304"/>
                    </a:cubicBezTo>
                    <a:cubicBezTo>
                      <a:pt x="281" y="304"/>
                      <a:pt x="281" y="304"/>
                      <a:pt x="281" y="304"/>
                    </a:cubicBezTo>
                    <a:cubicBezTo>
                      <a:pt x="297" y="327"/>
                      <a:pt x="318" y="349"/>
                      <a:pt x="343" y="369"/>
                    </a:cubicBezTo>
                    <a:cubicBezTo>
                      <a:pt x="391" y="406"/>
                      <a:pt x="446" y="425"/>
                      <a:pt x="492" y="425"/>
                    </a:cubicBezTo>
                    <a:cubicBezTo>
                      <a:pt x="528" y="425"/>
                      <a:pt x="559" y="413"/>
                      <a:pt x="578" y="388"/>
                    </a:cubicBezTo>
                    <a:cubicBezTo>
                      <a:pt x="578" y="388"/>
                      <a:pt x="578" y="388"/>
                      <a:pt x="578" y="388"/>
                    </a:cubicBezTo>
                    <a:cubicBezTo>
                      <a:pt x="578" y="388"/>
                      <a:pt x="579" y="388"/>
                      <a:pt x="579" y="388"/>
                    </a:cubicBezTo>
                    <a:cubicBezTo>
                      <a:pt x="579" y="388"/>
                      <a:pt x="579" y="388"/>
                      <a:pt x="579" y="388"/>
                    </a:cubicBezTo>
                    <a:cubicBezTo>
                      <a:pt x="579" y="387"/>
                      <a:pt x="579" y="387"/>
                      <a:pt x="579" y="387"/>
                    </a:cubicBezTo>
                    <a:cubicBezTo>
                      <a:pt x="579" y="387"/>
                      <a:pt x="579" y="387"/>
                      <a:pt x="579" y="387"/>
                    </a:cubicBezTo>
                    <a:cubicBezTo>
                      <a:pt x="579" y="387"/>
                      <a:pt x="579" y="387"/>
                      <a:pt x="579" y="387"/>
                    </a:cubicBezTo>
                    <a:cubicBezTo>
                      <a:pt x="579" y="387"/>
                      <a:pt x="579" y="387"/>
                      <a:pt x="579" y="387"/>
                    </a:cubicBezTo>
                    <a:cubicBezTo>
                      <a:pt x="579" y="387"/>
                      <a:pt x="579" y="387"/>
                      <a:pt x="579" y="387"/>
                    </a:cubicBezTo>
                    <a:cubicBezTo>
                      <a:pt x="579" y="387"/>
                      <a:pt x="579" y="387"/>
                      <a:pt x="579" y="387"/>
                    </a:cubicBezTo>
                    <a:cubicBezTo>
                      <a:pt x="579" y="387"/>
                      <a:pt x="579" y="387"/>
                      <a:pt x="579" y="387"/>
                    </a:cubicBezTo>
                    <a:cubicBezTo>
                      <a:pt x="600" y="359"/>
                      <a:pt x="601" y="321"/>
                      <a:pt x="587" y="282"/>
                    </a:cubicBezTo>
                    <a:cubicBezTo>
                      <a:pt x="573" y="283"/>
                      <a:pt x="558" y="298"/>
                      <a:pt x="551" y="339"/>
                    </a:cubicBezTo>
                    <a:cubicBezTo>
                      <a:pt x="547" y="365"/>
                      <a:pt x="522" y="376"/>
                      <a:pt x="488" y="376"/>
                    </a:cubicBezTo>
                    <a:cubicBezTo>
                      <a:pt x="422" y="376"/>
                      <a:pt x="325" y="333"/>
                      <a:pt x="291" y="263"/>
                    </a:cubicBezTo>
                    <a:cubicBezTo>
                      <a:pt x="248" y="177"/>
                      <a:pt x="149" y="79"/>
                      <a:pt x="54" y="0"/>
                    </a:cubicBezTo>
                  </a:path>
                </a:pathLst>
              </a:custGeom>
              <a:solidFill>
                <a:srgbClr val="0047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58" name="Freeform 28">
                <a:extLst>
                  <a:ext uri="{FF2B5EF4-FFF2-40B4-BE49-F238E27FC236}">
                    <a16:creationId xmlns:a16="http://schemas.microsoft.com/office/drawing/2014/main" id="{D6D8B78D-5F03-7C9C-B340-56A87840F503}"/>
                  </a:ext>
                </a:extLst>
              </p:cNvPr>
              <p:cNvSpPr/>
              <p:nvPr/>
            </p:nvSpPr>
            <p:spPr bwMode="auto">
              <a:xfrm>
                <a:off x="1175965" y="470680"/>
                <a:ext cx="981075" cy="865188"/>
              </a:xfrm>
              <a:custGeom>
                <a:gdLst>
                  <a:gd name="T0" fmla="*/ 249 w 360"/>
                  <a:gd name="T1" fmla="*/ 67 h 317"/>
                  <a:gd name="T2" fmla="*/ 321 w 360"/>
                  <a:gd name="T3" fmla="*/ 266 h 317"/>
                  <a:gd name="T4" fmla="*/ 110 w 360"/>
                  <a:gd name="T5" fmla="*/ 249 h 317"/>
                  <a:gd name="T6" fmla="*/ 39 w 360"/>
                  <a:gd name="T7" fmla="*/ 50 h 317"/>
                  <a:gd name="T8" fmla="*/ 249 w 360"/>
                  <a:gd name="T9" fmla="*/ 67 h 317"/>
                </a:gdLst>
                <a:cxnLst>
                  <a:cxn ang="0">
                    <a:pos x="T0" y="T1"/>
                  </a:cxn>
                  <a:cxn ang="0">
                    <a:pos x="T2" y="T3"/>
                  </a:cxn>
                  <a:cxn ang="0">
                    <a:pos x="T4" y="T5"/>
                  </a:cxn>
                  <a:cxn ang="0">
                    <a:pos x="T6" y="T7"/>
                  </a:cxn>
                  <a:cxn ang="0">
                    <a:pos x="T8" y="T9"/>
                  </a:cxn>
                </a:cxnLst>
                <a:rect l="0" t="0" r="r" b="b"/>
                <a:pathLst>
                  <a:path w="360" h="317">
                    <a:moveTo>
                      <a:pt x="249" y="67"/>
                    </a:moveTo>
                    <a:cubicBezTo>
                      <a:pt x="328" y="127"/>
                      <a:pt x="360" y="216"/>
                      <a:pt x="321" y="266"/>
                    </a:cubicBezTo>
                    <a:cubicBezTo>
                      <a:pt x="283" y="317"/>
                      <a:pt x="188" y="309"/>
                      <a:pt x="110" y="249"/>
                    </a:cubicBezTo>
                    <a:cubicBezTo>
                      <a:pt x="32" y="189"/>
                      <a:pt x="0" y="100"/>
                      <a:pt x="39" y="50"/>
                    </a:cubicBezTo>
                    <a:cubicBezTo>
                      <a:pt x="77" y="0"/>
                      <a:pt x="171" y="8"/>
                      <a:pt x="249" y="67"/>
                    </a:cubicBezTo>
                    <a:close/>
                  </a:path>
                </a:pathLst>
              </a:custGeom>
              <a:solidFill>
                <a:srgbClr val="EAE7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59" name="Freeform 29">
                <a:extLst>
                  <a:ext uri="{FF2B5EF4-FFF2-40B4-BE49-F238E27FC236}">
                    <a16:creationId xmlns:a16="http://schemas.microsoft.com/office/drawing/2014/main" id="{B27C6A93-8668-DBF7-01DF-666EFE1FA023}"/>
                  </a:ext>
                </a:extLst>
              </p:cNvPr>
              <p:cNvSpPr/>
              <p:nvPr/>
            </p:nvSpPr>
            <p:spPr bwMode="auto">
              <a:xfrm>
                <a:off x="1325190" y="599267"/>
                <a:ext cx="703263" cy="622300"/>
              </a:xfrm>
              <a:custGeom>
                <a:gdLst>
                  <a:gd name="T0" fmla="*/ 179 w 258"/>
                  <a:gd name="T1" fmla="*/ 49 h 228"/>
                  <a:gd name="T2" fmla="*/ 230 w 258"/>
                  <a:gd name="T3" fmla="*/ 192 h 228"/>
                  <a:gd name="T4" fmla="*/ 79 w 258"/>
                  <a:gd name="T5" fmla="*/ 179 h 228"/>
                  <a:gd name="T6" fmla="*/ 27 w 258"/>
                  <a:gd name="T7" fmla="*/ 36 h 228"/>
                  <a:gd name="T8" fmla="*/ 179 w 258"/>
                  <a:gd name="T9" fmla="*/ 49 h 228"/>
                </a:gdLst>
                <a:cxnLst>
                  <a:cxn ang="0">
                    <a:pos x="T0" y="T1"/>
                  </a:cxn>
                  <a:cxn ang="0">
                    <a:pos x="T2" y="T3"/>
                  </a:cxn>
                  <a:cxn ang="0">
                    <a:pos x="T4" y="T5"/>
                  </a:cxn>
                  <a:cxn ang="0">
                    <a:pos x="T6" y="T7"/>
                  </a:cxn>
                  <a:cxn ang="0">
                    <a:pos x="T8" y="T9"/>
                  </a:cxn>
                </a:cxnLst>
                <a:rect l="0" t="0" r="r" b="b"/>
                <a:pathLst>
                  <a:path w="258" h="228">
                    <a:moveTo>
                      <a:pt x="179" y="49"/>
                    </a:moveTo>
                    <a:cubicBezTo>
                      <a:pt x="235" y="92"/>
                      <a:pt x="258" y="156"/>
                      <a:pt x="230" y="192"/>
                    </a:cubicBezTo>
                    <a:cubicBezTo>
                      <a:pt x="202" y="228"/>
                      <a:pt x="135" y="222"/>
                      <a:pt x="79" y="179"/>
                    </a:cubicBezTo>
                    <a:cubicBezTo>
                      <a:pt x="23" y="136"/>
                      <a:pt x="0" y="72"/>
                      <a:pt x="27" y="36"/>
                    </a:cubicBezTo>
                    <a:cubicBezTo>
                      <a:pt x="55" y="0"/>
                      <a:pt x="123" y="6"/>
                      <a:pt x="179" y="49"/>
                    </a:cubicBezTo>
                    <a:close/>
                  </a:path>
                </a:pathLst>
              </a:custGeom>
              <a:solidFill>
                <a:srgbClr val="FFFE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grpSp>
        <p:grpSp>
          <p:nvGrpSpPr>
            <p:cNvPr id="264" name="Group 32">
              <a:extLst>
                <a:ext uri="{FF2B5EF4-FFF2-40B4-BE49-F238E27FC236}">
                  <a16:creationId xmlns:a16="http://schemas.microsoft.com/office/drawing/2014/main" id="{FAC7FCF1-E961-EC04-EC7F-EF0FCC36FAF5}"/>
                </a:ext>
              </a:extLst>
            </p:cNvPr>
            <p:cNvGrpSpPr>
              <a:grpSpLocks noChangeAspect="1"/>
            </p:cNvGrpSpPr>
            <p:nvPr/>
          </p:nvGrpSpPr>
          <p:grpSpPr>
            <a:xfrm>
              <a:off x="249222" y="421501"/>
              <a:ext cx="6820420" cy="5864104"/>
              <a:chOff x="1212" y="0"/>
              <a:chExt cx="5242" cy="4507"/>
            </a:xfrm>
          </p:grpSpPr>
          <p:sp>
            <p:nvSpPr>
              <p:cNvPr id="265" name="Oval 33">
                <a:extLst>
                  <a:ext uri="{FF2B5EF4-FFF2-40B4-BE49-F238E27FC236}">
                    <a16:creationId xmlns:a16="http://schemas.microsoft.com/office/drawing/2014/main" id="{D0973210-4DD0-4CC4-F9F0-6BC9F01CA5DE}"/>
                  </a:ext>
                </a:extLst>
              </p:cNvPr>
              <p:cNvSpPr>
                <a:spLocks noChangeArrowheads="1"/>
              </p:cNvSpPr>
              <p:nvPr/>
            </p:nvSpPr>
            <p:spPr bwMode="auto">
              <a:xfrm>
                <a:off x="2688" y="80"/>
                <a:ext cx="60" cy="291"/>
              </a:xfrm>
              <a:prstGeom prst="ellipse">
                <a:avLst/>
              </a:pr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66" name="Oval 34">
                <a:extLst>
                  <a:ext uri="{FF2B5EF4-FFF2-40B4-BE49-F238E27FC236}">
                    <a16:creationId xmlns:a16="http://schemas.microsoft.com/office/drawing/2014/main" id="{6B709092-9E1D-5F79-A302-065A84391851}"/>
                  </a:ext>
                </a:extLst>
              </p:cNvPr>
              <p:cNvSpPr>
                <a:spLocks noChangeArrowheads="1"/>
              </p:cNvSpPr>
              <p:nvPr/>
            </p:nvSpPr>
            <p:spPr bwMode="auto">
              <a:xfrm>
                <a:off x="2571" y="197"/>
                <a:ext cx="292" cy="59"/>
              </a:xfrm>
              <a:prstGeom prst="ellipse">
                <a:avLst/>
              </a:pr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67" name="Oval 35">
                <a:extLst>
                  <a:ext uri="{FF2B5EF4-FFF2-40B4-BE49-F238E27FC236}">
                    <a16:creationId xmlns:a16="http://schemas.microsoft.com/office/drawing/2014/main" id="{7BA6104A-B1AA-8285-13B8-8F3ACDBEC34F}"/>
                  </a:ext>
                </a:extLst>
              </p:cNvPr>
              <p:cNvSpPr>
                <a:spLocks noChangeArrowheads="1"/>
              </p:cNvSpPr>
              <p:nvPr/>
            </p:nvSpPr>
            <p:spPr bwMode="auto">
              <a:xfrm>
                <a:off x="2688" y="80"/>
                <a:ext cx="60" cy="291"/>
              </a:xfrm>
              <a:prstGeom prst="ellipse">
                <a:avLst/>
              </a:pr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68" name="Oval 36">
                <a:extLst>
                  <a:ext uri="{FF2B5EF4-FFF2-40B4-BE49-F238E27FC236}">
                    <a16:creationId xmlns:a16="http://schemas.microsoft.com/office/drawing/2014/main" id="{2B313C8C-2FD4-954F-33CE-E7FCC775070B}"/>
                  </a:ext>
                </a:extLst>
              </p:cNvPr>
              <p:cNvSpPr>
                <a:spLocks noChangeArrowheads="1"/>
              </p:cNvSpPr>
              <p:nvPr/>
            </p:nvSpPr>
            <p:spPr bwMode="auto">
              <a:xfrm>
                <a:off x="2571" y="197"/>
                <a:ext cx="292" cy="59"/>
              </a:xfrm>
              <a:prstGeom prst="ellipse">
                <a:avLst/>
              </a:pr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69" name="Oval 37">
                <a:extLst>
                  <a:ext uri="{FF2B5EF4-FFF2-40B4-BE49-F238E27FC236}">
                    <a16:creationId xmlns:a16="http://schemas.microsoft.com/office/drawing/2014/main" id="{151C6981-3FF4-B66F-5B29-D6A1DCA31C27}"/>
                  </a:ext>
                </a:extLst>
              </p:cNvPr>
              <p:cNvSpPr>
                <a:spLocks noChangeArrowheads="1"/>
              </p:cNvSpPr>
              <p:nvPr/>
            </p:nvSpPr>
            <p:spPr bwMode="auto">
              <a:xfrm>
                <a:off x="6300" y="2847"/>
                <a:ext cx="51" cy="257"/>
              </a:xfrm>
              <a:prstGeom prst="ellipse">
                <a:avLst/>
              </a:prstGeom>
              <a:solidFill>
                <a:srgbClr val="006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70" name="Oval 38">
                <a:extLst>
                  <a:ext uri="{FF2B5EF4-FFF2-40B4-BE49-F238E27FC236}">
                    <a16:creationId xmlns:a16="http://schemas.microsoft.com/office/drawing/2014/main" id="{9406813F-FBE1-D6ED-A622-38D46A9DBDEB}"/>
                  </a:ext>
                </a:extLst>
              </p:cNvPr>
              <p:cNvSpPr>
                <a:spLocks noChangeArrowheads="1"/>
              </p:cNvSpPr>
              <p:nvPr/>
            </p:nvSpPr>
            <p:spPr bwMode="auto">
              <a:xfrm>
                <a:off x="6198" y="2948"/>
                <a:ext cx="256" cy="53"/>
              </a:xfrm>
              <a:prstGeom prst="ellipse">
                <a:avLst/>
              </a:prstGeom>
              <a:solidFill>
                <a:srgbClr val="006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71" name="Oval 39">
                <a:extLst>
                  <a:ext uri="{FF2B5EF4-FFF2-40B4-BE49-F238E27FC236}">
                    <a16:creationId xmlns:a16="http://schemas.microsoft.com/office/drawing/2014/main" id="{BA6247B2-3110-8B44-D59A-1BF6151305F2}"/>
                  </a:ext>
                </a:extLst>
              </p:cNvPr>
              <p:cNvSpPr>
                <a:spLocks noChangeArrowheads="1"/>
              </p:cNvSpPr>
              <p:nvPr/>
            </p:nvSpPr>
            <p:spPr bwMode="auto">
              <a:xfrm>
                <a:off x="1456" y="2847"/>
                <a:ext cx="53" cy="257"/>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72" name="Oval 40">
                <a:extLst>
                  <a:ext uri="{FF2B5EF4-FFF2-40B4-BE49-F238E27FC236}">
                    <a16:creationId xmlns:a16="http://schemas.microsoft.com/office/drawing/2014/main" id="{1FB9D438-4358-AC98-1A23-C51F2D9F74CD}"/>
                  </a:ext>
                </a:extLst>
              </p:cNvPr>
              <p:cNvSpPr>
                <a:spLocks noChangeArrowheads="1"/>
              </p:cNvSpPr>
              <p:nvPr/>
            </p:nvSpPr>
            <p:spPr bwMode="auto">
              <a:xfrm>
                <a:off x="1355" y="2948"/>
                <a:ext cx="256" cy="53"/>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73" name="Oval 41">
                <a:extLst>
                  <a:ext uri="{FF2B5EF4-FFF2-40B4-BE49-F238E27FC236}">
                    <a16:creationId xmlns:a16="http://schemas.microsoft.com/office/drawing/2014/main" id="{3BA1C18D-E7AE-81A0-C63C-C9E342E31FFB}"/>
                  </a:ext>
                </a:extLst>
              </p:cNvPr>
              <p:cNvSpPr>
                <a:spLocks noChangeArrowheads="1"/>
              </p:cNvSpPr>
              <p:nvPr/>
            </p:nvSpPr>
            <p:spPr bwMode="auto">
              <a:xfrm>
                <a:off x="5258" y="1485"/>
                <a:ext cx="47" cy="226"/>
              </a:xfrm>
              <a:prstGeom prst="ellipse">
                <a:avLst/>
              </a:pr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74" name="Oval 42">
                <a:extLst>
                  <a:ext uri="{FF2B5EF4-FFF2-40B4-BE49-F238E27FC236}">
                    <a16:creationId xmlns:a16="http://schemas.microsoft.com/office/drawing/2014/main" id="{C6D6062D-10C7-60BC-EED6-757574725DC7}"/>
                  </a:ext>
                </a:extLst>
              </p:cNvPr>
              <p:cNvSpPr>
                <a:spLocks noChangeArrowheads="1"/>
              </p:cNvSpPr>
              <p:nvPr/>
            </p:nvSpPr>
            <p:spPr bwMode="auto">
              <a:xfrm>
                <a:off x="5168" y="1573"/>
                <a:ext cx="226" cy="48"/>
              </a:xfrm>
              <a:prstGeom prst="ellipse">
                <a:avLst/>
              </a:pr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75" name="Freeform 43">
                <a:extLst>
                  <a:ext uri="{FF2B5EF4-FFF2-40B4-BE49-F238E27FC236}">
                    <a16:creationId xmlns:a16="http://schemas.microsoft.com/office/drawing/2014/main" id="{02B1F0F7-7554-2470-6537-70A6DC348ADB}"/>
                  </a:ext>
                </a:extLst>
              </p:cNvPr>
              <p:cNvSpPr/>
              <p:nvPr/>
            </p:nvSpPr>
            <p:spPr bwMode="auto">
              <a:xfrm>
                <a:off x="2276" y="759"/>
                <a:ext cx="193" cy="209"/>
              </a:xfrm>
              <a:custGeom>
                <a:gdLst>
                  <a:gd name="T0" fmla="*/ 193 w 193"/>
                  <a:gd name="T1" fmla="*/ 84 h 209"/>
                  <a:gd name="T2" fmla="*/ 109 w 193"/>
                  <a:gd name="T3" fmla="*/ 148 h 209"/>
                  <a:gd name="T4" fmla="*/ 23 w 193"/>
                  <a:gd name="T5" fmla="*/ 209 h 209"/>
                  <a:gd name="T6" fmla="*/ 12 w 193"/>
                  <a:gd name="T7" fmla="*/ 105 h 209"/>
                  <a:gd name="T8" fmla="*/ 0 w 193"/>
                  <a:gd name="T9" fmla="*/ 0 h 209"/>
                  <a:gd name="T10" fmla="*/ 96 w 193"/>
                  <a:gd name="T11" fmla="*/ 43 h 209"/>
                  <a:gd name="T12" fmla="*/ 193 w 193"/>
                  <a:gd name="T13" fmla="*/ 84 h 209"/>
                </a:gdLst>
                <a:cxnLst>
                  <a:cxn ang="0">
                    <a:pos x="T0" y="T1"/>
                  </a:cxn>
                  <a:cxn ang="0">
                    <a:pos x="T2" y="T3"/>
                  </a:cxn>
                  <a:cxn ang="0">
                    <a:pos x="T4" y="T5"/>
                  </a:cxn>
                  <a:cxn ang="0">
                    <a:pos x="T6" y="T7"/>
                  </a:cxn>
                  <a:cxn ang="0">
                    <a:pos x="T8" y="T9"/>
                  </a:cxn>
                  <a:cxn ang="0">
                    <a:pos x="T10" y="T11"/>
                  </a:cxn>
                  <a:cxn ang="0">
                    <a:pos x="T12" y="T13"/>
                  </a:cxn>
                </a:cxnLst>
                <a:rect l="0" t="0" r="r" b="b"/>
                <a:pathLst>
                  <a:path w="193" h="209">
                    <a:moveTo>
                      <a:pt x="193" y="84"/>
                    </a:moveTo>
                    <a:lnTo>
                      <a:pt x="109" y="148"/>
                    </a:lnTo>
                    <a:lnTo>
                      <a:pt x="23" y="209"/>
                    </a:lnTo>
                    <a:lnTo>
                      <a:pt x="12" y="105"/>
                    </a:lnTo>
                    <a:lnTo>
                      <a:pt x="0" y="0"/>
                    </a:lnTo>
                    <a:lnTo>
                      <a:pt x="96" y="43"/>
                    </a:lnTo>
                    <a:lnTo>
                      <a:pt x="193" y="84"/>
                    </a:lnTo>
                    <a:close/>
                  </a:path>
                </a:pathLst>
              </a:custGeom>
              <a:solidFill>
                <a:srgbClr val="006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76" name="Freeform 44">
                <a:extLst>
                  <a:ext uri="{FF2B5EF4-FFF2-40B4-BE49-F238E27FC236}">
                    <a16:creationId xmlns:a16="http://schemas.microsoft.com/office/drawing/2014/main" id="{AC22F684-20EF-6A6D-D23B-82223C7D2789}"/>
                  </a:ext>
                </a:extLst>
              </p:cNvPr>
              <p:cNvSpPr/>
              <p:nvPr/>
            </p:nvSpPr>
            <p:spPr bwMode="auto">
              <a:xfrm>
                <a:off x="4501" y="0"/>
                <a:ext cx="99" cy="105"/>
              </a:xfrm>
              <a:custGeom>
                <a:gdLst>
                  <a:gd name="T0" fmla="*/ 99 w 99"/>
                  <a:gd name="T1" fmla="*/ 105 h 105"/>
                  <a:gd name="T2" fmla="*/ 50 w 99"/>
                  <a:gd name="T3" fmla="*/ 84 h 105"/>
                  <a:gd name="T4" fmla="*/ 0 w 99"/>
                  <a:gd name="T5" fmla="*/ 66 h 105"/>
                  <a:gd name="T6" fmla="*/ 44 w 99"/>
                  <a:gd name="T7" fmla="*/ 33 h 105"/>
                  <a:gd name="T8" fmla="*/ 85 w 99"/>
                  <a:gd name="T9" fmla="*/ 0 h 105"/>
                  <a:gd name="T10" fmla="*/ 93 w 99"/>
                  <a:gd name="T11" fmla="*/ 51 h 105"/>
                  <a:gd name="T12" fmla="*/ 99 w 99"/>
                  <a:gd name="T13" fmla="*/ 105 h 105"/>
                </a:gdLst>
                <a:cxnLst>
                  <a:cxn ang="0">
                    <a:pos x="T0" y="T1"/>
                  </a:cxn>
                  <a:cxn ang="0">
                    <a:pos x="T2" y="T3"/>
                  </a:cxn>
                  <a:cxn ang="0">
                    <a:pos x="T4" y="T5"/>
                  </a:cxn>
                  <a:cxn ang="0">
                    <a:pos x="T6" y="T7"/>
                  </a:cxn>
                  <a:cxn ang="0">
                    <a:pos x="T8" y="T9"/>
                  </a:cxn>
                  <a:cxn ang="0">
                    <a:pos x="T10" y="T11"/>
                  </a:cxn>
                  <a:cxn ang="0">
                    <a:pos x="T12" y="T13"/>
                  </a:cxn>
                </a:cxnLst>
                <a:rect l="0" t="0" r="r" b="b"/>
                <a:pathLst>
                  <a:path w="99" h="105">
                    <a:moveTo>
                      <a:pt x="99" y="105"/>
                    </a:moveTo>
                    <a:lnTo>
                      <a:pt x="50" y="84"/>
                    </a:lnTo>
                    <a:lnTo>
                      <a:pt x="0" y="66"/>
                    </a:lnTo>
                    <a:lnTo>
                      <a:pt x="44" y="33"/>
                    </a:lnTo>
                    <a:lnTo>
                      <a:pt x="85" y="0"/>
                    </a:lnTo>
                    <a:lnTo>
                      <a:pt x="93" y="51"/>
                    </a:lnTo>
                    <a:lnTo>
                      <a:pt x="99" y="105"/>
                    </a:lnTo>
                    <a:close/>
                  </a:path>
                </a:pathLst>
              </a:cu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77" name="Freeform 45">
                <a:extLst>
                  <a:ext uri="{FF2B5EF4-FFF2-40B4-BE49-F238E27FC236}">
                    <a16:creationId xmlns:a16="http://schemas.microsoft.com/office/drawing/2014/main" id="{205690A1-27AD-AC75-F310-98A8CFF918E2}"/>
                  </a:ext>
                </a:extLst>
              </p:cNvPr>
              <p:cNvSpPr/>
              <p:nvPr/>
            </p:nvSpPr>
            <p:spPr bwMode="auto">
              <a:xfrm>
                <a:off x="5213" y="3879"/>
                <a:ext cx="211" cy="191"/>
              </a:xfrm>
              <a:custGeom>
                <a:gdLst>
                  <a:gd name="T0" fmla="*/ 211 w 211"/>
                  <a:gd name="T1" fmla="*/ 0 h 191"/>
                  <a:gd name="T2" fmla="*/ 166 w 211"/>
                  <a:gd name="T3" fmla="*/ 96 h 191"/>
                  <a:gd name="T4" fmla="*/ 121 w 211"/>
                  <a:gd name="T5" fmla="*/ 191 h 191"/>
                  <a:gd name="T6" fmla="*/ 62 w 211"/>
                  <a:gd name="T7" fmla="*/ 105 h 191"/>
                  <a:gd name="T8" fmla="*/ 0 w 211"/>
                  <a:gd name="T9" fmla="*/ 18 h 191"/>
                  <a:gd name="T10" fmla="*/ 107 w 211"/>
                  <a:gd name="T11" fmla="*/ 8 h 191"/>
                  <a:gd name="T12" fmla="*/ 211 w 211"/>
                  <a:gd name="T13" fmla="*/ 0 h 191"/>
                </a:gdLst>
                <a:cxnLst>
                  <a:cxn ang="0">
                    <a:pos x="T0" y="T1"/>
                  </a:cxn>
                  <a:cxn ang="0">
                    <a:pos x="T2" y="T3"/>
                  </a:cxn>
                  <a:cxn ang="0">
                    <a:pos x="T4" y="T5"/>
                  </a:cxn>
                  <a:cxn ang="0">
                    <a:pos x="T6" y="T7"/>
                  </a:cxn>
                  <a:cxn ang="0">
                    <a:pos x="T8" y="T9"/>
                  </a:cxn>
                  <a:cxn ang="0">
                    <a:pos x="T10" y="T11"/>
                  </a:cxn>
                  <a:cxn ang="0">
                    <a:pos x="T12" y="T13"/>
                  </a:cxn>
                </a:cxnLst>
                <a:rect l="0" t="0" r="r" b="b"/>
                <a:pathLst>
                  <a:path w="211" h="191">
                    <a:moveTo>
                      <a:pt x="211" y="0"/>
                    </a:moveTo>
                    <a:lnTo>
                      <a:pt x="166" y="96"/>
                    </a:lnTo>
                    <a:lnTo>
                      <a:pt x="121" y="191"/>
                    </a:lnTo>
                    <a:lnTo>
                      <a:pt x="62" y="105"/>
                    </a:lnTo>
                    <a:lnTo>
                      <a:pt x="0" y="18"/>
                    </a:lnTo>
                    <a:lnTo>
                      <a:pt x="107" y="8"/>
                    </a:lnTo>
                    <a:lnTo>
                      <a:pt x="211" y="0"/>
                    </a:lnTo>
                    <a:close/>
                  </a:path>
                </a:pathLst>
              </a:cu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78" name="Oval 46">
                <a:extLst>
                  <a:ext uri="{FF2B5EF4-FFF2-40B4-BE49-F238E27FC236}">
                    <a16:creationId xmlns:a16="http://schemas.microsoft.com/office/drawing/2014/main" id="{AA96C6E2-AEC2-7B0F-BEA4-689B34C20DCD}"/>
                  </a:ext>
                </a:extLst>
              </p:cNvPr>
              <p:cNvSpPr>
                <a:spLocks noChangeArrowheads="1"/>
              </p:cNvSpPr>
              <p:nvPr/>
            </p:nvSpPr>
            <p:spPr bwMode="auto">
              <a:xfrm>
                <a:off x="1230" y="888"/>
                <a:ext cx="150" cy="150"/>
              </a:xfrm>
              <a:prstGeom prst="ellipse">
                <a:avLst/>
              </a:prstGeom>
              <a:solidFill>
                <a:srgbClr val="006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79" name="Oval 47">
                <a:extLst>
                  <a:ext uri="{FF2B5EF4-FFF2-40B4-BE49-F238E27FC236}">
                    <a16:creationId xmlns:a16="http://schemas.microsoft.com/office/drawing/2014/main" id="{046D9934-0D57-8099-3C5E-D04FEA0B5456}"/>
                  </a:ext>
                </a:extLst>
              </p:cNvPr>
              <p:cNvSpPr>
                <a:spLocks noChangeArrowheads="1"/>
              </p:cNvSpPr>
              <p:nvPr/>
            </p:nvSpPr>
            <p:spPr bwMode="auto">
              <a:xfrm>
                <a:off x="5878" y="3237"/>
                <a:ext cx="149" cy="150"/>
              </a:xfrm>
              <a:prstGeom prst="ellipse">
                <a:avLst/>
              </a:prstGeom>
              <a:solidFill>
                <a:srgbClr val="006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80" name="Oval 48">
                <a:extLst>
                  <a:ext uri="{FF2B5EF4-FFF2-40B4-BE49-F238E27FC236}">
                    <a16:creationId xmlns:a16="http://schemas.microsoft.com/office/drawing/2014/main" id="{C8A17543-74C2-6DA1-F896-CA783CA5AFE4}"/>
                  </a:ext>
                </a:extLst>
              </p:cNvPr>
              <p:cNvSpPr>
                <a:spLocks noChangeArrowheads="1"/>
              </p:cNvSpPr>
              <p:nvPr/>
            </p:nvSpPr>
            <p:spPr bwMode="auto">
              <a:xfrm>
                <a:off x="1884" y="3200"/>
                <a:ext cx="113" cy="113"/>
              </a:xfrm>
              <a:prstGeom prst="ellipse">
                <a:avLst/>
              </a:pr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81" name="Freeform 49">
                <a:extLst>
                  <a:ext uri="{FF2B5EF4-FFF2-40B4-BE49-F238E27FC236}">
                    <a16:creationId xmlns:a16="http://schemas.microsoft.com/office/drawing/2014/main" id="{5772E13C-6EC1-D7BD-0BAE-7C1CF1799D2F}"/>
                  </a:ext>
                </a:extLst>
              </p:cNvPr>
              <p:cNvSpPr/>
              <p:nvPr/>
            </p:nvSpPr>
            <p:spPr bwMode="auto">
              <a:xfrm>
                <a:off x="1212" y="3422"/>
                <a:ext cx="1124" cy="1085"/>
              </a:xfrm>
              <a:custGeom>
                <a:gdLst>
                  <a:gd name="T0" fmla="*/ 512 w 548"/>
                  <a:gd name="T1" fmla="*/ 256 h 529"/>
                  <a:gd name="T2" fmla="*/ 443 w 548"/>
                  <a:gd name="T3" fmla="*/ 187 h 529"/>
                  <a:gd name="T4" fmla="*/ 325 w 548"/>
                  <a:gd name="T5" fmla="*/ 84 h 529"/>
                  <a:gd name="T6" fmla="*/ 248 w 548"/>
                  <a:gd name="T7" fmla="*/ 24 h 529"/>
                  <a:gd name="T8" fmla="*/ 167 w 548"/>
                  <a:gd name="T9" fmla="*/ 382 h 529"/>
                  <a:gd name="T10" fmla="*/ 512 w 548"/>
                  <a:gd name="T11" fmla="*/ 256 h 529"/>
                </a:gdLst>
                <a:cxnLst>
                  <a:cxn ang="0">
                    <a:pos x="T0" y="T1"/>
                  </a:cxn>
                  <a:cxn ang="0">
                    <a:pos x="T2" y="T3"/>
                  </a:cxn>
                  <a:cxn ang="0">
                    <a:pos x="T4" y="T5"/>
                  </a:cxn>
                  <a:cxn ang="0">
                    <a:pos x="T6" y="T7"/>
                  </a:cxn>
                  <a:cxn ang="0">
                    <a:pos x="T8" y="T9"/>
                  </a:cxn>
                  <a:cxn ang="0">
                    <a:pos x="T10" y="T11"/>
                  </a:cxn>
                </a:cxnLst>
                <a:rect l="0" t="0" r="r" b="b"/>
                <a:pathLst>
                  <a:path w="548" h="529">
                    <a:moveTo>
                      <a:pt x="512" y="256"/>
                    </a:moveTo>
                    <a:cubicBezTo>
                      <a:pt x="498" y="220"/>
                      <a:pt x="471" y="199"/>
                      <a:pt x="443" y="187"/>
                    </a:cubicBezTo>
                    <a:cubicBezTo>
                      <a:pt x="394" y="165"/>
                      <a:pt x="353" y="130"/>
                      <a:pt x="325" y="84"/>
                    </a:cubicBezTo>
                    <a:cubicBezTo>
                      <a:pt x="309" y="58"/>
                      <a:pt x="285" y="33"/>
                      <a:pt x="248" y="24"/>
                    </a:cubicBezTo>
                    <a:cubicBezTo>
                      <a:pt x="152" y="0"/>
                      <a:pt x="0" y="235"/>
                      <a:pt x="167" y="382"/>
                    </a:cubicBezTo>
                    <a:cubicBezTo>
                      <a:pt x="335" y="529"/>
                      <a:pt x="548" y="348"/>
                      <a:pt x="512" y="256"/>
                    </a:cubicBezTo>
                    <a:close/>
                  </a:path>
                </a:pathLst>
              </a:custGeom>
              <a:solidFill>
                <a:srgbClr val="D85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82" name="Freeform 50">
                <a:extLst>
                  <a:ext uri="{FF2B5EF4-FFF2-40B4-BE49-F238E27FC236}">
                    <a16:creationId xmlns:a16="http://schemas.microsoft.com/office/drawing/2014/main" id="{8D85C305-1851-9FFC-FDCB-A33A4C637CBC}"/>
                  </a:ext>
                </a:extLst>
              </p:cNvPr>
              <p:cNvSpPr/>
              <p:nvPr/>
            </p:nvSpPr>
            <p:spPr bwMode="auto">
              <a:xfrm>
                <a:off x="1671" y="3842"/>
                <a:ext cx="502" cy="412"/>
              </a:xfrm>
              <a:custGeom>
                <a:gdLst>
                  <a:gd name="T0" fmla="*/ 148 w 245"/>
                  <a:gd name="T1" fmla="*/ 23 h 201"/>
                  <a:gd name="T2" fmla="*/ 13 w 245"/>
                  <a:gd name="T3" fmla="*/ 152 h 201"/>
                  <a:gd name="T4" fmla="*/ 12 w 245"/>
                  <a:gd name="T5" fmla="*/ 181 h 201"/>
                  <a:gd name="T6" fmla="*/ 202 w 245"/>
                  <a:gd name="T7" fmla="*/ 127 h 201"/>
                  <a:gd name="T8" fmla="*/ 192 w 245"/>
                  <a:gd name="T9" fmla="*/ 9 h 201"/>
                  <a:gd name="T10" fmla="*/ 148 w 245"/>
                  <a:gd name="T11" fmla="*/ 23 h 201"/>
                </a:gdLst>
                <a:cxnLst>
                  <a:cxn ang="0">
                    <a:pos x="T0" y="T1"/>
                  </a:cxn>
                  <a:cxn ang="0">
                    <a:pos x="T2" y="T3"/>
                  </a:cxn>
                  <a:cxn ang="0">
                    <a:pos x="T4" y="T5"/>
                  </a:cxn>
                  <a:cxn ang="0">
                    <a:pos x="T6" y="T7"/>
                  </a:cxn>
                  <a:cxn ang="0">
                    <a:pos x="T8" y="T9"/>
                  </a:cxn>
                  <a:cxn ang="0">
                    <a:pos x="T10" y="T11"/>
                  </a:cxn>
                </a:cxnLst>
                <a:rect l="0" t="0" r="r" b="b"/>
                <a:pathLst>
                  <a:path w="245" h="201">
                    <a:moveTo>
                      <a:pt x="148" y="23"/>
                    </a:moveTo>
                    <a:cubicBezTo>
                      <a:pt x="130" y="58"/>
                      <a:pt x="89" y="122"/>
                      <a:pt x="13" y="152"/>
                    </a:cubicBezTo>
                    <a:cubicBezTo>
                      <a:pt x="1" y="157"/>
                      <a:pt x="0" y="175"/>
                      <a:pt x="12" y="181"/>
                    </a:cubicBezTo>
                    <a:cubicBezTo>
                      <a:pt x="61" y="201"/>
                      <a:pt x="133" y="193"/>
                      <a:pt x="202" y="127"/>
                    </a:cubicBezTo>
                    <a:cubicBezTo>
                      <a:pt x="245" y="80"/>
                      <a:pt x="231" y="31"/>
                      <a:pt x="192" y="9"/>
                    </a:cubicBezTo>
                    <a:cubicBezTo>
                      <a:pt x="177" y="0"/>
                      <a:pt x="156" y="6"/>
                      <a:pt x="148" y="23"/>
                    </a:cubicBezTo>
                    <a:close/>
                  </a:path>
                </a:pathLst>
              </a:custGeom>
              <a:solidFill>
                <a:srgbClr val="7729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83" name="Freeform 51">
                <a:extLst>
                  <a:ext uri="{FF2B5EF4-FFF2-40B4-BE49-F238E27FC236}">
                    <a16:creationId xmlns:a16="http://schemas.microsoft.com/office/drawing/2014/main" id="{52007618-A133-69D1-8023-00A5E1B2CF95}"/>
                  </a:ext>
                </a:extLst>
              </p:cNvPr>
              <p:cNvSpPr/>
              <p:nvPr/>
            </p:nvSpPr>
            <p:spPr bwMode="auto">
              <a:xfrm>
                <a:off x="2018" y="3914"/>
                <a:ext cx="73" cy="53"/>
              </a:xfrm>
              <a:custGeom>
                <a:gdLst>
                  <a:gd name="T0" fmla="*/ 19 w 36"/>
                  <a:gd name="T1" fmla="*/ 25 h 26"/>
                  <a:gd name="T2" fmla="*/ 1 w 36"/>
                  <a:gd name="T3" fmla="*/ 15 h 26"/>
                  <a:gd name="T4" fmla="*/ 17 w 36"/>
                  <a:gd name="T5" fmla="*/ 1 h 26"/>
                  <a:gd name="T6" fmla="*/ 35 w 36"/>
                  <a:gd name="T7" fmla="*/ 11 h 26"/>
                  <a:gd name="T8" fmla="*/ 19 w 36"/>
                  <a:gd name="T9" fmla="*/ 25 h 26"/>
                </a:gdLst>
                <a:cxnLst>
                  <a:cxn ang="0">
                    <a:pos x="T0" y="T1"/>
                  </a:cxn>
                  <a:cxn ang="0">
                    <a:pos x="T2" y="T3"/>
                  </a:cxn>
                  <a:cxn ang="0">
                    <a:pos x="T4" y="T5"/>
                  </a:cxn>
                  <a:cxn ang="0">
                    <a:pos x="T6" y="T7"/>
                  </a:cxn>
                  <a:cxn ang="0">
                    <a:pos x="T8" y="T9"/>
                  </a:cxn>
                </a:cxnLst>
                <a:rect l="0" t="0" r="r" b="b"/>
                <a:pathLst>
                  <a:path w="36" h="26">
                    <a:moveTo>
                      <a:pt x="19" y="25"/>
                    </a:moveTo>
                    <a:cubicBezTo>
                      <a:pt x="10" y="26"/>
                      <a:pt x="2" y="21"/>
                      <a:pt x="1" y="15"/>
                    </a:cubicBezTo>
                    <a:cubicBezTo>
                      <a:pt x="0" y="8"/>
                      <a:pt x="7" y="2"/>
                      <a:pt x="17" y="1"/>
                    </a:cubicBezTo>
                    <a:cubicBezTo>
                      <a:pt x="26" y="0"/>
                      <a:pt x="34" y="4"/>
                      <a:pt x="35" y="11"/>
                    </a:cubicBezTo>
                    <a:cubicBezTo>
                      <a:pt x="36" y="17"/>
                      <a:pt x="29" y="24"/>
                      <a:pt x="19" y="25"/>
                    </a:cubicBezTo>
                    <a:close/>
                  </a:path>
                </a:pathLst>
              </a:custGeom>
              <a:solidFill>
                <a:srgbClr val="FFF6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84" name="Freeform 52">
                <a:extLst>
                  <a:ext uri="{FF2B5EF4-FFF2-40B4-BE49-F238E27FC236}">
                    <a16:creationId xmlns:a16="http://schemas.microsoft.com/office/drawing/2014/main" id="{25B0F6C3-B00B-B056-F8F6-56A616A21D46}"/>
                  </a:ext>
                </a:extLst>
              </p:cNvPr>
              <p:cNvSpPr/>
              <p:nvPr/>
            </p:nvSpPr>
            <p:spPr bwMode="auto">
              <a:xfrm>
                <a:off x="1964" y="4004"/>
                <a:ext cx="76" cy="60"/>
              </a:xfrm>
              <a:custGeom>
                <a:gdLst>
                  <a:gd name="T0" fmla="*/ 14 w 37"/>
                  <a:gd name="T1" fmla="*/ 26 h 29"/>
                  <a:gd name="T2" fmla="*/ 3 w 37"/>
                  <a:gd name="T3" fmla="*/ 8 h 29"/>
                  <a:gd name="T4" fmla="*/ 23 w 37"/>
                  <a:gd name="T5" fmla="*/ 4 h 29"/>
                  <a:gd name="T6" fmla="*/ 34 w 37"/>
                  <a:gd name="T7" fmla="*/ 21 h 29"/>
                  <a:gd name="T8" fmla="*/ 14 w 37"/>
                  <a:gd name="T9" fmla="*/ 26 h 29"/>
                </a:gdLst>
                <a:cxnLst>
                  <a:cxn ang="0">
                    <a:pos x="T0" y="T1"/>
                  </a:cxn>
                  <a:cxn ang="0">
                    <a:pos x="T2" y="T3"/>
                  </a:cxn>
                  <a:cxn ang="0">
                    <a:pos x="T4" y="T5"/>
                  </a:cxn>
                  <a:cxn ang="0">
                    <a:pos x="T6" y="T7"/>
                  </a:cxn>
                  <a:cxn ang="0">
                    <a:pos x="T8" y="T9"/>
                  </a:cxn>
                </a:cxnLst>
                <a:rect l="0" t="0" r="r" b="b"/>
                <a:pathLst>
                  <a:path w="37" h="28">
                    <a:moveTo>
                      <a:pt x="14" y="26"/>
                    </a:moveTo>
                    <a:cubicBezTo>
                      <a:pt x="5" y="22"/>
                      <a:pt x="0" y="14"/>
                      <a:pt x="3" y="8"/>
                    </a:cubicBezTo>
                    <a:cubicBezTo>
                      <a:pt x="5" y="2"/>
                      <a:pt x="14" y="0"/>
                      <a:pt x="23" y="4"/>
                    </a:cubicBezTo>
                    <a:cubicBezTo>
                      <a:pt x="32" y="7"/>
                      <a:pt x="37" y="15"/>
                      <a:pt x="34" y="21"/>
                    </a:cubicBezTo>
                    <a:cubicBezTo>
                      <a:pt x="31" y="27"/>
                      <a:pt x="22" y="29"/>
                      <a:pt x="14" y="26"/>
                    </a:cubicBezTo>
                    <a:close/>
                  </a:path>
                </a:pathLst>
              </a:custGeom>
              <a:solidFill>
                <a:srgbClr val="FFF6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85" name="Freeform 53">
                <a:extLst>
                  <a:ext uri="{FF2B5EF4-FFF2-40B4-BE49-F238E27FC236}">
                    <a16:creationId xmlns:a16="http://schemas.microsoft.com/office/drawing/2014/main" id="{65D59AFD-B016-AD87-3804-8B966AE33782}"/>
                  </a:ext>
                </a:extLst>
              </p:cNvPr>
              <p:cNvSpPr/>
              <p:nvPr/>
            </p:nvSpPr>
            <p:spPr bwMode="auto">
              <a:xfrm>
                <a:off x="1897" y="4074"/>
                <a:ext cx="65" cy="68"/>
              </a:xfrm>
              <a:custGeom>
                <a:gdLst>
                  <a:gd name="T0" fmla="*/ 7 w 32"/>
                  <a:gd name="T1" fmla="*/ 25 h 33"/>
                  <a:gd name="T2" fmla="*/ 4 w 32"/>
                  <a:gd name="T3" fmla="*/ 4 h 33"/>
                  <a:gd name="T4" fmla="*/ 25 w 32"/>
                  <a:gd name="T5" fmla="*/ 8 h 33"/>
                  <a:gd name="T6" fmla="*/ 28 w 32"/>
                  <a:gd name="T7" fmla="*/ 29 h 33"/>
                  <a:gd name="T8" fmla="*/ 7 w 32"/>
                  <a:gd name="T9" fmla="*/ 25 h 33"/>
                </a:gdLst>
                <a:cxnLst>
                  <a:cxn ang="0">
                    <a:pos x="T0" y="T1"/>
                  </a:cxn>
                  <a:cxn ang="0">
                    <a:pos x="T2" y="T3"/>
                  </a:cxn>
                  <a:cxn ang="0">
                    <a:pos x="T4" y="T5"/>
                  </a:cxn>
                  <a:cxn ang="0">
                    <a:pos x="T6" y="T7"/>
                  </a:cxn>
                  <a:cxn ang="0">
                    <a:pos x="T8" y="T9"/>
                  </a:cxn>
                </a:cxnLst>
                <a:rect l="0" t="0" r="r" b="b"/>
                <a:pathLst>
                  <a:path w="32" h="33">
                    <a:moveTo>
                      <a:pt x="7" y="25"/>
                    </a:moveTo>
                    <a:cubicBezTo>
                      <a:pt x="1" y="18"/>
                      <a:pt x="0" y="9"/>
                      <a:pt x="4" y="4"/>
                    </a:cubicBezTo>
                    <a:cubicBezTo>
                      <a:pt x="9" y="0"/>
                      <a:pt x="18" y="1"/>
                      <a:pt x="25" y="8"/>
                    </a:cubicBezTo>
                    <a:cubicBezTo>
                      <a:pt x="31" y="15"/>
                      <a:pt x="32" y="24"/>
                      <a:pt x="28" y="29"/>
                    </a:cubicBezTo>
                    <a:cubicBezTo>
                      <a:pt x="23" y="33"/>
                      <a:pt x="14" y="32"/>
                      <a:pt x="7" y="25"/>
                    </a:cubicBezTo>
                    <a:close/>
                  </a:path>
                </a:pathLst>
              </a:custGeom>
              <a:solidFill>
                <a:srgbClr val="FFF6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86" name="Freeform 54">
                <a:extLst>
                  <a:ext uri="{FF2B5EF4-FFF2-40B4-BE49-F238E27FC236}">
                    <a16:creationId xmlns:a16="http://schemas.microsoft.com/office/drawing/2014/main" id="{00BC4478-C2E1-2E16-9812-D62A0B73A295}"/>
                  </a:ext>
                </a:extLst>
              </p:cNvPr>
              <p:cNvSpPr/>
              <p:nvPr/>
            </p:nvSpPr>
            <p:spPr bwMode="auto">
              <a:xfrm>
                <a:off x="1806" y="4125"/>
                <a:ext cx="62" cy="74"/>
              </a:xfrm>
              <a:custGeom>
                <a:gdLst>
                  <a:gd name="T0" fmla="*/ 5 w 30"/>
                  <a:gd name="T1" fmla="*/ 25 h 36"/>
                  <a:gd name="T2" fmla="*/ 6 w 30"/>
                  <a:gd name="T3" fmla="*/ 4 h 36"/>
                  <a:gd name="T4" fmla="*/ 25 w 30"/>
                  <a:gd name="T5" fmla="*/ 12 h 36"/>
                  <a:gd name="T6" fmla="*/ 24 w 30"/>
                  <a:gd name="T7" fmla="*/ 33 h 36"/>
                  <a:gd name="T8" fmla="*/ 5 w 30"/>
                  <a:gd name="T9" fmla="*/ 25 h 36"/>
                </a:gdLst>
                <a:cxnLst>
                  <a:cxn ang="0">
                    <a:pos x="T0" y="T1"/>
                  </a:cxn>
                  <a:cxn ang="0">
                    <a:pos x="T2" y="T3"/>
                  </a:cxn>
                  <a:cxn ang="0">
                    <a:pos x="T4" y="T5"/>
                  </a:cxn>
                  <a:cxn ang="0">
                    <a:pos x="T6" y="T7"/>
                  </a:cxn>
                  <a:cxn ang="0">
                    <a:pos x="T8" y="T9"/>
                  </a:cxn>
                </a:cxnLst>
                <a:rect l="0" t="0" r="r" b="b"/>
                <a:pathLst>
                  <a:path w="30" h="36">
                    <a:moveTo>
                      <a:pt x="5" y="25"/>
                    </a:moveTo>
                    <a:cubicBezTo>
                      <a:pt x="0" y="17"/>
                      <a:pt x="1" y="7"/>
                      <a:pt x="6" y="4"/>
                    </a:cubicBezTo>
                    <a:cubicBezTo>
                      <a:pt x="12" y="0"/>
                      <a:pt x="20" y="4"/>
                      <a:pt x="25" y="12"/>
                    </a:cubicBezTo>
                    <a:cubicBezTo>
                      <a:pt x="30" y="20"/>
                      <a:pt x="30" y="29"/>
                      <a:pt x="24" y="33"/>
                    </a:cubicBezTo>
                    <a:cubicBezTo>
                      <a:pt x="19" y="36"/>
                      <a:pt x="10" y="33"/>
                      <a:pt x="5" y="25"/>
                    </a:cubicBezTo>
                    <a:close/>
                  </a:path>
                </a:pathLst>
              </a:custGeom>
              <a:solidFill>
                <a:srgbClr val="FFF6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87" name="Freeform 55">
                <a:extLst>
                  <a:ext uri="{FF2B5EF4-FFF2-40B4-BE49-F238E27FC236}">
                    <a16:creationId xmlns:a16="http://schemas.microsoft.com/office/drawing/2014/main" id="{2654A842-6EF9-0D0C-1864-39FAE295DF68}"/>
                  </a:ext>
                </a:extLst>
              </p:cNvPr>
              <p:cNvSpPr/>
              <p:nvPr/>
            </p:nvSpPr>
            <p:spPr bwMode="auto">
              <a:xfrm>
                <a:off x="1632" y="3899"/>
                <a:ext cx="299" cy="247"/>
              </a:xfrm>
              <a:custGeom>
                <a:gdLst>
                  <a:gd name="T0" fmla="*/ 146 w 146"/>
                  <a:gd name="T1" fmla="*/ 0 h 120"/>
                  <a:gd name="T2" fmla="*/ 60 w 146"/>
                  <a:gd name="T3" fmla="*/ 95 h 120"/>
                  <a:gd name="T4" fmla="*/ 146 w 146"/>
                  <a:gd name="T5" fmla="*/ 0 h 120"/>
                </a:gdLst>
                <a:cxnLst>
                  <a:cxn ang="0">
                    <a:pos x="T0" y="T1"/>
                  </a:cxn>
                  <a:cxn ang="0">
                    <a:pos x="T2" y="T3"/>
                  </a:cxn>
                  <a:cxn ang="0">
                    <a:pos x="T4" y="T5"/>
                  </a:cxn>
                </a:cxnLst>
                <a:rect l="0" t="0" r="r" b="b"/>
                <a:pathLst>
                  <a:path w="146" h="120">
                    <a:moveTo>
                      <a:pt x="146" y="0"/>
                    </a:moveTo>
                    <a:cubicBezTo>
                      <a:pt x="146" y="0"/>
                      <a:pt x="121" y="69"/>
                      <a:pt x="60" y="95"/>
                    </a:cubicBezTo>
                    <a:cubicBezTo>
                      <a:pt x="0" y="120"/>
                      <a:pt x="114" y="56"/>
                      <a:pt x="146" y="0"/>
                    </a:cubicBezTo>
                    <a:close/>
                  </a:path>
                </a:pathLst>
              </a:custGeom>
              <a:solidFill>
                <a:srgbClr val="7729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88" name="Freeform 56">
                <a:extLst>
                  <a:ext uri="{FF2B5EF4-FFF2-40B4-BE49-F238E27FC236}">
                    <a16:creationId xmlns:a16="http://schemas.microsoft.com/office/drawing/2014/main" id="{1DA5BD41-38FB-E589-8A7B-1DA8D85382BA}"/>
                  </a:ext>
                </a:extLst>
              </p:cNvPr>
              <p:cNvSpPr/>
              <p:nvPr/>
            </p:nvSpPr>
            <p:spPr bwMode="auto">
              <a:xfrm>
                <a:off x="1472" y="3565"/>
                <a:ext cx="382" cy="525"/>
              </a:xfrm>
              <a:custGeom>
                <a:gdLst>
                  <a:gd name="T0" fmla="*/ 167 w 186"/>
                  <a:gd name="T1" fmla="*/ 89 h 256"/>
                  <a:gd name="T2" fmla="*/ 56 w 186"/>
                  <a:gd name="T3" fmla="*/ 240 h 256"/>
                  <a:gd name="T4" fmla="*/ 28 w 186"/>
                  <a:gd name="T5" fmla="*/ 244 h 256"/>
                  <a:gd name="T6" fmla="*/ 56 w 186"/>
                  <a:gd name="T7" fmla="*/ 50 h 256"/>
                  <a:gd name="T8" fmla="*/ 175 w 186"/>
                  <a:gd name="T9" fmla="*/ 43 h 256"/>
                  <a:gd name="T10" fmla="*/ 167 w 186"/>
                  <a:gd name="T11" fmla="*/ 89 h 256"/>
                </a:gdLst>
                <a:cxnLst>
                  <a:cxn ang="0">
                    <a:pos x="T0" y="T1"/>
                  </a:cxn>
                  <a:cxn ang="0">
                    <a:pos x="T2" y="T3"/>
                  </a:cxn>
                  <a:cxn ang="0">
                    <a:pos x="T4" y="T5"/>
                  </a:cxn>
                  <a:cxn ang="0">
                    <a:pos x="T6" y="T7"/>
                  </a:cxn>
                  <a:cxn ang="0">
                    <a:pos x="T8" y="T9"/>
                  </a:cxn>
                  <a:cxn ang="0">
                    <a:pos x="T10" y="T11"/>
                  </a:cxn>
                </a:cxnLst>
                <a:rect l="0" t="0" r="r" b="b"/>
                <a:pathLst>
                  <a:path w="186" h="256">
                    <a:moveTo>
                      <a:pt x="167" y="89"/>
                    </a:moveTo>
                    <a:cubicBezTo>
                      <a:pt x="134" y="111"/>
                      <a:pt x="76" y="160"/>
                      <a:pt x="56" y="240"/>
                    </a:cubicBezTo>
                    <a:cubicBezTo>
                      <a:pt x="52" y="253"/>
                      <a:pt x="35" y="256"/>
                      <a:pt x="28" y="244"/>
                    </a:cubicBezTo>
                    <a:cubicBezTo>
                      <a:pt x="1" y="199"/>
                      <a:pt x="0" y="127"/>
                      <a:pt x="56" y="50"/>
                    </a:cubicBezTo>
                    <a:cubicBezTo>
                      <a:pt x="98" y="0"/>
                      <a:pt x="148" y="8"/>
                      <a:pt x="175" y="43"/>
                    </a:cubicBezTo>
                    <a:cubicBezTo>
                      <a:pt x="186" y="58"/>
                      <a:pt x="182" y="79"/>
                      <a:pt x="167" y="89"/>
                    </a:cubicBezTo>
                    <a:close/>
                  </a:path>
                </a:pathLst>
              </a:custGeom>
              <a:solidFill>
                <a:srgbClr val="7729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89" name="Freeform 57">
                <a:extLst>
                  <a:ext uri="{FF2B5EF4-FFF2-40B4-BE49-F238E27FC236}">
                    <a16:creationId xmlns:a16="http://schemas.microsoft.com/office/drawing/2014/main" id="{C4607331-4B46-3A1C-1FB9-DAF9C9AB1584}"/>
                  </a:ext>
                </a:extLst>
              </p:cNvPr>
              <p:cNvSpPr/>
              <p:nvPr/>
            </p:nvSpPr>
            <p:spPr bwMode="auto">
              <a:xfrm>
                <a:off x="1728" y="3639"/>
                <a:ext cx="50" cy="72"/>
              </a:xfrm>
              <a:custGeom>
                <a:gdLst>
                  <a:gd name="T0" fmla="*/ 0 w 24"/>
                  <a:gd name="T1" fmla="*/ 18 h 35"/>
                  <a:gd name="T2" fmla="*/ 12 w 24"/>
                  <a:gd name="T3" fmla="*/ 35 h 35"/>
                  <a:gd name="T4" fmla="*/ 24 w 24"/>
                  <a:gd name="T5" fmla="*/ 17 h 35"/>
                  <a:gd name="T6" fmla="*/ 12 w 24"/>
                  <a:gd name="T7" fmla="*/ 1 h 35"/>
                  <a:gd name="T8" fmla="*/ 0 w 24"/>
                  <a:gd name="T9" fmla="*/ 18 h 35"/>
                </a:gdLst>
                <a:cxnLst>
                  <a:cxn ang="0">
                    <a:pos x="T0" y="T1"/>
                  </a:cxn>
                  <a:cxn ang="0">
                    <a:pos x="T2" y="T3"/>
                  </a:cxn>
                  <a:cxn ang="0">
                    <a:pos x="T4" y="T5"/>
                  </a:cxn>
                  <a:cxn ang="0">
                    <a:pos x="T6" y="T7"/>
                  </a:cxn>
                  <a:cxn ang="0">
                    <a:pos x="T8" y="T9"/>
                  </a:cxn>
                </a:cxnLst>
                <a:rect l="0" t="0" r="r" b="b"/>
                <a:pathLst>
                  <a:path w="24" h="35">
                    <a:moveTo>
                      <a:pt x="0" y="18"/>
                    </a:moveTo>
                    <a:cubicBezTo>
                      <a:pt x="0" y="27"/>
                      <a:pt x="6" y="35"/>
                      <a:pt x="12" y="35"/>
                    </a:cubicBezTo>
                    <a:cubicBezTo>
                      <a:pt x="19" y="35"/>
                      <a:pt x="24" y="27"/>
                      <a:pt x="24" y="17"/>
                    </a:cubicBezTo>
                    <a:cubicBezTo>
                      <a:pt x="24" y="8"/>
                      <a:pt x="18" y="0"/>
                      <a:pt x="12" y="1"/>
                    </a:cubicBezTo>
                    <a:cubicBezTo>
                      <a:pt x="5" y="1"/>
                      <a:pt x="0" y="9"/>
                      <a:pt x="0" y="18"/>
                    </a:cubicBezTo>
                    <a:close/>
                  </a:path>
                </a:pathLst>
              </a:custGeom>
              <a:solidFill>
                <a:srgbClr val="FFF6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90" name="Freeform 58">
                <a:extLst>
                  <a:ext uri="{FF2B5EF4-FFF2-40B4-BE49-F238E27FC236}">
                    <a16:creationId xmlns:a16="http://schemas.microsoft.com/office/drawing/2014/main" id="{B8F1CD10-0EB0-70E2-1173-068AE62B6F67}"/>
                  </a:ext>
                </a:extLst>
              </p:cNvPr>
              <p:cNvSpPr/>
              <p:nvPr/>
            </p:nvSpPr>
            <p:spPr bwMode="auto">
              <a:xfrm>
                <a:off x="1636" y="3703"/>
                <a:ext cx="62" cy="73"/>
              </a:xfrm>
              <a:custGeom>
                <a:gdLst>
                  <a:gd name="T0" fmla="*/ 4 w 30"/>
                  <a:gd name="T1" fmla="*/ 24 h 36"/>
                  <a:gd name="T2" fmla="*/ 23 w 30"/>
                  <a:gd name="T3" fmla="*/ 33 h 36"/>
                  <a:gd name="T4" fmla="*/ 25 w 30"/>
                  <a:gd name="T5" fmla="*/ 12 h 36"/>
                  <a:gd name="T6" fmla="*/ 6 w 30"/>
                  <a:gd name="T7" fmla="*/ 3 h 36"/>
                  <a:gd name="T8" fmla="*/ 4 w 30"/>
                  <a:gd name="T9" fmla="*/ 24 h 36"/>
                </a:gdLst>
                <a:cxnLst>
                  <a:cxn ang="0">
                    <a:pos x="T0" y="T1"/>
                  </a:cxn>
                  <a:cxn ang="0">
                    <a:pos x="T2" y="T3"/>
                  </a:cxn>
                  <a:cxn ang="0">
                    <a:pos x="T4" y="T5"/>
                  </a:cxn>
                  <a:cxn ang="0">
                    <a:pos x="T6" y="T7"/>
                  </a:cxn>
                  <a:cxn ang="0">
                    <a:pos x="T8" y="T9"/>
                  </a:cxn>
                </a:cxnLst>
                <a:rect l="0" t="0" r="r" b="b"/>
                <a:pathLst>
                  <a:path w="30" h="36">
                    <a:moveTo>
                      <a:pt x="4" y="24"/>
                    </a:moveTo>
                    <a:cubicBezTo>
                      <a:pt x="9" y="32"/>
                      <a:pt x="18" y="36"/>
                      <a:pt x="23" y="33"/>
                    </a:cubicBezTo>
                    <a:cubicBezTo>
                      <a:pt x="29" y="30"/>
                      <a:pt x="30" y="20"/>
                      <a:pt x="25" y="12"/>
                    </a:cubicBezTo>
                    <a:cubicBezTo>
                      <a:pt x="20" y="4"/>
                      <a:pt x="12" y="0"/>
                      <a:pt x="6" y="3"/>
                    </a:cubicBezTo>
                    <a:cubicBezTo>
                      <a:pt x="0" y="7"/>
                      <a:pt x="0" y="16"/>
                      <a:pt x="4" y="24"/>
                    </a:cubicBezTo>
                    <a:close/>
                  </a:path>
                </a:pathLst>
              </a:custGeom>
              <a:solidFill>
                <a:srgbClr val="FFF6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91" name="Freeform 59">
                <a:extLst>
                  <a:ext uri="{FF2B5EF4-FFF2-40B4-BE49-F238E27FC236}">
                    <a16:creationId xmlns:a16="http://schemas.microsoft.com/office/drawing/2014/main" id="{92AFBA4C-484D-52E3-38AA-784B388F2C8E}"/>
                  </a:ext>
                </a:extLst>
              </p:cNvPr>
              <p:cNvSpPr/>
              <p:nvPr/>
            </p:nvSpPr>
            <p:spPr bwMode="auto">
              <a:xfrm>
                <a:off x="1566" y="3791"/>
                <a:ext cx="74" cy="61"/>
              </a:xfrm>
              <a:custGeom>
                <a:gdLst>
                  <a:gd name="T0" fmla="*/ 11 w 36"/>
                  <a:gd name="T1" fmla="*/ 25 h 30"/>
                  <a:gd name="T2" fmla="*/ 32 w 36"/>
                  <a:gd name="T3" fmla="*/ 25 h 30"/>
                  <a:gd name="T4" fmla="*/ 25 w 36"/>
                  <a:gd name="T5" fmla="*/ 5 h 30"/>
                  <a:gd name="T6" fmla="*/ 4 w 36"/>
                  <a:gd name="T7" fmla="*/ 5 h 30"/>
                  <a:gd name="T8" fmla="*/ 11 w 36"/>
                  <a:gd name="T9" fmla="*/ 25 h 30"/>
                </a:gdLst>
                <a:cxnLst>
                  <a:cxn ang="0">
                    <a:pos x="T0" y="T1"/>
                  </a:cxn>
                  <a:cxn ang="0">
                    <a:pos x="T2" y="T3"/>
                  </a:cxn>
                  <a:cxn ang="0">
                    <a:pos x="T4" y="T5"/>
                  </a:cxn>
                  <a:cxn ang="0">
                    <a:pos x="T6" y="T7"/>
                  </a:cxn>
                  <a:cxn ang="0">
                    <a:pos x="T8" y="T9"/>
                  </a:cxn>
                </a:cxnLst>
                <a:rect l="0" t="0" r="r" b="b"/>
                <a:pathLst>
                  <a:path w="36" h="30">
                    <a:moveTo>
                      <a:pt x="11" y="25"/>
                    </a:moveTo>
                    <a:cubicBezTo>
                      <a:pt x="19" y="30"/>
                      <a:pt x="28" y="30"/>
                      <a:pt x="32" y="25"/>
                    </a:cubicBezTo>
                    <a:cubicBezTo>
                      <a:pt x="36" y="19"/>
                      <a:pt x="33" y="11"/>
                      <a:pt x="25" y="5"/>
                    </a:cubicBezTo>
                    <a:cubicBezTo>
                      <a:pt x="17" y="0"/>
                      <a:pt x="8" y="0"/>
                      <a:pt x="4" y="5"/>
                    </a:cubicBezTo>
                    <a:cubicBezTo>
                      <a:pt x="0" y="10"/>
                      <a:pt x="3" y="19"/>
                      <a:pt x="11" y="25"/>
                    </a:cubicBezTo>
                    <a:close/>
                  </a:path>
                </a:pathLst>
              </a:custGeom>
              <a:solidFill>
                <a:srgbClr val="FFF6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92" name="Freeform 60">
                <a:extLst>
                  <a:ext uri="{FF2B5EF4-FFF2-40B4-BE49-F238E27FC236}">
                    <a16:creationId xmlns:a16="http://schemas.microsoft.com/office/drawing/2014/main" id="{C2CCE5D9-F526-B125-967B-CDC8B45C2C1F}"/>
                  </a:ext>
                </a:extLst>
              </p:cNvPr>
              <p:cNvSpPr/>
              <p:nvPr/>
            </p:nvSpPr>
            <p:spPr bwMode="auto">
              <a:xfrm>
                <a:off x="1523" y="3889"/>
                <a:ext cx="74" cy="62"/>
              </a:xfrm>
              <a:custGeom>
                <a:gdLst>
                  <a:gd name="T0" fmla="*/ 13 w 36"/>
                  <a:gd name="T1" fmla="*/ 26 h 30"/>
                  <a:gd name="T2" fmla="*/ 34 w 36"/>
                  <a:gd name="T3" fmla="*/ 22 h 30"/>
                  <a:gd name="T4" fmla="*/ 23 w 36"/>
                  <a:gd name="T5" fmla="*/ 4 h 30"/>
                  <a:gd name="T6" fmla="*/ 3 w 36"/>
                  <a:gd name="T7" fmla="*/ 8 h 30"/>
                  <a:gd name="T8" fmla="*/ 13 w 36"/>
                  <a:gd name="T9" fmla="*/ 26 h 30"/>
                </a:gdLst>
                <a:cxnLst>
                  <a:cxn ang="0">
                    <a:pos x="T0" y="T1"/>
                  </a:cxn>
                  <a:cxn ang="0">
                    <a:pos x="T2" y="T3"/>
                  </a:cxn>
                  <a:cxn ang="0">
                    <a:pos x="T4" y="T5"/>
                  </a:cxn>
                  <a:cxn ang="0">
                    <a:pos x="T6" y="T7"/>
                  </a:cxn>
                  <a:cxn ang="0">
                    <a:pos x="T8" y="T9"/>
                  </a:cxn>
                </a:cxnLst>
                <a:rect l="0" t="0" r="r" b="b"/>
                <a:pathLst>
                  <a:path w="36" h="30">
                    <a:moveTo>
                      <a:pt x="13" y="26"/>
                    </a:moveTo>
                    <a:cubicBezTo>
                      <a:pt x="22" y="30"/>
                      <a:pt x="31" y="28"/>
                      <a:pt x="34" y="22"/>
                    </a:cubicBezTo>
                    <a:cubicBezTo>
                      <a:pt x="36" y="16"/>
                      <a:pt x="32" y="8"/>
                      <a:pt x="23" y="4"/>
                    </a:cubicBezTo>
                    <a:cubicBezTo>
                      <a:pt x="14" y="0"/>
                      <a:pt x="5" y="2"/>
                      <a:pt x="3" y="8"/>
                    </a:cubicBezTo>
                    <a:cubicBezTo>
                      <a:pt x="0" y="14"/>
                      <a:pt x="5" y="22"/>
                      <a:pt x="13" y="26"/>
                    </a:cubicBezTo>
                    <a:close/>
                  </a:path>
                </a:pathLst>
              </a:custGeom>
              <a:solidFill>
                <a:srgbClr val="FFF6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93" name="Freeform 61">
                <a:extLst>
                  <a:ext uri="{FF2B5EF4-FFF2-40B4-BE49-F238E27FC236}">
                    <a16:creationId xmlns:a16="http://schemas.microsoft.com/office/drawing/2014/main" id="{CA42C756-5898-A6C1-8CBD-65848010C3E3}"/>
                  </a:ext>
                </a:extLst>
              </p:cNvPr>
              <p:cNvSpPr/>
              <p:nvPr/>
            </p:nvSpPr>
            <p:spPr bwMode="auto">
              <a:xfrm>
                <a:off x="1603" y="3793"/>
                <a:ext cx="207" cy="328"/>
              </a:xfrm>
              <a:custGeom>
                <a:gdLst>
                  <a:gd name="T0" fmla="*/ 101 w 101"/>
                  <a:gd name="T1" fmla="*/ 0 h 160"/>
                  <a:gd name="T2" fmla="*/ 18 w 101"/>
                  <a:gd name="T3" fmla="*/ 97 h 160"/>
                  <a:gd name="T4" fmla="*/ 101 w 101"/>
                  <a:gd name="T5" fmla="*/ 0 h 160"/>
                </a:gdLst>
                <a:cxnLst>
                  <a:cxn ang="0">
                    <a:pos x="T0" y="T1"/>
                  </a:cxn>
                  <a:cxn ang="0">
                    <a:pos x="T2" y="T3"/>
                  </a:cxn>
                  <a:cxn ang="0">
                    <a:pos x="T4" y="T5"/>
                  </a:cxn>
                </a:cxnLst>
                <a:rect l="0" t="0" r="r" b="b"/>
                <a:pathLst>
                  <a:path w="100" h="160">
                    <a:moveTo>
                      <a:pt x="101" y="0"/>
                    </a:moveTo>
                    <a:cubicBezTo>
                      <a:pt x="101" y="0"/>
                      <a:pt x="35" y="34"/>
                      <a:pt x="18" y="97"/>
                    </a:cubicBezTo>
                    <a:cubicBezTo>
                      <a:pt x="0" y="160"/>
                      <a:pt x="49" y="38"/>
                      <a:pt x="101" y="0"/>
                    </a:cubicBezTo>
                    <a:close/>
                  </a:path>
                </a:pathLst>
              </a:custGeom>
              <a:solidFill>
                <a:srgbClr val="7729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grpSp>
      </p:grpSp>
      <p:sp>
        <p:nvSpPr>
          <p:cNvPr id="299" name="Freeform 11">
            <a:extLst>
              <a:ext uri="{FF2B5EF4-FFF2-40B4-BE49-F238E27FC236}">
                <a16:creationId xmlns:a16="http://schemas.microsoft.com/office/drawing/2014/main" id="{83F70379-05DC-82D1-93EC-622A0D7BDF91}"/>
              </a:ext>
            </a:extLst>
          </p:cNvPr>
          <p:cNvSpPr/>
          <p:nvPr/>
        </p:nvSpPr>
        <p:spPr>
          <a:xfrm>
            <a:off x="5486401" y="1399727"/>
            <a:ext cx="6705599" cy="4267200"/>
          </a:xfrm>
          <a:custGeom>
            <a:gdLst>
              <a:gd name="connsiteX0" fmla="*/ 330196 w 5684604"/>
              <a:gd name="connsiteY0" fmla="*/ 0 h 4267200"/>
              <a:gd name="connsiteX1" fmla="*/ 5684604 w 5684604"/>
              <a:gd name="connsiteY1" fmla="*/ 0 h 4267200"/>
              <a:gd name="connsiteX2" fmla="*/ 5684604 w 5684604"/>
              <a:gd name="connsiteY2" fmla="*/ 4267200 h 4267200"/>
              <a:gd name="connsiteX3" fmla="*/ 330196 w 5684604"/>
              <a:gd name="connsiteY3" fmla="*/ 4267200 h 4267200"/>
              <a:gd name="connsiteX4" fmla="*/ 0 w 5684604"/>
              <a:gd name="connsiteY4" fmla="*/ 3937004 h 4267200"/>
              <a:gd name="connsiteX5" fmla="*/ 0 w 5684604"/>
              <a:gd name="connsiteY5" fmla="*/ 330196 h 4267200"/>
              <a:gd name="connsiteX6" fmla="*/ 330196 w 5684604"/>
              <a:gd name="connsiteY6" fmla="*/ 0 h 42672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4604" h="4267200">
                <a:moveTo>
                  <a:pt x="330196" y="0"/>
                </a:moveTo>
                <a:lnTo>
                  <a:pt x="5684604" y="0"/>
                </a:lnTo>
                <a:lnTo>
                  <a:pt x="5684604" y="4267200"/>
                </a:lnTo>
                <a:lnTo>
                  <a:pt x="330196" y="4267200"/>
                </a:lnTo>
                <a:cubicBezTo>
                  <a:pt x="147834" y="4267200"/>
                  <a:pt x="0" y="4119366"/>
                  <a:pt x="0" y="3937004"/>
                </a:cubicBezTo>
                <a:lnTo>
                  <a:pt x="0" y="330196"/>
                </a:lnTo>
                <a:cubicBezTo>
                  <a:pt x="0" y="147834"/>
                  <a:pt x="147834" y="0"/>
                  <a:pt x="330196" y="0"/>
                </a:cubicBezTo>
                <a:close/>
              </a:path>
            </a:pathLst>
          </a:custGeom>
          <a:gradFill flip="none" rotWithShape="1">
            <a:gsLst>
              <a:gs pos="0">
                <a:srgbClr val="00677F">
                  <a:alpha val="32000"/>
                </a:srgbClr>
              </a:gs>
              <a:gs pos="100000">
                <a:srgbClr val="00677F"/>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6" name="TextBox 9">
            <a:extLst>
              <a:ext uri="{FF2B5EF4-FFF2-40B4-BE49-F238E27FC236}">
                <a16:creationId xmlns:a16="http://schemas.microsoft.com/office/drawing/2014/main" id="{EA87A287-F7FA-CFC2-D9B0-96BE64A8F811}"/>
              </a:ext>
            </a:extLst>
          </p:cNvPr>
          <p:cNvSpPr txBox="1"/>
          <p:nvPr/>
        </p:nvSpPr>
        <p:spPr>
          <a:xfrm>
            <a:off x="6194833" y="2311972"/>
            <a:ext cx="5681042" cy="1354217"/>
          </a:xfrm>
          <a:prstGeom prst="rect">
            <a:avLst/>
          </a:prstGeom>
          <a:noFill/>
        </p:spPr>
        <p:txBody>
          <a:bodyPr wrap="none" lIns="0" tIns="0" rIns="0" bIns="0" rtlCol="0">
            <a:spAutoFit/>
          </a:bodyPr>
          <a:lstStyle/>
          <a:p>
            <a:r>
              <a:rPr lang="en-US" sz="8800" b="1">
                <a:solidFill>
                  <a:schemeClr val="bg1"/>
                </a:solidFill>
                <a:latin typeface="Segoe UI" panose="020b0502040204020203" pitchFamily="34" charset="0"/>
                <a:cs typeface="Segoe UI" panose="020b0502040204020203" pitchFamily="34" charset="0"/>
              </a:rPr>
              <a:t>BAHAMAS</a:t>
            </a:r>
          </a:p>
        </p:txBody>
      </p:sp>
      <p:sp>
        <p:nvSpPr>
          <p:cNvPr id="298" name="TextBox 9">
            <a:extLst>
              <a:ext uri="{FF2B5EF4-FFF2-40B4-BE49-F238E27FC236}">
                <a16:creationId xmlns:a16="http://schemas.microsoft.com/office/drawing/2014/main" id="{49853477-1743-A437-9800-923A73F75FBB}"/>
              </a:ext>
            </a:extLst>
          </p:cNvPr>
          <p:cNvSpPr txBox="1"/>
          <p:nvPr/>
        </p:nvSpPr>
        <p:spPr>
          <a:xfrm>
            <a:off x="9361820" y="3476104"/>
            <a:ext cx="2366225" cy="430887"/>
          </a:xfrm>
          <a:prstGeom prst="rect">
            <a:avLst/>
          </a:prstGeom>
          <a:noFill/>
        </p:spPr>
        <p:txBody>
          <a:bodyPr wrap="none" lIns="0" tIns="0" rIns="0" bIns="0" rtlCol="0">
            <a:spAutoFit/>
          </a:bodyPr>
          <a:lstStyle/>
          <a:p>
            <a:pPr algn="ctr"/>
            <a:r>
              <a:rPr lang="en-US" sz="2800" b="1">
                <a:solidFill>
                  <a:schemeClr val="bg1"/>
                </a:solidFill>
                <a:latin typeface="Segoe UI" panose="020b0502040204020203" pitchFamily="34" charset="0"/>
                <a:cs typeface="Segoe UI" panose="020b0502040204020203" pitchFamily="34" charset="0"/>
              </a:rPr>
              <a:t>Free Template</a:t>
            </a:r>
          </a:p>
        </p:txBody>
      </p:sp>
      <p:sp>
        <p:nvSpPr>
          <p:cNvPr id="300" name="TextBox 9">
            <a:extLst>
              <a:ext uri="{FF2B5EF4-FFF2-40B4-BE49-F238E27FC236}">
                <a16:creationId xmlns:a16="http://schemas.microsoft.com/office/drawing/2014/main" id="{C7130268-525D-0273-2EA4-DE11E5C9C861}"/>
              </a:ext>
            </a:extLst>
          </p:cNvPr>
          <p:cNvSpPr txBox="1"/>
          <p:nvPr/>
        </p:nvSpPr>
        <p:spPr>
          <a:xfrm>
            <a:off x="9659978" y="2000418"/>
            <a:ext cx="2068067" cy="430887"/>
          </a:xfrm>
          <a:prstGeom prst="rect">
            <a:avLst/>
          </a:prstGeom>
          <a:noFill/>
        </p:spPr>
        <p:txBody>
          <a:bodyPr wrap="none" lIns="0" tIns="0" rIns="0" bIns="0" rtlCol="0">
            <a:spAutoFit/>
          </a:bodyPr>
          <a:lstStyle/>
          <a:p>
            <a:pPr algn="ctr"/>
            <a:r>
              <a:rPr lang="en-US" sz="2800" b="1">
                <a:solidFill>
                  <a:srgbClr val="06DBE7"/>
                </a:solidFill>
                <a:latin typeface="Segoe UI" panose="020b0502040204020203" pitchFamily="34" charset="0"/>
                <a:cs typeface="Segoe UI" panose="020b0502040204020203" pitchFamily="34" charset="0"/>
              </a:rPr>
              <a:t>Gastronomy</a:t>
            </a:r>
          </a:p>
        </p:txBody>
      </p:sp>
      <p:cxnSp>
        <p:nvCxnSpPr>
          <p:cNvPr id="301" name="Straight Connector 15">
            <a:extLst>
              <a:ext uri="{FF2B5EF4-FFF2-40B4-BE49-F238E27FC236}">
                <a16:creationId xmlns:a16="http://schemas.microsoft.com/office/drawing/2014/main" id="{5B684BA6-1A07-3B77-1F4B-7B1B44140C59}"/>
              </a:ext>
            </a:extLst>
          </p:cNvPr>
          <p:cNvCxnSpPr/>
          <p:nvPr/>
        </p:nvCxnSpPr>
        <p:spPr>
          <a:xfrm flipH="1">
            <a:off x="3791415" y="4170722"/>
            <a:ext cx="840058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02" name="TextBox 22">
            <a:extLst>
              <a:ext uri="{FF2B5EF4-FFF2-40B4-BE49-F238E27FC236}">
                <a16:creationId xmlns:a16="http://schemas.microsoft.com/office/drawing/2014/main" id="{837E8D68-B474-995B-A822-1599663C9DF6}"/>
              </a:ext>
            </a:extLst>
          </p:cNvPr>
          <p:cNvSpPr txBox="1"/>
          <p:nvPr/>
        </p:nvSpPr>
        <p:spPr>
          <a:xfrm>
            <a:off x="7297293" y="4347601"/>
            <a:ext cx="4507692" cy="461665"/>
          </a:xfrm>
          <a:prstGeom prst="rect">
            <a:avLst/>
          </a:prstGeom>
          <a:noFill/>
        </p:spPr>
        <p:txBody>
          <a:bodyPr wrap="square" rtlCol="0">
            <a:spAutoFit/>
          </a:bodyPr>
          <a:lstStyle/>
          <a:p>
            <a:pPr algn="r"/>
            <a:r>
              <a:rPr lang="en-US" altLang="ko-KR" sz="1200">
                <a:solidFill>
                  <a:schemeClr val="bg1"/>
                </a:solidFill>
                <a:cs typeface="Arial" panose="020b0604020202020204" pitchFamily="34" charset="0"/>
              </a:rPr>
              <a:t>Get a modern PowerPoint  Presentation that is beautifully designed. </a:t>
            </a:r>
            <a:r>
              <a:rPr lang="en-US" altLang="ko-KR" sz="1200">
                <a:solidFill>
                  <a:schemeClr val="bg1"/>
                </a:solidFill>
                <a:ea typeface="FZShuTi" pitchFamily="2" charset="-122"/>
                <a:cs typeface="Arial" panose="020b0604020202020204" pitchFamily="34" charset="0"/>
              </a:rPr>
              <a:t>I hope and I believe that this Template will your Time.</a:t>
            </a:r>
            <a:endParaRPr lang="en-US" altLang="ko-KR" sz="1200">
              <a:solidFill>
                <a:schemeClr val="bg1"/>
              </a:solidFill>
              <a:cs typeface="Arial" panose="020b0604020202020204" pitchFamily="34" charset="0"/>
            </a:endParaRPr>
          </a:p>
        </p:txBody>
      </p:sp>
      <p:pic>
        <p:nvPicPr>
          <p:cNvPr id="308" name="Imagen 307">
            <a:extLst>
              <a:ext uri="{FF2B5EF4-FFF2-40B4-BE49-F238E27FC236}">
                <a16:creationId xmlns:a16="http://schemas.microsoft.com/office/drawing/2014/main" id="{78F12A16-AB3B-13FF-C915-A77153DD88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66698" y="3582455"/>
            <a:ext cx="2020116" cy="1515087"/>
          </a:xfrm>
          <a:prstGeom prst="rect">
            <a:avLst/>
          </a:prstGeom>
        </p:spPr>
      </p:pic>
      <p:sp>
        <p:nvSpPr>
          <p:cNvPr id="309" name="TextBox 59">
            <a:extLst>
              <a:ext uri="{FF2B5EF4-FFF2-40B4-BE49-F238E27FC236}">
                <a16:creationId xmlns:a16="http://schemas.microsoft.com/office/drawing/2014/main" id="{6F17CBF7-56ED-42D6-BB62-A870178C01A2}"/>
              </a:ext>
            </a:extLst>
          </p:cNvPr>
          <p:cNvSpPr txBox="1"/>
          <p:nvPr/>
        </p:nvSpPr>
        <p:spPr>
          <a:xfrm>
            <a:off x="8148344" y="6116770"/>
            <a:ext cx="3870231" cy="523220"/>
          </a:xfrm>
          <a:prstGeom prst="rect">
            <a:avLst/>
          </a:prstGeom>
          <a:noFill/>
          <a:ln cap="flat">
            <a:noFill/>
          </a:ln>
        </p:spPr>
        <p:txBody>
          <a:bodyPr vert="horz" wrap="square" lIns="91440" tIns="45720" rIns="91440" bIns="45720" anchor="ctr" anchorCtr="1" compatLnSpc="1">
            <a:spAutoFit/>
          </a:bodyPr>
          <a:lstStyle/>
          <a:p>
            <a:pPr marL="0" marR="0" lvl="0" indent="0" algn="just" defTabSz="914400" rtl="0" fontAlgn="auto" hangingPunct="1">
              <a:lnSpc>
                <a:spcPct val="100000"/>
              </a:lnSpc>
              <a:spcBef>
                <a:spcPct val="0"/>
              </a:spcBef>
              <a:spcAft>
                <a:spcPct val="0"/>
              </a:spcAft>
              <a:buNone/>
              <a:defRPr sz="1800" b="0" i="0" u="none" strike="noStrike" kern="0" cap="none" spc="0" baseline="0">
                <a:solidFill>
                  <a:srgbClr val="000000"/>
                </a:solidFill>
                <a:uFillTx/>
              </a:defRPr>
            </a:pPr>
            <a:r>
              <a:rPr lang="en-US" sz="2800" b="1" i="0" u="none" strike="noStrike" kern="0" cap="none" spc="600" baseline="0">
                <a:solidFill>
                  <a:schemeClr val="bg1"/>
                </a:solidFill>
                <a:uFillTx/>
                <a:latin typeface="Segoe UI" panose="020b0502040204020203" pitchFamily="34" charset="0"/>
                <a:ea typeface="Arial"/>
                <a:cs typeface="Segoe UI" panose="020b0502040204020203" pitchFamily="34" charset="0"/>
              </a:rPr>
              <a:t>SLIDESPPT.NET</a:t>
            </a:r>
          </a:p>
        </p:txBody>
      </p:sp>
      <p:sp>
        <p:nvSpPr>
          <p:cNvPr id="310" name="TextBox 59">
            <a:extLst>
              <a:ext uri="{FF2B5EF4-FFF2-40B4-BE49-F238E27FC236}">
                <a16:creationId xmlns:a16="http://schemas.microsoft.com/office/drawing/2014/main" id="{0A5D12CC-EA80-FBAC-A65B-FA17ED7DAC69}"/>
              </a:ext>
            </a:extLst>
          </p:cNvPr>
          <p:cNvSpPr txBox="1"/>
          <p:nvPr/>
        </p:nvSpPr>
        <p:spPr>
          <a:xfrm>
            <a:off x="10162057" y="5666871"/>
            <a:ext cx="2162551" cy="523220"/>
          </a:xfrm>
          <a:prstGeom prst="rect">
            <a:avLst/>
          </a:prstGeom>
          <a:noFill/>
          <a:ln cap="flat">
            <a:noFill/>
          </a:ln>
        </p:spPr>
        <p:txBody>
          <a:bodyPr vert="horz" wrap="square" lIns="91440" tIns="45720" rIns="91440" bIns="45720" anchor="ctr" anchorCtr="1" compatLnSpc="1">
            <a:spAutoFit/>
          </a:bodyPr>
          <a:lstStyle/>
          <a:p>
            <a:pPr marL="0" marR="0" lvl="0" indent="0" algn="ctr" defTabSz="914400" rtl="0" fontAlgn="auto" hangingPunct="1">
              <a:lnSpc>
                <a:spcPct val="100000"/>
              </a:lnSpc>
              <a:spcBef>
                <a:spcPct val="0"/>
              </a:spcBef>
              <a:spcAft>
                <a:spcPct val="0"/>
              </a:spcAft>
              <a:buNone/>
              <a:defRPr sz="1800" b="0" i="0" u="none" strike="noStrike" kern="0" cap="none" spc="0" baseline="0">
                <a:solidFill>
                  <a:srgbClr val="000000"/>
                </a:solidFill>
                <a:uFillTx/>
              </a:defRPr>
            </a:pPr>
            <a:r>
              <a:rPr lang="en-US" sz="2800" i="0" u="none" strike="noStrike" kern="0" cap="none" baseline="0">
                <a:solidFill>
                  <a:schemeClr val="bg1"/>
                </a:solidFill>
                <a:uFillTx/>
                <a:latin typeface="Segoe UI" panose="020b0502040204020203" pitchFamily="34" charset="0"/>
                <a:ea typeface="Arial"/>
                <a:cs typeface="Segoe UI" panose="020b0502040204020203" pitchFamily="34" charset="0"/>
              </a:rPr>
              <a:t>We are</a:t>
            </a:r>
          </a:p>
        </p:txBody>
      </p:sp>
    </p:spTree>
    <p:extLst>
      <p:ext uri="{BB962C8B-B14F-4D97-AF65-F5344CB8AC3E}">
        <p14:creationId xmlns:p14="http://schemas.microsoft.com/office/powerpoint/2010/main" val="3429898817"/>
      </p:ext>
    </p:extLst>
  </p:cSld>
  <p:clrMapOvr>
    <a:masterClrMapping/>
  </p:clrMapOvr>
  <p:transition/>
  <p:timing/>
</p:sld>
</file>

<file path=ppt/slides/slide10.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9" name="TextBox 28">
            <a:extLst>
              <a:ext uri="{FF2B5EF4-FFF2-40B4-BE49-F238E27FC236}">
                <a16:creationId xmlns:a16="http://schemas.microsoft.com/office/drawing/2014/main" id="{B78D8C68-2FA6-604E-B7F7-F1A0246658B2}"/>
              </a:ext>
            </a:extLst>
          </p:cNvPr>
          <p:cNvSpPr txBox="1"/>
          <p:nvPr/>
        </p:nvSpPr>
        <p:spPr>
          <a:xfrm>
            <a:off x="735448" y="1985795"/>
            <a:ext cx="2236301" cy="984885"/>
          </a:xfrm>
          <a:prstGeom prst="rect">
            <a:avLst/>
          </a:prstGeom>
          <a:noFill/>
          <a:ln w="6350">
            <a:noFill/>
            <a:prstDash val="dash"/>
          </a:ln>
        </p:spPr>
        <p:txBody>
          <a:bodyPr wrap="square" lIns="0" tIns="0" rIns="0" bIns="0" rtlCol="0">
            <a:spAutoFit/>
          </a:bodyPr>
          <a:lstStyle/>
          <a:p>
            <a:pPr marL="0" marR="0" lvl="0" indent="0" algn="r" defTabSz="914400" eaLnBrk="1" fontAlgn="auto" latinLnBrk="0" hangingPunct="1">
              <a:lnSpc>
                <a:spcPct val="100000"/>
              </a:lnSpc>
              <a:spcBef>
                <a:spcPct val="0"/>
              </a:spcBef>
              <a:spcAft>
                <a:spcPct val="0"/>
              </a:spcAft>
              <a:buClrTx/>
              <a:buSzTx/>
              <a:buFontTx/>
              <a:buNone/>
              <a:defRPr/>
            </a:pPr>
            <a:r>
              <a:rPr kumimoji="0" lang="en-US" sz="1600" u="none" strike="noStrike" kern="0" cap="none" spc="0" normalizeH="0" baseline="0" noProof="0">
                <a:ln>
                  <a:noFill/>
                </a:ln>
                <a:solidFill>
                  <a:prstClr val="black">
                    <a:lumMod val="65000"/>
                    <a:lumOff val="35000"/>
                  </a:prstClr>
                </a:solidFill>
                <a:effectLst/>
                <a:uLnTx/>
                <a:uFillTx/>
                <a:latin typeface="Segoe UI Light" panose="020b0502040204020203" pitchFamily="34" charset="0"/>
              </a:rPr>
              <a:t>Lorem ipsum dolor sit amet, consectetur adipiscing elit, sed do eiusmod tempor.</a:t>
            </a:r>
          </a:p>
        </p:txBody>
      </p:sp>
      <p:sp>
        <p:nvSpPr>
          <p:cNvPr id="30" name="TextBox 29">
            <a:extLst>
              <a:ext uri="{FF2B5EF4-FFF2-40B4-BE49-F238E27FC236}">
                <a16:creationId xmlns:a16="http://schemas.microsoft.com/office/drawing/2014/main" id="{84EE59D9-61B4-2C43-BAF1-525F91EFD790}"/>
              </a:ext>
            </a:extLst>
          </p:cNvPr>
          <p:cNvSpPr txBox="1"/>
          <p:nvPr/>
        </p:nvSpPr>
        <p:spPr>
          <a:xfrm>
            <a:off x="735448" y="1713450"/>
            <a:ext cx="2236301" cy="246221"/>
          </a:xfrm>
          <a:prstGeom prst="rect">
            <a:avLst/>
          </a:prstGeom>
          <a:noFill/>
          <a:ln w="6350">
            <a:noFill/>
            <a:prstDash val="dash"/>
          </a:ln>
        </p:spPr>
        <p:txBody>
          <a:bodyPr wrap="square" lIns="0" tIns="0" rIns="0" bIns="0" rtlCol="0">
            <a:spAutoFit/>
          </a:bodyPr>
          <a:lstStyle/>
          <a:p>
            <a:pPr marL="0" marR="0" lvl="0" indent="0" algn="r" defTabSz="914400" eaLnBrk="1" fontAlgn="auto" latinLnBrk="0" hangingPunct="1">
              <a:lnSpc>
                <a:spcPct val="100000"/>
              </a:lnSpc>
              <a:spcBef>
                <a:spcPct val="0"/>
              </a:spcBef>
              <a:spcAft>
                <a:spcPct val="0"/>
              </a:spcAft>
              <a:buClrTx/>
              <a:buSzTx/>
              <a:buFontTx/>
              <a:buNone/>
              <a:defRPr/>
            </a:pPr>
            <a:r>
              <a:rPr kumimoji="0" lang="en-US" sz="1600" b="1" i="0" u="none" strike="noStrike" kern="0" cap="none" spc="0" normalizeH="0" baseline="0" noProof="0">
                <a:ln>
                  <a:noFill/>
                </a:ln>
                <a:effectLst/>
                <a:uLnTx/>
                <a:uFillTx/>
                <a:latin typeface="Segoe UI" panose="020b0502040204020203" pitchFamily="34" charset="0"/>
                <a:cs typeface="Segoe UI" panose="020b0502040204020203" pitchFamily="34" charset="0"/>
              </a:rPr>
              <a:t>Lorem Ipsum</a:t>
            </a:r>
          </a:p>
        </p:txBody>
      </p:sp>
      <p:sp>
        <p:nvSpPr>
          <p:cNvPr id="75" name="TextBox 74">
            <a:extLst>
              <a:ext uri="{FF2B5EF4-FFF2-40B4-BE49-F238E27FC236}">
                <a16:creationId xmlns:a16="http://schemas.microsoft.com/office/drawing/2014/main" id="{830616F4-CC3D-024B-B907-C84570A0DF7D}"/>
              </a:ext>
            </a:extLst>
          </p:cNvPr>
          <p:cNvSpPr txBox="1"/>
          <p:nvPr/>
        </p:nvSpPr>
        <p:spPr>
          <a:xfrm>
            <a:off x="3321154" y="2099472"/>
            <a:ext cx="243905" cy="830997"/>
          </a:xfrm>
          <a:prstGeom prst="rect">
            <a:avLst/>
          </a:prstGeom>
          <a:noFill/>
          <a:ln w="6350">
            <a:noFill/>
            <a:prstDash val="dash"/>
          </a:ln>
        </p:spPr>
        <p:txBody>
          <a:bodyPr wrap="square" lIns="0" tIns="0" rIns="0" bIns="0" rtlCol="0" anchor="t">
            <a:spAutoFit/>
          </a:bodyPr>
          <a:lstStyle/>
          <a:p>
            <a:pPr marL="0" marR="0" lvl="0" indent="0" algn="ctr" defTabSz="914400" eaLnBrk="1" fontAlgn="auto" latinLnBrk="0" hangingPunct="1">
              <a:lnSpc>
                <a:spcPct val="100000"/>
              </a:lnSpc>
              <a:spcBef>
                <a:spcPct val="0"/>
              </a:spcBef>
              <a:spcAft>
                <a:spcPct val="0"/>
              </a:spcAft>
              <a:buClrTx/>
              <a:buSzTx/>
              <a:buFontTx/>
              <a:buNone/>
              <a:defRPr/>
            </a:pPr>
            <a:r>
              <a:rPr kumimoji="0" lang="en-US" sz="5400" b="1" i="1" u="none" strike="noStrike" kern="0" cap="none" spc="0" normalizeH="0" baseline="0" noProof="0">
                <a:ln>
                  <a:noFill/>
                </a:ln>
                <a:solidFill>
                  <a:srgbClr val="00ABF7"/>
                </a:solidFill>
                <a:effectLst/>
                <a:uLnTx/>
                <a:uFillTx/>
                <a:latin typeface="Georgia" panose="02040502050405020303" pitchFamily="18" charset="0"/>
                <a:cs typeface="Segoe UI" panose="020b0502040204020203" pitchFamily="34" charset="0"/>
              </a:rPr>
              <a:t>1</a:t>
            </a:r>
          </a:p>
        </p:txBody>
      </p:sp>
      <p:sp>
        <p:nvSpPr>
          <p:cNvPr id="79" name="TextBox 78">
            <a:extLst>
              <a:ext uri="{FF2B5EF4-FFF2-40B4-BE49-F238E27FC236}">
                <a16:creationId xmlns:a16="http://schemas.microsoft.com/office/drawing/2014/main" id="{3BBA30C4-FE03-E448-A8A5-3D0A05BFC0E3}"/>
              </a:ext>
            </a:extLst>
          </p:cNvPr>
          <p:cNvSpPr txBox="1"/>
          <p:nvPr/>
        </p:nvSpPr>
        <p:spPr>
          <a:xfrm>
            <a:off x="735448" y="4693527"/>
            <a:ext cx="2236301" cy="984885"/>
          </a:xfrm>
          <a:prstGeom prst="rect">
            <a:avLst/>
          </a:prstGeom>
          <a:noFill/>
          <a:ln w="6350">
            <a:noFill/>
            <a:prstDash val="dash"/>
          </a:ln>
        </p:spPr>
        <p:txBody>
          <a:bodyPr wrap="square" lIns="0" tIns="0" rIns="0" bIns="0" rtlCol="0">
            <a:spAutoFit/>
          </a:bodyPr>
          <a:lstStyle/>
          <a:p>
            <a:pPr marL="0" marR="0" lvl="0" indent="0" algn="r" defTabSz="914400" eaLnBrk="1" fontAlgn="auto" latinLnBrk="0" hangingPunct="1">
              <a:lnSpc>
                <a:spcPct val="100000"/>
              </a:lnSpc>
              <a:spcBef>
                <a:spcPct val="0"/>
              </a:spcBef>
              <a:spcAft>
                <a:spcPct val="0"/>
              </a:spcAft>
              <a:buClrTx/>
              <a:buSzTx/>
              <a:buFontTx/>
              <a:buNone/>
              <a:defRPr/>
            </a:pPr>
            <a:r>
              <a:rPr kumimoji="0" lang="en-US" sz="1600" u="none" strike="noStrike" kern="0" cap="none" spc="0" normalizeH="0" baseline="0" noProof="0">
                <a:ln>
                  <a:noFill/>
                </a:ln>
                <a:solidFill>
                  <a:prstClr val="black">
                    <a:lumMod val="65000"/>
                    <a:lumOff val="35000"/>
                  </a:prstClr>
                </a:solidFill>
                <a:effectLst/>
                <a:uLnTx/>
                <a:uFillTx/>
                <a:latin typeface="Segoe UI Light" panose="020b0502040204020203" pitchFamily="34" charset="0"/>
              </a:rPr>
              <a:t>Lorem ipsum dolor sit amet, consectetur adipiscing elit, sed do eiusmod tempor.</a:t>
            </a:r>
          </a:p>
        </p:txBody>
      </p:sp>
      <p:sp>
        <p:nvSpPr>
          <p:cNvPr id="80" name="TextBox 79">
            <a:extLst>
              <a:ext uri="{FF2B5EF4-FFF2-40B4-BE49-F238E27FC236}">
                <a16:creationId xmlns:a16="http://schemas.microsoft.com/office/drawing/2014/main" id="{B9FE9FFB-9EEE-FC46-86AC-F7E70E6C4C61}"/>
              </a:ext>
            </a:extLst>
          </p:cNvPr>
          <p:cNvSpPr txBox="1"/>
          <p:nvPr/>
        </p:nvSpPr>
        <p:spPr>
          <a:xfrm>
            <a:off x="735448" y="4421182"/>
            <a:ext cx="2236301" cy="246221"/>
          </a:xfrm>
          <a:prstGeom prst="rect">
            <a:avLst/>
          </a:prstGeom>
          <a:noFill/>
          <a:ln w="6350">
            <a:noFill/>
            <a:prstDash val="dash"/>
          </a:ln>
        </p:spPr>
        <p:txBody>
          <a:bodyPr wrap="square" lIns="0" tIns="0" rIns="0" bIns="0" rtlCol="0">
            <a:spAutoFit/>
          </a:bodyPr>
          <a:lstStyle/>
          <a:p>
            <a:pPr marL="0" marR="0" lvl="0" indent="0" algn="r" defTabSz="914400" eaLnBrk="1" fontAlgn="auto" latinLnBrk="0" hangingPunct="1">
              <a:lnSpc>
                <a:spcPct val="100000"/>
              </a:lnSpc>
              <a:spcBef>
                <a:spcPct val="0"/>
              </a:spcBef>
              <a:spcAft>
                <a:spcPct val="0"/>
              </a:spcAft>
              <a:buClrTx/>
              <a:buSzTx/>
              <a:buFontTx/>
              <a:buNone/>
              <a:defRPr/>
            </a:pPr>
            <a:r>
              <a:rPr kumimoji="0" lang="en-US" sz="1600" b="1" i="0" u="none" strike="noStrike" kern="0" cap="none" spc="0" normalizeH="0" baseline="0" noProof="0">
                <a:ln>
                  <a:noFill/>
                </a:ln>
                <a:effectLst/>
                <a:uLnTx/>
                <a:uFillTx/>
                <a:latin typeface="Segoe UI" panose="020b0502040204020203" pitchFamily="34" charset="0"/>
                <a:cs typeface="Segoe UI" panose="020b0502040204020203" pitchFamily="34" charset="0"/>
              </a:rPr>
              <a:t>Lorem Ipsum</a:t>
            </a:r>
          </a:p>
        </p:txBody>
      </p:sp>
      <p:sp>
        <p:nvSpPr>
          <p:cNvPr id="81" name="TextBox 80">
            <a:extLst>
              <a:ext uri="{FF2B5EF4-FFF2-40B4-BE49-F238E27FC236}">
                <a16:creationId xmlns:a16="http://schemas.microsoft.com/office/drawing/2014/main" id="{F3D3E3A7-3DCC-924B-A74F-C73AB4D71584}"/>
              </a:ext>
            </a:extLst>
          </p:cNvPr>
          <p:cNvSpPr txBox="1"/>
          <p:nvPr/>
        </p:nvSpPr>
        <p:spPr>
          <a:xfrm>
            <a:off x="3321154" y="4788146"/>
            <a:ext cx="243905" cy="830997"/>
          </a:xfrm>
          <a:prstGeom prst="rect">
            <a:avLst/>
          </a:prstGeom>
          <a:noFill/>
          <a:ln w="6350">
            <a:noFill/>
            <a:prstDash val="dash"/>
          </a:ln>
        </p:spPr>
        <p:txBody>
          <a:bodyPr wrap="square" lIns="0" tIns="0" rIns="0" bIns="0" rtlCol="0" anchor="t">
            <a:spAutoFit/>
          </a:bodyPr>
          <a:lstStyle/>
          <a:p>
            <a:pPr marL="0" marR="0" lvl="0" indent="0" algn="ctr" defTabSz="914400" eaLnBrk="1" fontAlgn="auto" latinLnBrk="0" hangingPunct="1">
              <a:lnSpc>
                <a:spcPct val="100000"/>
              </a:lnSpc>
              <a:spcBef>
                <a:spcPct val="0"/>
              </a:spcBef>
              <a:spcAft>
                <a:spcPct val="0"/>
              </a:spcAft>
              <a:buClrTx/>
              <a:buSzTx/>
              <a:buFontTx/>
              <a:buNone/>
              <a:defRPr/>
            </a:pPr>
            <a:r>
              <a:rPr kumimoji="0" lang="en-US" sz="5400" b="1" i="1" u="none" strike="noStrike" kern="0" cap="none" spc="0" normalizeH="0" baseline="0" noProof="0">
                <a:ln>
                  <a:noFill/>
                </a:ln>
                <a:solidFill>
                  <a:srgbClr val="00677F"/>
                </a:solidFill>
                <a:effectLst/>
                <a:uLnTx/>
                <a:uFillTx/>
                <a:latin typeface="Georgia" panose="02040502050405020303" pitchFamily="18" charset="0"/>
                <a:cs typeface="Segoe UI" panose="020b0502040204020203" pitchFamily="34" charset="0"/>
              </a:rPr>
              <a:t>3</a:t>
            </a:r>
          </a:p>
        </p:txBody>
      </p:sp>
      <p:sp>
        <p:nvSpPr>
          <p:cNvPr id="88" name="TextBox 87">
            <a:extLst>
              <a:ext uri="{FF2B5EF4-FFF2-40B4-BE49-F238E27FC236}">
                <a16:creationId xmlns:a16="http://schemas.microsoft.com/office/drawing/2014/main" id="{74141D36-2D18-264A-B4E5-4CBF4572A525}"/>
              </a:ext>
            </a:extLst>
          </p:cNvPr>
          <p:cNvSpPr txBox="1"/>
          <p:nvPr/>
        </p:nvSpPr>
        <p:spPr>
          <a:xfrm>
            <a:off x="9419573" y="1985795"/>
            <a:ext cx="2236301" cy="984885"/>
          </a:xfrm>
          <a:prstGeom prst="rect">
            <a:avLst/>
          </a:prstGeom>
          <a:noFill/>
          <a:ln w="6350">
            <a:noFill/>
            <a:prstDash val="dash"/>
          </a:ln>
        </p:spPr>
        <p:txBody>
          <a:bodyPr wrap="square" lIns="0" tIns="0" rIns="0" bIns="0" rtlCol="0">
            <a:spAutoFit/>
          </a:bodyPr>
          <a:lstStyle/>
          <a:p>
            <a:pPr marL="0" marR="0" lvl="0" indent="0" defTabSz="914400" eaLnBrk="1" fontAlgn="auto" latinLnBrk="0" hangingPunct="1">
              <a:lnSpc>
                <a:spcPct val="100000"/>
              </a:lnSpc>
              <a:spcBef>
                <a:spcPct val="0"/>
              </a:spcBef>
              <a:spcAft>
                <a:spcPct val="0"/>
              </a:spcAft>
              <a:buClrTx/>
              <a:buSzTx/>
              <a:buFontTx/>
              <a:buNone/>
              <a:defRPr/>
            </a:pPr>
            <a:r>
              <a:rPr kumimoji="0" lang="en-US" sz="1600" u="none" strike="noStrike" kern="0" cap="none" spc="0" normalizeH="0" baseline="0" noProof="0">
                <a:ln>
                  <a:noFill/>
                </a:ln>
                <a:solidFill>
                  <a:prstClr val="black">
                    <a:lumMod val="65000"/>
                    <a:lumOff val="35000"/>
                  </a:prstClr>
                </a:solidFill>
                <a:effectLst/>
                <a:uLnTx/>
                <a:uFillTx/>
                <a:latin typeface="Segoe UI Light" panose="020b0502040204020203" pitchFamily="34" charset="0"/>
              </a:rPr>
              <a:t>Lorem ipsum dolor sit amet, consectetur adipiscing elit, sed do eiusmod tempor.</a:t>
            </a:r>
          </a:p>
        </p:txBody>
      </p:sp>
      <p:sp>
        <p:nvSpPr>
          <p:cNvPr id="89" name="TextBox 88">
            <a:extLst>
              <a:ext uri="{FF2B5EF4-FFF2-40B4-BE49-F238E27FC236}">
                <a16:creationId xmlns:a16="http://schemas.microsoft.com/office/drawing/2014/main" id="{8EED3F78-4230-A84E-B6B2-60B1E67D2C19}"/>
              </a:ext>
            </a:extLst>
          </p:cNvPr>
          <p:cNvSpPr txBox="1"/>
          <p:nvPr/>
        </p:nvSpPr>
        <p:spPr>
          <a:xfrm>
            <a:off x="9419573" y="1713450"/>
            <a:ext cx="2236301" cy="246221"/>
          </a:xfrm>
          <a:prstGeom prst="rect">
            <a:avLst/>
          </a:prstGeom>
          <a:noFill/>
          <a:ln w="6350">
            <a:noFill/>
            <a:prstDash val="dash"/>
          </a:ln>
        </p:spPr>
        <p:txBody>
          <a:bodyPr wrap="square" lIns="0" tIns="0" rIns="0" bIns="0" rtlCol="0">
            <a:spAutoFit/>
          </a:bodyPr>
          <a:lstStyle/>
          <a:p>
            <a:pPr marL="0" marR="0" lvl="0" indent="0" defTabSz="914400" eaLnBrk="1" fontAlgn="auto" latinLnBrk="0" hangingPunct="1">
              <a:lnSpc>
                <a:spcPct val="100000"/>
              </a:lnSpc>
              <a:spcBef>
                <a:spcPct val="0"/>
              </a:spcBef>
              <a:spcAft>
                <a:spcPct val="0"/>
              </a:spcAft>
              <a:buClrTx/>
              <a:buSzTx/>
              <a:buFontTx/>
              <a:buNone/>
              <a:defRPr/>
            </a:pPr>
            <a:r>
              <a:rPr kumimoji="0" lang="en-US" sz="1600" b="1" i="0" u="none" strike="noStrike" kern="0" cap="none" spc="0" normalizeH="0" baseline="0" noProof="0">
                <a:ln>
                  <a:noFill/>
                </a:ln>
                <a:effectLst/>
                <a:uLnTx/>
                <a:uFillTx/>
                <a:latin typeface="Segoe UI" panose="020b0502040204020203" pitchFamily="34" charset="0"/>
                <a:cs typeface="Segoe UI" panose="020b0502040204020203" pitchFamily="34" charset="0"/>
              </a:rPr>
              <a:t>Lorem Ipsum</a:t>
            </a:r>
          </a:p>
        </p:txBody>
      </p:sp>
      <p:sp>
        <p:nvSpPr>
          <p:cNvPr id="90" name="TextBox 89">
            <a:extLst>
              <a:ext uri="{FF2B5EF4-FFF2-40B4-BE49-F238E27FC236}">
                <a16:creationId xmlns:a16="http://schemas.microsoft.com/office/drawing/2014/main" id="{680EEB55-1264-1340-968A-91AF1D7A87DC}"/>
              </a:ext>
            </a:extLst>
          </p:cNvPr>
          <p:cNvSpPr txBox="1"/>
          <p:nvPr/>
        </p:nvSpPr>
        <p:spPr>
          <a:xfrm>
            <a:off x="8681706" y="2099472"/>
            <a:ext cx="243905" cy="830997"/>
          </a:xfrm>
          <a:prstGeom prst="rect">
            <a:avLst/>
          </a:prstGeom>
          <a:noFill/>
          <a:ln w="6350">
            <a:noFill/>
            <a:prstDash val="dash"/>
          </a:ln>
        </p:spPr>
        <p:txBody>
          <a:bodyPr wrap="square" lIns="0" tIns="0" rIns="0" bIns="0" rtlCol="0" anchor="t">
            <a:spAutoFit/>
          </a:bodyPr>
          <a:lstStyle/>
          <a:p>
            <a:pPr marL="0" marR="0" lvl="0" indent="0" algn="ctr" defTabSz="914400" eaLnBrk="1" fontAlgn="auto" latinLnBrk="0" hangingPunct="1">
              <a:lnSpc>
                <a:spcPct val="100000"/>
              </a:lnSpc>
              <a:spcBef>
                <a:spcPct val="0"/>
              </a:spcBef>
              <a:spcAft>
                <a:spcPct val="0"/>
              </a:spcAft>
              <a:buClrTx/>
              <a:buSzTx/>
              <a:buFontTx/>
              <a:buNone/>
              <a:defRPr/>
            </a:pPr>
            <a:r>
              <a:rPr kumimoji="0" lang="en-US" sz="5400" b="1" i="1" u="none" strike="noStrike" kern="0" cap="none" spc="0" normalizeH="0" baseline="0" noProof="0">
                <a:ln>
                  <a:noFill/>
                </a:ln>
                <a:solidFill>
                  <a:srgbClr val="00677F"/>
                </a:solidFill>
                <a:effectLst/>
                <a:uLnTx/>
                <a:uFillTx/>
                <a:latin typeface="Georgia" panose="02040502050405020303" pitchFamily="18" charset="0"/>
                <a:cs typeface="Segoe UI" panose="020b0502040204020203" pitchFamily="34" charset="0"/>
              </a:rPr>
              <a:t>2</a:t>
            </a:r>
          </a:p>
        </p:txBody>
      </p:sp>
      <p:sp>
        <p:nvSpPr>
          <p:cNvPr id="85" name="TextBox 84">
            <a:extLst>
              <a:ext uri="{FF2B5EF4-FFF2-40B4-BE49-F238E27FC236}">
                <a16:creationId xmlns:a16="http://schemas.microsoft.com/office/drawing/2014/main" id="{A10406DD-46D1-5640-ACAD-9074E441B254}"/>
              </a:ext>
            </a:extLst>
          </p:cNvPr>
          <p:cNvSpPr txBox="1"/>
          <p:nvPr/>
        </p:nvSpPr>
        <p:spPr>
          <a:xfrm>
            <a:off x="9419573" y="4693527"/>
            <a:ext cx="2236301" cy="984885"/>
          </a:xfrm>
          <a:prstGeom prst="rect">
            <a:avLst/>
          </a:prstGeom>
          <a:noFill/>
          <a:ln w="6350">
            <a:noFill/>
            <a:prstDash val="dash"/>
          </a:ln>
        </p:spPr>
        <p:txBody>
          <a:bodyPr wrap="square" lIns="0" tIns="0" rIns="0" bIns="0" rtlCol="0">
            <a:spAutoFit/>
          </a:bodyPr>
          <a:lstStyle/>
          <a:p>
            <a:pPr marL="0" marR="0" lvl="0" indent="0" defTabSz="914400" eaLnBrk="1" fontAlgn="auto" latinLnBrk="0" hangingPunct="1">
              <a:lnSpc>
                <a:spcPct val="100000"/>
              </a:lnSpc>
              <a:spcBef>
                <a:spcPct val="0"/>
              </a:spcBef>
              <a:spcAft>
                <a:spcPct val="0"/>
              </a:spcAft>
              <a:buClrTx/>
              <a:buSzTx/>
              <a:buFontTx/>
              <a:buNone/>
              <a:defRPr/>
            </a:pPr>
            <a:r>
              <a:rPr kumimoji="0" lang="en-US" sz="1600" u="none" strike="noStrike" kern="0" cap="none" spc="0" normalizeH="0" baseline="0" noProof="0">
                <a:ln>
                  <a:noFill/>
                </a:ln>
                <a:solidFill>
                  <a:prstClr val="black">
                    <a:lumMod val="65000"/>
                    <a:lumOff val="35000"/>
                  </a:prstClr>
                </a:solidFill>
                <a:effectLst/>
                <a:uLnTx/>
                <a:uFillTx/>
                <a:latin typeface="Segoe UI Light" panose="020b0502040204020203" pitchFamily="34" charset="0"/>
              </a:rPr>
              <a:t>Lorem ipsum dolor sit amet, consectetur adipiscing elit, sed do eiusmod tempor.</a:t>
            </a:r>
          </a:p>
        </p:txBody>
      </p:sp>
      <p:sp>
        <p:nvSpPr>
          <p:cNvPr id="86" name="TextBox 85">
            <a:extLst>
              <a:ext uri="{FF2B5EF4-FFF2-40B4-BE49-F238E27FC236}">
                <a16:creationId xmlns:a16="http://schemas.microsoft.com/office/drawing/2014/main" id="{EE0F994C-CC47-224A-9ED2-D27B39AFFB55}"/>
              </a:ext>
            </a:extLst>
          </p:cNvPr>
          <p:cNvSpPr txBox="1"/>
          <p:nvPr/>
        </p:nvSpPr>
        <p:spPr>
          <a:xfrm>
            <a:off x="9419573" y="4421182"/>
            <a:ext cx="2236301" cy="246221"/>
          </a:xfrm>
          <a:prstGeom prst="rect">
            <a:avLst/>
          </a:prstGeom>
          <a:noFill/>
          <a:ln w="6350">
            <a:noFill/>
            <a:prstDash val="dash"/>
          </a:ln>
        </p:spPr>
        <p:txBody>
          <a:bodyPr wrap="square" lIns="0" tIns="0" rIns="0" bIns="0" rtlCol="0">
            <a:spAutoFit/>
          </a:bodyPr>
          <a:lstStyle/>
          <a:p>
            <a:pPr marL="0" marR="0" lvl="0" indent="0" defTabSz="914400" eaLnBrk="1" fontAlgn="auto" latinLnBrk="0" hangingPunct="1">
              <a:lnSpc>
                <a:spcPct val="100000"/>
              </a:lnSpc>
              <a:spcBef>
                <a:spcPct val="0"/>
              </a:spcBef>
              <a:spcAft>
                <a:spcPct val="0"/>
              </a:spcAft>
              <a:buClrTx/>
              <a:buSzTx/>
              <a:buFontTx/>
              <a:buNone/>
              <a:defRPr/>
            </a:pPr>
            <a:r>
              <a:rPr kumimoji="0" lang="en-US" sz="1600" b="1" i="0" u="none" strike="noStrike" kern="0" cap="none" spc="0" normalizeH="0" baseline="0" noProof="0">
                <a:ln>
                  <a:noFill/>
                </a:ln>
                <a:effectLst/>
                <a:uLnTx/>
                <a:uFillTx/>
                <a:latin typeface="Segoe UI" panose="020b0502040204020203" pitchFamily="34" charset="0"/>
                <a:cs typeface="Segoe UI" panose="020b0502040204020203" pitchFamily="34" charset="0"/>
              </a:rPr>
              <a:t>Lorem Ipsum</a:t>
            </a:r>
          </a:p>
        </p:txBody>
      </p:sp>
      <p:sp>
        <p:nvSpPr>
          <p:cNvPr id="87" name="TextBox 86">
            <a:extLst>
              <a:ext uri="{FF2B5EF4-FFF2-40B4-BE49-F238E27FC236}">
                <a16:creationId xmlns:a16="http://schemas.microsoft.com/office/drawing/2014/main" id="{9212E0CF-B573-4948-A8E6-CF0FE5493BB7}"/>
              </a:ext>
            </a:extLst>
          </p:cNvPr>
          <p:cNvSpPr txBox="1"/>
          <p:nvPr/>
        </p:nvSpPr>
        <p:spPr>
          <a:xfrm>
            <a:off x="8681706" y="4788146"/>
            <a:ext cx="243905" cy="830997"/>
          </a:xfrm>
          <a:prstGeom prst="rect">
            <a:avLst/>
          </a:prstGeom>
          <a:noFill/>
          <a:ln w="6350">
            <a:noFill/>
            <a:prstDash val="dash"/>
          </a:ln>
        </p:spPr>
        <p:txBody>
          <a:bodyPr wrap="square" lIns="0" tIns="0" rIns="0" bIns="0" rtlCol="0" anchor="t">
            <a:spAutoFit/>
          </a:bodyPr>
          <a:lstStyle/>
          <a:p>
            <a:pPr marL="0" marR="0" lvl="0" indent="0" algn="ctr" defTabSz="914400" eaLnBrk="1" fontAlgn="auto" latinLnBrk="0" hangingPunct="1">
              <a:lnSpc>
                <a:spcPct val="100000"/>
              </a:lnSpc>
              <a:spcBef>
                <a:spcPct val="0"/>
              </a:spcBef>
              <a:spcAft>
                <a:spcPct val="0"/>
              </a:spcAft>
              <a:buClrTx/>
              <a:buSzTx/>
              <a:buFontTx/>
              <a:buNone/>
              <a:defRPr/>
            </a:pPr>
            <a:r>
              <a:rPr kumimoji="0" lang="en-US" sz="5400" b="1" i="1" u="none" strike="noStrike" kern="0" cap="none" spc="0" normalizeH="0" baseline="0" noProof="0">
                <a:ln>
                  <a:noFill/>
                </a:ln>
                <a:solidFill>
                  <a:srgbClr val="00ABF7"/>
                </a:solidFill>
                <a:effectLst/>
                <a:uLnTx/>
                <a:uFillTx/>
                <a:latin typeface="Georgia" panose="02040502050405020303" pitchFamily="18" charset="0"/>
                <a:cs typeface="Segoe UI" panose="020b0502040204020203" pitchFamily="34" charset="0"/>
              </a:rPr>
              <a:t>4</a:t>
            </a:r>
          </a:p>
        </p:txBody>
      </p:sp>
      <p:cxnSp>
        <p:nvCxnSpPr>
          <p:cNvPr id="14" name="Conector recto 13">
            <a:extLst>
              <a:ext uri="{FF2B5EF4-FFF2-40B4-BE49-F238E27FC236}">
                <a16:creationId xmlns:a16="http://schemas.microsoft.com/office/drawing/2014/main" id="{D732457E-024F-FF65-5C61-F861B25FDB6D}"/>
              </a:ext>
            </a:extLst>
          </p:cNvPr>
          <p:cNvCxnSpPr/>
          <p:nvPr/>
        </p:nvCxnSpPr>
        <p:spPr>
          <a:xfrm flipH="1">
            <a:off x="990631" y="1011118"/>
            <a:ext cx="10243035" cy="14931"/>
          </a:xfrm>
          <a:prstGeom prst="line">
            <a:avLst/>
          </a:prstGeom>
          <a:ln w="28575">
            <a:solidFill>
              <a:srgbClr val="00677F"/>
            </a:solidFill>
          </a:ln>
        </p:spPr>
        <p:style>
          <a:lnRef idx="1">
            <a:schemeClr val="accent1"/>
          </a:lnRef>
          <a:fillRef idx="0">
            <a:schemeClr val="accent1"/>
          </a:fillRef>
          <a:effectRef idx="0">
            <a:schemeClr val="accent1"/>
          </a:effectRef>
          <a:fontRef idx="minor">
            <a:schemeClr val="tx1"/>
          </a:fontRef>
        </p:style>
      </p:cxnSp>
      <p:pic>
        <p:nvPicPr>
          <p:cNvPr id="16" name="Imagen 15">
            <a:extLst>
              <a:ext uri="{FF2B5EF4-FFF2-40B4-BE49-F238E27FC236}">
                <a16:creationId xmlns:a16="http://schemas.microsoft.com/office/drawing/2014/main" id="{D8C61258-98CF-AF1C-DA1C-724C8D867B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41323" y="152883"/>
            <a:ext cx="1384685" cy="1384685"/>
          </a:xfrm>
          <a:prstGeom prst="rect">
            <a:avLst/>
          </a:prstGeom>
        </p:spPr>
      </p:pic>
      <p:sp>
        <p:nvSpPr>
          <p:cNvPr id="19" name="TextBox 9">
            <a:extLst>
              <a:ext uri="{FF2B5EF4-FFF2-40B4-BE49-F238E27FC236}">
                <a16:creationId xmlns:a16="http://schemas.microsoft.com/office/drawing/2014/main" id="{F3104EF9-E280-CA8A-ED57-F80C97783974}"/>
              </a:ext>
            </a:extLst>
          </p:cNvPr>
          <p:cNvSpPr txBox="1"/>
          <p:nvPr/>
        </p:nvSpPr>
        <p:spPr>
          <a:xfrm>
            <a:off x="914171" y="127378"/>
            <a:ext cx="3876061" cy="923330"/>
          </a:xfrm>
          <a:prstGeom prst="rect">
            <a:avLst/>
          </a:prstGeom>
          <a:noFill/>
        </p:spPr>
        <p:txBody>
          <a:bodyPr wrap="none" lIns="0" tIns="0" rIns="0" bIns="0" rtlCol="0">
            <a:spAutoFit/>
          </a:bodyPr>
          <a:lstStyle/>
          <a:p>
            <a:r>
              <a:rPr lang="en-US" sz="6000" b="1">
                <a:solidFill>
                  <a:schemeClr val="tx1">
                    <a:lumMod val="65000"/>
                    <a:lumOff val="35000"/>
                  </a:schemeClr>
                </a:solidFill>
                <a:latin typeface="Segoe UI" panose="020b0502040204020203" pitchFamily="34" charset="0"/>
                <a:cs typeface="Segoe UI" panose="020b0502040204020203" pitchFamily="34" charset="0"/>
              </a:rPr>
              <a:t>BAHAMAS</a:t>
            </a:r>
          </a:p>
        </p:txBody>
      </p:sp>
      <p:sp>
        <p:nvSpPr>
          <p:cNvPr id="20" name="TextBox 9">
            <a:extLst>
              <a:ext uri="{FF2B5EF4-FFF2-40B4-BE49-F238E27FC236}">
                <a16:creationId xmlns:a16="http://schemas.microsoft.com/office/drawing/2014/main" id="{0179A876-3750-97D5-EF3E-60E52128FFD4}"/>
              </a:ext>
            </a:extLst>
          </p:cNvPr>
          <p:cNvSpPr txBox="1"/>
          <p:nvPr/>
        </p:nvSpPr>
        <p:spPr>
          <a:xfrm>
            <a:off x="911835" y="1034371"/>
            <a:ext cx="2068067" cy="430887"/>
          </a:xfrm>
          <a:prstGeom prst="rect">
            <a:avLst/>
          </a:prstGeom>
          <a:noFill/>
        </p:spPr>
        <p:txBody>
          <a:bodyPr wrap="none" lIns="0" tIns="0" rIns="0" bIns="0" rtlCol="0">
            <a:spAutoFit/>
          </a:bodyPr>
          <a:lstStyle/>
          <a:p>
            <a:pPr algn="ctr"/>
            <a:r>
              <a:rPr lang="en-US" sz="2800" b="1">
                <a:solidFill>
                  <a:srgbClr val="02BAC8"/>
                </a:solidFill>
                <a:latin typeface="Segoe UI" panose="020b0502040204020203" pitchFamily="34" charset="0"/>
                <a:cs typeface="Segoe UI" panose="020b0502040204020203" pitchFamily="34" charset="0"/>
              </a:rPr>
              <a:t>Gastronomy</a:t>
            </a:r>
          </a:p>
        </p:txBody>
      </p:sp>
      <p:grpSp>
        <p:nvGrpSpPr>
          <p:cNvPr id="21" name="Grupo 20">
            <a:extLst>
              <a:ext uri="{FF2B5EF4-FFF2-40B4-BE49-F238E27FC236}">
                <a16:creationId xmlns:a16="http://schemas.microsoft.com/office/drawing/2014/main" id="{7BE64879-4007-0A69-9157-7C676D0C5F91}"/>
              </a:ext>
            </a:extLst>
          </p:cNvPr>
          <p:cNvGrpSpPr/>
          <p:nvPr/>
        </p:nvGrpSpPr>
        <p:grpSpPr>
          <a:xfrm>
            <a:off x="217726" y="24829"/>
            <a:ext cx="792527" cy="1306401"/>
            <a:chOff x="283851" y="5461857"/>
            <a:chExt cx="846969" cy="1396143"/>
          </a:xfrm>
          <a:solidFill>
            <a:srgbClr val="06DBE7"/>
          </a:solidFill>
        </p:grpSpPr>
        <p:sp>
          <p:nvSpPr>
            <p:cNvPr id="22" name="Forma libre: forma 21">
              <a:extLst>
                <a:ext uri="{FF2B5EF4-FFF2-40B4-BE49-F238E27FC236}">
                  <a16:creationId xmlns:a16="http://schemas.microsoft.com/office/drawing/2014/main" id="{13A90261-CA1C-55E7-B493-180CCC48DF9E}"/>
                </a:ext>
              </a:extLst>
            </p:cNvPr>
            <p:cNvSpPr/>
            <p:nvPr/>
          </p:nvSpPr>
          <p:spPr>
            <a:xfrm>
              <a:off x="283851" y="5461857"/>
              <a:ext cx="846969" cy="468186"/>
            </a:xfrm>
            <a:custGeom>
              <a:gdLst>
                <a:gd name="connsiteX0" fmla="*/ 585515 w 846969"/>
                <a:gd name="connsiteY0" fmla="*/ 123160 h 468186"/>
                <a:gd name="connsiteX1" fmla="*/ 374091 w 846969"/>
                <a:gd name="connsiteY1" fmla="*/ 150510 h 468186"/>
                <a:gd name="connsiteX2" fmla="*/ 58700 w 846969"/>
                <a:gd name="connsiteY2" fmla="*/ 260683 h 468186"/>
                <a:gd name="connsiteX3" fmla="*/ 7105 w 846969"/>
                <a:gd name="connsiteY3" fmla="*/ 260683 h 468186"/>
                <a:gd name="connsiteX4" fmla="*/ 14476 w 846969"/>
                <a:gd name="connsiteY4" fmla="*/ 205208 h 468186"/>
                <a:gd name="connsiteX5" fmla="*/ 215232 w 846969"/>
                <a:gd name="connsiteY5" fmla="*/ 41694 h 468186"/>
                <a:gd name="connsiteX6" fmla="*/ 547303 w 846969"/>
                <a:gd name="connsiteY6" fmla="*/ 4259 h 468186"/>
                <a:gd name="connsiteX7" fmla="*/ 805280 w 846969"/>
                <a:gd name="connsiteY7" fmla="*/ 54302 h 468186"/>
                <a:gd name="connsiteX8" fmla="*/ 846788 w 846969"/>
                <a:gd name="connsiteY8" fmla="*/ 87470 h 468186"/>
                <a:gd name="connsiteX9" fmla="*/ 815366 w 846969"/>
                <a:gd name="connsiteY9" fmla="*/ 131307 h 468186"/>
                <a:gd name="connsiteX10" fmla="*/ 705968 w 846969"/>
                <a:gd name="connsiteY10" fmla="*/ 242644 h 468186"/>
                <a:gd name="connsiteX11" fmla="*/ 376612 w 846969"/>
                <a:gd name="connsiteY11" fmla="*/ 464348 h 468186"/>
                <a:gd name="connsiteX12" fmla="*/ 89735 w 846969"/>
                <a:gd name="connsiteY12" fmla="*/ 417990 h 468186"/>
                <a:gd name="connsiteX13" fmla="*/ 60058 w 846969"/>
                <a:gd name="connsiteY13" fmla="*/ 386762 h 468186"/>
                <a:gd name="connsiteX14" fmla="*/ 86826 w 846969"/>
                <a:gd name="connsiteY14" fmla="*/ 349326 h 468186"/>
                <a:gd name="connsiteX15" fmla="*/ 550407 w 846969"/>
                <a:gd name="connsiteY15" fmla="*/ 135186 h 468186"/>
                <a:gd name="connsiteX16" fmla="*/ 585321 w 846969"/>
                <a:gd name="connsiteY16" fmla="*/ 123160 h 46818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46969" h="468186">
                  <a:moveTo>
                    <a:pt x="585515" y="123160"/>
                  </a:moveTo>
                  <a:cubicBezTo>
                    <a:pt x="513747" y="122191"/>
                    <a:pt x="443531" y="133829"/>
                    <a:pt x="374091" y="150510"/>
                  </a:cubicBezTo>
                  <a:cubicBezTo>
                    <a:pt x="265275" y="176501"/>
                    <a:pt x="159757" y="212385"/>
                    <a:pt x="58700" y="260683"/>
                  </a:cubicBezTo>
                  <a:cubicBezTo>
                    <a:pt x="41631" y="268830"/>
                    <a:pt x="22816" y="281050"/>
                    <a:pt x="7105" y="260683"/>
                  </a:cubicBezTo>
                  <a:cubicBezTo>
                    <a:pt x="-7636" y="241480"/>
                    <a:pt x="3420" y="222278"/>
                    <a:pt x="14476" y="205208"/>
                  </a:cubicBezTo>
                  <a:cubicBezTo>
                    <a:pt x="63162" y="128591"/>
                    <a:pt x="132990" y="77578"/>
                    <a:pt x="215232" y="41694"/>
                  </a:cubicBezTo>
                  <a:cubicBezTo>
                    <a:pt x="322108" y="-5052"/>
                    <a:pt x="434802" y="-3694"/>
                    <a:pt x="547303" y="4259"/>
                  </a:cubicBezTo>
                  <a:cubicBezTo>
                    <a:pt x="634977" y="10660"/>
                    <a:pt x="720710" y="30638"/>
                    <a:pt x="805280" y="54302"/>
                  </a:cubicBezTo>
                  <a:cubicBezTo>
                    <a:pt x="823706" y="59345"/>
                    <a:pt x="844655" y="64000"/>
                    <a:pt x="846788" y="87470"/>
                  </a:cubicBezTo>
                  <a:cubicBezTo>
                    <a:pt x="848922" y="109583"/>
                    <a:pt x="831853" y="120639"/>
                    <a:pt x="815366" y="131307"/>
                  </a:cubicBezTo>
                  <a:cubicBezTo>
                    <a:pt x="770753" y="160402"/>
                    <a:pt x="734094" y="197450"/>
                    <a:pt x="705968" y="242644"/>
                  </a:cubicBezTo>
                  <a:cubicBezTo>
                    <a:pt x="629351" y="366007"/>
                    <a:pt x="524415" y="447279"/>
                    <a:pt x="376612" y="464348"/>
                  </a:cubicBezTo>
                  <a:cubicBezTo>
                    <a:pt x="276913" y="475792"/>
                    <a:pt x="180706" y="462021"/>
                    <a:pt x="89735" y="417990"/>
                  </a:cubicBezTo>
                  <a:cubicBezTo>
                    <a:pt x="75769" y="411201"/>
                    <a:pt x="60640" y="405188"/>
                    <a:pt x="60058" y="386762"/>
                  </a:cubicBezTo>
                  <a:cubicBezTo>
                    <a:pt x="59476" y="368141"/>
                    <a:pt x="72278" y="358248"/>
                    <a:pt x="86826" y="349326"/>
                  </a:cubicBezTo>
                  <a:cubicBezTo>
                    <a:pt x="232689" y="258937"/>
                    <a:pt x="387281" y="187945"/>
                    <a:pt x="550407" y="135186"/>
                  </a:cubicBezTo>
                  <a:cubicBezTo>
                    <a:pt x="562045" y="131501"/>
                    <a:pt x="573683" y="127234"/>
                    <a:pt x="585321" y="123160"/>
                  </a:cubicBezTo>
                  <a:close/>
                </a:path>
              </a:pathLst>
            </a:custGeom>
            <a:solidFill>
              <a:srgbClr val="00ABF7"/>
            </a:solidFill>
            <a:ln w="19266" cap="flat">
              <a:noFill/>
              <a:prstDash val="solid"/>
              <a:miter/>
            </a:ln>
          </p:spPr>
          <p:txBody>
            <a:bodyPr rtlCol="0" anchor="ctr"/>
            <a:lstStyle/>
            <a:p>
              <a:endParaRPr lang="es-PE"/>
            </a:p>
          </p:txBody>
        </p:sp>
        <p:sp>
          <p:nvSpPr>
            <p:cNvPr id="23" name="Forma libre: forma 22">
              <a:extLst>
                <a:ext uri="{FF2B5EF4-FFF2-40B4-BE49-F238E27FC236}">
                  <a16:creationId xmlns:a16="http://schemas.microsoft.com/office/drawing/2014/main" id="{2C5510E2-3EA1-43C0-CD47-EA1AD4249707}"/>
                </a:ext>
              </a:extLst>
            </p:cNvPr>
            <p:cNvSpPr/>
            <p:nvPr/>
          </p:nvSpPr>
          <p:spPr>
            <a:xfrm>
              <a:off x="507131" y="5943613"/>
              <a:ext cx="297179" cy="914387"/>
            </a:xfrm>
            <a:custGeom>
              <a:gdLst>
                <a:gd name="connsiteX0" fmla="*/ 76327 w 297179"/>
                <a:gd name="connsiteY0" fmla="*/ 250461 h 914387"/>
                <a:gd name="connsiteX1" fmla="*/ 87189 w 297179"/>
                <a:gd name="connsiteY1" fmla="*/ 213801 h 914387"/>
                <a:gd name="connsiteX2" fmla="*/ 91651 w 297179"/>
                <a:gd name="connsiteY2" fmla="*/ 56494 h 914387"/>
                <a:gd name="connsiteX3" fmla="*/ 107168 w 297179"/>
                <a:gd name="connsiteY3" fmla="*/ 30114 h 914387"/>
                <a:gd name="connsiteX4" fmla="*/ 134323 w 297179"/>
                <a:gd name="connsiteY4" fmla="*/ 56106 h 914387"/>
                <a:gd name="connsiteX5" fmla="*/ 139366 w 297179"/>
                <a:gd name="connsiteY5" fmla="*/ 216128 h 914387"/>
                <a:gd name="connsiteX6" fmla="*/ 149065 w 297179"/>
                <a:gd name="connsiteY6" fmla="*/ 248133 h 914387"/>
                <a:gd name="connsiteX7" fmla="*/ 159733 w 297179"/>
                <a:gd name="connsiteY7" fmla="*/ 208176 h 914387"/>
                <a:gd name="connsiteX8" fmla="*/ 161091 w 297179"/>
                <a:gd name="connsiteY8" fmla="*/ 65028 h 914387"/>
                <a:gd name="connsiteX9" fmla="*/ 161867 w 297179"/>
                <a:gd name="connsiteY9" fmla="*/ 42140 h 914387"/>
                <a:gd name="connsiteX10" fmla="*/ 189798 w 297179"/>
                <a:gd name="connsiteY10" fmla="*/ 20416 h 914387"/>
                <a:gd name="connsiteX11" fmla="*/ 205121 w 297179"/>
                <a:gd name="connsiteY11" fmla="*/ 42916 h 914387"/>
                <a:gd name="connsiteX12" fmla="*/ 208613 w 297179"/>
                <a:gd name="connsiteY12" fmla="*/ 214577 h 914387"/>
                <a:gd name="connsiteX13" fmla="*/ 218699 w 297179"/>
                <a:gd name="connsiteY13" fmla="*/ 245805 h 914387"/>
                <a:gd name="connsiteX14" fmla="*/ 229173 w 297179"/>
                <a:gd name="connsiteY14" fmla="*/ 214965 h 914387"/>
                <a:gd name="connsiteX15" fmla="*/ 234604 w 297179"/>
                <a:gd name="connsiteY15" fmla="*/ 37679 h 914387"/>
                <a:gd name="connsiteX16" fmla="*/ 235574 w 297179"/>
                <a:gd name="connsiteY16" fmla="*/ 20610 h 914387"/>
                <a:gd name="connsiteX17" fmla="*/ 266027 w 297179"/>
                <a:gd name="connsiteY17" fmla="*/ 49 h 914387"/>
                <a:gd name="connsiteX18" fmla="*/ 279217 w 297179"/>
                <a:gd name="connsiteY18" fmla="*/ 20998 h 914387"/>
                <a:gd name="connsiteX19" fmla="*/ 296480 w 297179"/>
                <a:gd name="connsiteY19" fmla="*/ 271991 h 914387"/>
                <a:gd name="connsiteX20" fmla="*/ 245660 w 297179"/>
                <a:gd name="connsiteY20" fmla="*/ 388953 h 914387"/>
                <a:gd name="connsiteX21" fmla="*/ 224518 w 297179"/>
                <a:gd name="connsiteY21" fmla="*/ 403695 h 914387"/>
                <a:gd name="connsiteX22" fmla="*/ 185337 w 297179"/>
                <a:gd name="connsiteY22" fmla="*/ 477984 h 914387"/>
                <a:gd name="connsiteX23" fmla="*/ 222384 w 297179"/>
                <a:gd name="connsiteY23" fmla="*/ 855637 h 914387"/>
                <a:gd name="connsiteX24" fmla="*/ 172535 w 297179"/>
                <a:gd name="connsiteY24" fmla="*/ 914216 h 914387"/>
                <a:gd name="connsiteX25" fmla="*/ 115315 w 297179"/>
                <a:gd name="connsiteY25" fmla="*/ 914216 h 914387"/>
                <a:gd name="connsiteX26" fmla="*/ 73806 w 297179"/>
                <a:gd name="connsiteY26" fmla="*/ 865918 h 914387"/>
                <a:gd name="connsiteX27" fmla="*/ 105228 w 297179"/>
                <a:gd name="connsiteY27" fmla="*/ 668265 h 914387"/>
                <a:gd name="connsiteX28" fmla="*/ 109496 w 297179"/>
                <a:gd name="connsiteY28" fmla="*/ 459557 h 914387"/>
                <a:gd name="connsiteX29" fmla="*/ 82728 w 297179"/>
                <a:gd name="connsiteY29" fmla="*/ 411259 h 914387"/>
                <a:gd name="connsiteX30" fmla="*/ 46068 w 297179"/>
                <a:gd name="connsiteY30" fmla="*/ 383716 h 914387"/>
                <a:gd name="connsiteX31" fmla="*/ 292 w 297179"/>
                <a:gd name="connsiteY31" fmla="*/ 284017 h 914387"/>
                <a:gd name="connsiteX32" fmla="*/ 16779 w 297179"/>
                <a:gd name="connsiteY32" fmla="*/ 50093 h 914387"/>
                <a:gd name="connsiteX33" fmla="*/ 37146 w 297179"/>
                <a:gd name="connsiteY33" fmla="*/ 27205 h 914387"/>
                <a:gd name="connsiteX34" fmla="*/ 64495 w 297179"/>
                <a:gd name="connsiteY34" fmla="*/ 52420 h 914387"/>
                <a:gd name="connsiteX35" fmla="*/ 66047 w 297179"/>
                <a:gd name="connsiteY35" fmla="*/ 204102 h 914387"/>
                <a:gd name="connsiteX36" fmla="*/ 76521 w 297179"/>
                <a:gd name="connsiteY36" fmla="*/ 250073 h 91438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97179" h="914387">
                  <a:moveTo>
                    <a:pt x="76327" y="250461"/>
                  </a:moveTo>
                  <a:cubicBezTo>
                    <a:pt x="90099" y="238823"/>
                    <a:pt x="86801" y="225633"/>
                    <a:pt x="87189" y="213801"/>
                  </a:cubicBezTo>
                  <a:cubicBezTo>
                    <a:pt x="88935" y="161430"/>
                    <a:pt x="90099" y="109059"/>
                    <a:pt x="91651" y="56494"/>
                  </a:cubicBezTo>
                  <a:cubicBezTo>
                    <a:pt x="92039" y="45050"/>
                    <a:pt x="91651" y="32830"/>
                    <a:pt x="107168" y="30114"/>
                  </a:cubicBezTo>
                  <a:cubicBezTo>
                    <a:pt x="127922" y="26817"/>
                    <a:pt x="133935" y="37291"/>
                    <a:pt x="134323" y="56106"/>
                  </a:cubicBezTo>
                  <a:cubicBezTo>
                    <a:pt x="135487" y="109447"/>
                    <a:pt x="137233" y="162788"/>
                    <a:pt x="139366" y="216128"/>
                  </a:cubicBezTo>
                  <a:cubicBezTo>
                    <a:pt x="139754" y="226603"/>
                    <a:pt x="135487" y="239210"/>
                    <a:pt x="149065" y="248133"/>
                  </a:cubicBezTo>
                  <a:cubicBezTo>
                    <a:pt x="160121" y="236495"/>
                    <a:pt x="159539" y="222141"/>
                    <a:pt x="159733" y="208176"/>
                  </a:cubicBezTo>
                  <a:cubicBezTo>
                    <a:pt x="160315" y="160460"/>
                    <a:pt x="160703" y="112744"/>
                    <a:pt x="161091" y="65028"/>
                  </a:cubicBezTo>
                  <a:cubicBezTo>
                    <a:pt x="161091" y="57463"/>
                    <a:pt x="161479" y="49705"/>
                    <a:pt x="161867" y="42140"/>
                  </a:cubicBezTo>
                  <a:cubicBezTo>
                    <a:pt x="162643" y="24101"/>
                    <a:pt x="175832" y="20804"/>
                    <a:pt x="189798" y="20416"/>
                  </a:cubicBezTo>
                  <a:cubicBezTo>
                    <a:pt x="205509" y="19834"/>
                    <a:pt x="204927" y="33218"/>
                    <a:pt x="205121" y="42916"/>
                  </a:cubicBezTo>
                  <a:cubicBezTo>
                    <a:pt x="206673" y="100136"/>
                    <a:pt x="207255" y="157356"/>
                    <a:pt x="208613" y="214577"/>
                  </a:cubicBezTo>
                  <a:cubicBezTo>
                    <a:pt x="209001" y="226021"/>
                    <a:pt x="204733" y="245805"/>
                    <a:pt x="218699" y="245805"/>
                  </a:cubicBezTo>
                  <a:cubicBezTo>
                    <a:pt x="233440" y="245805"/>
                    <a:pt x="228591" y="226215"/>
                    <a:pt x="229173" y="214965"/>
                  </a:cubicBezTo>
                  <a:cubicBezTo>
                    <a:pt x="231501" y="155805"/>
                    <a:pt x="232859" y="96839"/>
                    <a:pt x="234604" y="37679"/>
                  </a:cubicBezTo>
                  <a:cubicBezTo>
                    <a:pt x="234604" y="32054"/>
                    <a:pt x="234604" y="26041"/>
                    <a:pt x="235574" y="20610"/>
                  </a:cubicBezTo>
                  <a:cubicBezTo>
                    <a:pt x="238872" y="3929"/>
                    <a:pt x="252837" y="1019"/>
                    <a:pt x="266027" y="49"/>
                  </a:cubicBezTo>
                  <a:cubicBezTo>
                    <a:pt x="280574" y="-921"/>
                    <a:pt x="278635" y="12657"/>
                    <a:pt x="279217" y="20998"/>
                  </a:cubicBezTo>
                  <a:cubicBezTo>
                    <a:pt x="285036" y="104597"/>
                    <a:pt x="288915" y="188585"/>
                    <a:pt x="296480" y="271991"/>
                  </a:cubicBezTo>
                  <a:cubicBezTo>
                    <a:pt x="300941" y="321840"/>
                    <a:pt x="284066" y="359470"/>
                    <a:pt x="245660" y="388953"/>
                  </a:cubicBezTo>
                  <a:cubicBezTo>
                    <a:pt x="238872" y="394190"/>
                    <a:pt x="231695" y="399039"/>
                    <a:pt x="224518" y="403695"/>
                  </a:cubicBezTo>
                  <a:cubicBezTo>
                    <a:pt x="197363" y="421151"/>
                    <a:pt x="186694" y="445397"/>
                    <a:pt x="185337" y="477984"/>
                  </a:cubicBezTo>
                  <a:cubicBezTo>
                    <a:pt x="179906" y="605808"/>
                    <a:pt x="198332" y="730917"/>
                    <a:pt x="222384" y="855637"/>
                  </a:cubicBezTo>
                  <a:cubicBezTo>
                    <a:pt x="231307" y="901995"/>
                    <a:pt x="220445" y="914022"/>
                    <a:pt x="172535" y="914216"/>
                  </a:cubicBezTo>
                  <a:cubicBezTo>
                    <a:pt x="153526" y="914216"/>
                    <a:pt x="134323" y="914603"/>
                    <a:pt x="115315" y="914216"/>
                  </a:cubicBezTo>
                  <a:cubicBezTo>
                    <a:pt x="80207" y="913440"/>
                    <a:pt x="68569" y="900444"/>
                    <a:pt x="73806" y="865918"/>
                  </a:cubicBezTo>
                  <a:cubicBezTo>
                    <a:pt x="83892" y="799969"/>
                    <a:pt x="96112" y="734408"/>
                    <a:pt x="105228" y="668265"/>
                  </a:cubicBezTo>
                  <a:cubicBezTo>
                    <a:pt x="114733" y="599019"/>
                    <a:pt x="109883" y="529191"/>
                    <a:pt x="109496" y="459557"/>
                  </a:cubicBezTo>
                  <a:cubicBezTo>
                    <a:pt x="109496" y="439578"/>
                    <a:pt x="99603" y="423091"/>
                    <a:pt x="82728" y="411259"/>
                  </a:cubicBezTo>
                  <a:cubicBezTo>
                    <a:pt x="70314" y="402531"/>
                    <a:pt x="58094" y="393220"/>
                    <a:pt x="46068" y="383716"/>
                  </a:cubicBezTo>
                  <a:cubicBezTo>
                    <a:pt x="13870" y="358306"/>
                    <a:pt x="-2423" y="325332"/>
                    <a:pt x="292" y="284017"/>
                  </a:cubicBezTo>
                  <a:cubicBezTo>
                    <a:pt x="5529" y="206042"/>
                    <a:pt x="11348" y="128067"/>
                    <a:pt x="16779" y="50093"/>
                  </a:cubicBezTo>
                  <a:cubicBezTo>
                    <a:pt x="17749" y="36903"/>
                    <a:pt x="18137" y="25265"/>
                    <a:pt x="37146" y="27205"/>
                  </a:cubicBezTo>
                  <a:cubicBezTo>
                    <a:pt x="53633" y="28950"/>
                    <a:pt x="64301" y="33412"/>
                    <a:pt x="64495" y="52420"/>
                  </a:cubicBezTo>
                  <a:cubicBezTo>
                    <a:pt x="64495" y="103046"/>
                    <a:pt x="65465" y="153477"/>
                    <a:pt x="66047" y="204102"/>
                  </a:cubicBezTo>
                  <a:cubicBezTo>
                    <a:pt x="66047" y="219038"/>
                    <a:pt x="65465" y="234361"/>
                    <a:pt x="76521" y="250073"/>
                  </a:cubicBezTo>
                  <a:close/>
                </a:path>
              </a:pathLst>
            </a:custGeom>
            <a:solidFill>
              <a:schemeClr val="bg1">
                <a:lumMod val="65000"/>
              </a:schemeClr>
            </a:solidFill>
            <a:ln w="19266" cap="flat">
              <a:noFill/>
              <a:prstDash val="solid"/>
              <a:miter/>
            </a:ln>
          </p:spPr>
          <p:txBody>
            <a:bodyPr rtlCol="0" anchor="ctr"/>
            <a:lstStyle/>
            <a:p>
              <a:endParaRPr lang="es-PE"/>
            </a:p>
          </p:txBody>
        </p:sp>
      </p:grpSp>
      <p:pic>
        <p:nvPicPr>
          <p:cNvPr id="35" name="Imagen 34">
            <a:extLst>
              <a:ext uri="{FF2B5EF4-FFF2-40B4-BE49-F238E27FC236}">
                <a16:creationId xmlns:a16="http://schemas.microsoft.com/office/drawing/2014/main" id="{7C3F8D16-E912-A48D-8107-1C8072278E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21841" y="1094925"/>
            <a:ext cx="3039493" cy="3039493"/>
          </a:xfrm>
          <a:prstGeom prst="rect">
            <a:avLst/>
          </a:prstGeom>
        </p:spPr>
      </p:pic>
      <p:sp>
        <p:nvSpPr>
          <p:cNvPr id="33" name="TextBox 63">
            <a:extLst>
              <a:ext uri="{FF2B5EF4-FFF2-40B4-BE49-F238E27FC236}">
                <a16:creationId xmlns:a16="http://schemas.microsoft.com/office/drawing/2014/main" id="{BDA16EDA-FE6B-C271-C5FD-D80698A9CF51}"/>
              </a:ext>
            </a:extLst>
          </p:cNvPr>
          <p:cNvSpPr txBox="1"/>
          <p:nvPr/>
        </p:nvSpPr>
        <p:spPr>
          <a:xfrm>
            <a:off x="5222003" y="5846882"/>
            <a:ext cx="1922597" cy="861774"/>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ct val="0"/>
              </a:spcBef>
              <a:spcAft>
                <a:spcPct val="0"/>
              </a:spcAft>
              <a:buClrTx/>
              <a:buSzTx/>
              <a:buFontTx/>
              <a:buNone/>
              <a:defRPr/>
            </a:pPr>
            <a:r>
              <a:rPr kumimoji="0" lang="en-US" sz="1400" b="0" i="0" u="none" strike="noStrike" kern="0" cap="none" spc="0" normalizeH="0" baseline="0" noProof="0">
                <a:ln>
                  <a:noFill/>
                </a:ln>
                <a:solidFill>
                  <a:prstClr val="black">
                    <a:lumMod val="65000"/>
                    <a:lumOff val="35000"/>
                  </a:prstClr>
                </a:solidFill>
                <a:effectLst/>
                <a:uLnTx/>
                <a:uFillTx/>
              </a:rPr>
              <a:t>Lorem ipsum dolor sit amet, consectetur adipiscing elit, sed do eiusmod tempor.</a:t>
            </a:r>
          </a:p>
        </p:txBody>
      </p:sp>
      <p:pic>
        <p:nvPicPr>
          <p:cNvPr id="37" name="Imagen 36">
            <a:extLst>
              <a:ext uri="{FF2B5EF4-FFF2-40B4-BE49-F238E27FC236}">
                <a16:creationId xmlns:a16="http://schemas.microsoft.com/office/drawing/2014/main" id="{D634B708-0E58-4A35-7FE2-ABA61D97CA80}"/>
              </a:ext>
            </a:extLst>
          </p:cNvPr>
          <p:cNvPicPr>
            <a:picLocks noChangeAspect="1"/>
          </p:cNvPicPr>
          <p:nvPr/>
        </p:nvPicPr>
        <p:blipFill>
          <a:blip r:embed="rId4">
            <a:extLst>
              <a:ext uri="{28A0092B-C50C-407E-A947-70E740481C1C}">
                <a14:useLocalDpi xmlns:a14="http://schemas.microsoft.com/office/drawing/2010/main" val="0"/>
              </a:ext>
            </a:extLst>
          </a:blip>
          <a:srcRect t="17379"/>
          <a:stretch>
            <a:fillRect/>
          </a:stretch>
        </p:blipFill>
        <p:spPr>
          <a:xfrm>
            <a:off x="3443106" y="2374609"/>
            <a:ext cx="5119685" cy="4229926"/>
          </a:xfrm>
          <a:prstGeom prst="rect">
            <a:avLst/>
          </a:prstGeom>
          <a:effectLst>
            <a:outerShdw blurRad="139700" dist="127000" dir="18900000" algn="bl" rotWithShape="0">
              <a:prstClr val="black">
                <a:alpha val="79000"/>
              </a:prstClr>
            </a:outerShdw>
          </a:effectLst>
        </p:spPr>
      </p:pic>
    </p:spTree>
    <p:extLst>
      <p:ext uri="{BB962C8B-B14F-4D97-AF65-F5344CB8AC3E}">
        <p14:creationId xmlns:p14="http://schemas.microsoft.com/office/powerpoint/2010/main" val="1172680737"/>
      </p:ext>
    </p:extLst>
  </p:cSld>
  <p:clrMapOvr>
    <a:masterClrMapping/>
  </p:clrMapOvr>
  <p:transition/>
  <p:timing/>
</p:sld>
</file>

<file path=ppt/slides/slide11.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pic>
        <p:nvPicPr>
          <p:cNvPr id="24" name="Marcador de posición de imagen 23">
            <a:extLst>
              <a:ext uri="{FF2B5EF4-FFF2-40B4-BE49-F238E27FC236}">
                <a16:creationId xmlns:a16="http://schemas.microsoft.com/office/drawing/2014/main" id="{22BA9412-5633-A6BE-A5B7-33F108B929A9}"/>
              </a:ext>
            </a:extLst>
          </p:cNvPr>
          <p:cNvPicPr>
            <a:picLocks noGrp="1" noChangeAspect="1"/>
          </p:cNvPicPr>
          <p:nvPr>
            <p:ph type="pic" idx="16"/>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l="18093" r="18093"/>
          <a:stretch>
            <a:fillRect/>
          </a:stretch>
        </p:blipFill>
        <p:spPr/>
      </p:pic>
      <p:grpSp>
        <p:nvGrpSpPr>
          <p:cNvPr id="3" name="Group 24">
            <a:extLst>
              <a:ext uri="{FF2B5EF4-FFF2-40B4-BE49-F238E27FC236}">
                <a16:creationId xmlns:a16="http://schemas.microsoft.com/office/drawing/2014/main" id="{C150EF12-4AAE-B0A6-747D-BF2E64A26B23}"/>
              </a:ext>
            </a:extLst>
          </p:cNvPr>
          <p:cNvGrpSpPr/>
          <p:nvPr/>
        </p:nvGrpSpPr>
        <p:grpSpPr>
          <a:xfrm>
            <a:off x="7667069" y="2493690"/>
            <a:ext cx="3743883" cy="923330"/>
            <a:chOff x="2551705" y="4283314"/>
            <a:chExt cx="2357003" cy="923330"/>
          </a:xfrm>
        </p:grpSpPr>
        <p:sp>
          <p:nvSpPr>
            <p:cNvPr id="4" name="TextBox 7">
              <a:extLst>
                <a:ext uri="{FF2B5EF4-FFF2-40B4-BE49-F238E27FC236}">
                  <a16:creationId xmlns:a16="http://schemas.microsoft.com/office/drawing/2014/main" id="{EB8523A3-7A4D-EC05-4C50-2202EE67A72F}"/>
                </a:ext>
              </a:extLst>
            </p:cNvPr>
            <p:cNvSpPr txBox="1"/>
            <p:nvPr/>
          </p:nvSpPr>
          <p:spPr>
            <a:xfrm>
              <a:off x="2551706" y="4560313"/>
              <a:ext cx="2357002" cy="646331"/>
            </a:xfrm>
            <a:prstGeom prst="rect">
              <a:avLst/>
            </a:prstGeom>
            <a:noFill/>
          </p:spPr>
          <p:txBody>
            <a:bodyPr wrap="square" rtlCol="0">
              <a:spAutoFit/>
            </a:bodyPr>
            <a:lstStyle/>
            <a:p>
              <a:r>
                <a:rPr lang="en-US" altLang="ko-KR" sz="1200">
                  <a:solidFill>
                    <a:schemeClr val="tx1">
                      <a:lumMod val="75000"/>
                      <a:lumOff val="25000"/>
                    </a:schemeClr>
                  </a:solidFill>
                  <a:cs typeface="Arial" panose="020b0604020202020204" pitchFamily="34" charset="0"/>
                </a:rPr>
                <a:t>You can simply impress your audience and add a unique zing and appeal to your Presentations. </a:t>
              </a:r>
              <a:r>
                <a:rPr lang="en-US" altLang="ko-KR" sz="1200">
                  <a:cs typeface="Arial" panose="020b0604020202020204" pitchFamily="34" charset="0"/>
                </a:rPr>
                <a:t>Easy to change colors, photos and Text. </a:t>
              </a:r>
              <a:endParaRPr lang="ko-KR" altLang="en-US" sz="1200">
                <a:solidFill>
                  <a:schemeClr val="tx1">
                    <a:lumMod val="75000"/>
                    <a:lumOff val="25000"/>
                  </a:schemeClr>
                </a:solidFill>
                <a:cs typeface="Arial" panose="020b0604020202020204" pitchFamily="34" charset="0"/>
              </a:endParaRPr>
            </a:p>
          </p:txBody>
        </p:sp>
        <p:sp>
          <p:nvSpPr>
            <p:cNvPr id="5" name="TextBox 8">
              <a:extLst>
                <a:ext uri="{FF2B5EF4-FFF2-40B4-BE49-F238E27FC236}">
                  <a16:creationId xmlns:a16="http://schemas.microsoft.com/office/drawing/2014/main" id="{7DFCD758-F9C3-0FD1-F1F1-8E49A1FC6498}"/>
                </a:ext>
              </a:extLst>
            </p:cNvPr>
            <p:cNvSpPr txBox="1"/>
            <p:nvPr/>
          </p:nvSpPr>
          <p:spPr>
            <a:xfrm>
              <a:off x="2551705" y="4283314"/>
              <a:ext cx="2336966" cy="276999"/>
            </a:xfrm>
            <a:prstGeom prst="rect">
              <a:avLst/>
            </a:prstGeom>
            <a:noFill/>
          </p:spPr>
          <p:txBody>
            <a:bodyPr wrap="square" rtlCol="0">
              <a:spAutoFit/>
            </a:bodyPr>
            <a:lstStyle/>
            <a:p>
              <a:r>
                <a:rPr lang="en-US" altLang="ko-KR" sz="1200" b="1">
                  <a:solidFill>
                    <a:schemeClr val="tx1">
                      <a:lumMod val="75000"/>
                      <a:lumOff val="25000"/>
                    </a:schemeClr>
                  </a:solidFill>
                  <a:cs typeface="Arial" panose="020b0604020202020204" pitchFamily="34" charset="0"/>
                </a:rPr>
                <a:t>Your Text Here</a:t>
              </a:r>
              <a:endParaRPr lang="ko-KR" altLang="en-US" sz="1200" b="1">
                <a:solidFill>
                  <a:schemeClr val="tx1">
                    <a:lumMod val="75000"/>
                    <a:lumOff val="25000"/>
                  </a:schemeClr>
                </a:solidFill>
                <a:cs typeface="Arial" panose="020b0604020202020204" pitchFamily="34" charset="0"/>
              </a:endParaRPr>
            </a:p>
          </p:txBody>
        </p:sp>
      </p:grpSp>
      <p:grpSp>
        <p:nvGrpSpPr>
          <p:cNvPr id="6" name="Group 27">
            <a:extLst>
              <a:ext uri="{FF2B5EF4-FFF2-40B4-BE49-F238E27FC236}">
                <a16:creationId xmlns:a16="http://schemas.microsoft.com/office/drawing/2014/main" id="{40625C72-546E-2B7F-41A8-46658A35F231}"/>
              </a:ext>
            </a:extLst>
          </p:cNvPr>
          <p:cNvGrpSpPr/>
          <p:nvPr/>
        </p:nvGrpSpPr>
        <p:grpSpPr>
          <a:xfrm>
            <a:off x="7667069" y="3935401"/>
            <a:ext cx="3743883" cy="923330"/>
            <a:chOff x="2551705" y="4283314"/>
            <a:chExt cx="2357003" cy="923330"/>
          </a:xfrm>
        </p:grpSpPr>
        <p:sp>
          <p:nvSpPr>
            <p:cNvPr id="7" name="TextBox 10">
              <a:extLst>
                <a:ext uri="{FF2B5EF4-FFF2-40B4-BE49-F238E27FC236}">
                  <a16:creationId xmlns:a16="http://schemas.microsoft.com/office/drawing/2014/main" id="{FF82E0B8-9B9B-057E-4025-F6B551F386AC}"/>
                </a:ext>
              </a:extLst>
            </p:cNvPr>
            <p:cNvSpPr txBox="1"/>
            <p:nvPr/>
          </p:nvSpPr>
          <p:spPr>
            <a:xfrm>
              <a:off x="2551706" y="4560313"/>
              <a:ext cx="2357002" cy="646331"/>
            </a:xfrm>
            <a:prstGeom prst="rect">
              <a:avLst/>
            </a:prstGeom>
            <a:noFill/>
          </p:spPr>
          <p:txBody>
            <a:bodyPr wrap="square" rtlCol="0">
              <a:spAutoFit/>
            </a:bodyPr>
            <a:lstStyle/>
            <a:p>
              <a:r>
                <a:rPr lang="en-US" altLang="ko-KR" sz="1200">
                  <a:solidFill>
                    <a:schemeClr val="tx1">
                      <a:lumMod val="75000"/>
                      <a:lumOff val="25000"/>
                    </a:schemeClr>
                  </a:solidFill>
                  <a:cs typeface="Arial" panose="020b0604020202020204" pitchFamily="34" charset="0"/>
                </a:rPr>
                <a:t>You can simply impress your audience and add a unique zing and appeal to your Presentations. </a:t>
              </a:r>
              <a:r>
                <a:rPr lang="en-US" altLang="ko-KR" sz="1200">
                  <a:cs typeface="Arial" panose="020b0604020202020204" pitchFamily="34" charset="0"/>
                </a:rPr>
                <a:t>Easy to change colors, photos and Text. </a:t>
              </a:r>
              <a:endParaRPr lang="ko-KR" altLang="en-US" sz="1200">
                <a:solidFill>
                  <a:schemeClr val="tx1">
                    <a:lumMod val="75000"/>
                    <a:lumOff val="25000"/>
                  </a:schemeClr>
                </a:solidFill>
                <a:cs typeface="Arial" panose="020b0604020202020204" pitchFamily="34" charset="0"/>
              </a:endParaRPr>
            </a:p>
          </p:txBody>
        </p:sp>
        <p:sp>
          <p:nvSpPr>
            <p:cNvPr id="8" name="TextBox 11">
              <a:extLst>
                <a:ext uri="{FF2B5EF4-FFF2-40B4-BE49-F238E27FC236}">
                  <a16:creationId xmlns:a16="http://schemas.microsoft.com/office/drawing/2014/main" id="{2F212268-0E5E-074D-1A3A-C05ADCE27394}"/>
                </a:ext>
              </a:extLst>
            </p:cNvPr>
            <p:cNvSpPr txBox="1"/>
            <p:nvPr/>
          </p:nvSpPr>
          <p:spPr>
            <a:xfrm>
              <a:off x="2551705" y="4283314"/>
              <a:ext cx="2336966" cy="276999"/>
            </a:xfrm>
            <a:prstGeom prst="rect">
              <a:avLst/>
            </a:prstGeom>
            <a:noFill/>
          </p:spPr>
          <p:txBody>
            <a:bodyPr wrap="square" rtlCol="0">
              <a:spAutoFit/>
            </a:bodyPr>
            <a:lstStyle/>
            <a:p>
              <a:r>
                <a:rPr lang="en-US" altLang="ko-KR" sz="1200" b="1">
                  <a:solidFill>
                    <a:schemeClr val="tx1">
                      <a:lumMod val="75000"/>
                      <a:lumOff val="25000"/>
                    </a:schemeClr>
                  </a:solidFill>
                  <a:cs typeface="Arial" panose="020b0604020202020204" pitchFamily="34" charset="0"/>
                </a:rPr>
                <a:t>Your Text Here</a:t>
              </a:r>
              <a:endParaRPr lang="ko-KR" altLang="en-US" sz="1200" b="1">
                <a:solidFill>
                  <a:schemeClr val="tx1">
                    <a:lumMod val="75000"/>
                    <a:lumOff val="25000"/>
                  </a:schemeClr>
                </a:solidFill>
                <a:cs typeface="Arial" panose="020b0604020202020204" pitchFamily="34" charset="0"/>
              </a:endParaRPr>
            </a:p>
          </p:txBody>
        </p:sp>
      </p:grpSp>
      <p:sp>
        <p:nvSpPr>
          <p:cNvPr id="12" name="Chevron 2">
            <a:extLst>
              <a:ext uri="{FF2B5EF4-FFF2-40B4-BE49-F238E27FC236}">
                <a16:creationId xmlns:a16="http://schemas.microsoft.com/office/drawing/2014/main" id="{CB319DC2-82F9-6F8F-BED1-0AE8B072A21E}"/>
              </a:ext>
            </a:extLst>
          </p:cNvPr>
          <p:cNvSpPr/>
          <p:nvPr/>
        </p:nvSpPr>
        <p:spPr>
          <a:xfrm rot="5400000">
            <a:off x="6975694" y="2592825"/>
            <a:ext cx="383816" cy="378972"/>
          </a:xfrm>
          <a:custGeom>
            <a:rect l="l" t="t" r="r" b="b"/>
            <a:pathLst>
              <a:path w="3830740" h="3782395">
                <a:moveTo>
                  <a:pt x="272737" y="3782395"/>
                </a:moveTo>
                <a:lnTo>
                  <a:pt x="272737" y="1129329"/>
                </a:lnTo>
                <a:cubicBezTo>
                  <a:pt x="368718" y="1192933"/>
                  <a:pt x="457831" y="1251924"/>
                  <a:pt x="541946" y="1307175"/>
                </a:cubicBezTo>
                <a:lnTo>
                  <a:pt x="541946" y="3513186"/>
                </a:lnTo>
                <a:lnTo>
                  <a:pt x="3561532" y="3513186"/>
                </a:lnTo>
                <a:lnTo>
                  <a:pt x="3561532" y="1985872"/>
                </a:lnTo>
                <a:lnTo>
                  <a:pt x="3590324" y="1967561"/>
                </a:lnTo>
                <a:cubicBezTo>
                  <a:pt x="3580733" y="1962993"/>
                  <a:pt x="3571122" y="1958413"/>
                  <a:pt x="3561532" y="1953733"/>
                </a:cubicBezTo>
                <a:lnTo>
                  <a:pt x="3561532" y="522839"/>
                </a:lnTo>
                <a:lnTo>
                  <a:pt x="881682" y="522839"/>
                </a:lnTo>
                <a:cubicBezTo>
                  <a:pt x="739027" y="434224"/>
                  <a:pt x="600115" y="344664"/>
                  <a:pt x="466828" y="253630"/>
                </a:cubicBezTo>
                <a:lnTo>
                  <a:pt x="3830741" y="253630"/>
                </a:lnTo>
                <a:lnTo>
                  <a:pt x="3830741" y="3782395"/>
                </a:lnTo>
                <a:close/>
                <a:moveTo>
                  <a:pt x="0" y="0"/>
                </a:moveTo>
                <a:cubicBezTo>
                  <a:pt x="678168" y="716943"/>
                  <a:pt x="2221880" y="1454406"/>
                  <a:pt x="3416058" y="1983649"/>
                </a:cubicBezTo>
                <a:cubicBezTo>
                  <a:pt x="2906515" y="2315100"/>
                  <a:pt x="1976707" y="2643252"/>
                  <a:pt x="1914290" y="3355250"/>
                </a:cubicBezTo>
                <a:lnTo>
                  <a:pt x="1318205" y="3154450"/>
                </a:lnTo>
                <a:cubicBezTo>
                  <a:pt x="1531531" y="2503259"/>
                  <a:pt x="1765419" y="2324696"/>
                  <a:pt x="2221606" y="1999551"/>
                </a:cubicBezTo>
                <a:cubicBezTo>
                  <a:pt x="1369032" y="1616387"/>
                  <a:pt x="1025337" y="1447905"/>
                  <a:pt x="21688" y="786442"/>
                </a:cubicBezTo>
                <a:cubicBezTo>
                  <a:pt x="14534" y="524743"/>
                  <a:pt x="14718" y="351758"/>
                  <a:pt x="0" y="0"/>
                </a:cubicBezTo>
                <a:close/>
              </a:path>
            </a:pathLst>
          </a:custGeom>
          <a:solidFill>
            <a:srgbClr val="00AB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sp>
        <p:nvSpPr>
          <p:cNvPr id="13" name="Chevron 2">
            <a:extLst>
              <a:ext uri="{FF2B5EF4-FFF2-40B4-BE49-F238E27FC236}">
                <a16:creationId xmlns:a16="http://schemas.microsoft.com/office/drawing/2014/main" id="{15251AF3-E188-71F6-B0DA-8D72D825C87A}"/>
              </a:ext>
            </a:extLst>
          </p:cNvPr>
          <p:cNvSpPr/>
          <p:nvPr/>
        </p:nvSpPr>
        <p:spPr>
          <a:xfrm rot="5400000">
            <a:off x="6975694" y="4034535"/>
            <a:ext cx="383816" cy="378972"/>
          </a:xfrm>
          <a:custGeom>
            <a:rect l="l" t="t" r="r" b="b"/>
            <a:pathLst>
              <a:path w="3830740" h="3782395">
                <a:moveTo>
                  <a:pt x="272737" y="3782395"/>
                </a:moveTo>
                <a:lnTo>
                  <a:pt x="272737" y="1129329"/>
                </a:lnTo>
                <a:cubicBezTo>
                  <a:pt x="368718" y="1192933"/>
                  <a:pt x="457831" y="1251924"/>
                  <a:pt x="541946" y="1307175"/>
                </a:cubicBezTo>
                <a:lnTo>
                  <a:pt x="541946" y="3513186"/>
                </a:lnTo>
                <a:lnTo>
                  <a:pt x="3561532" y="3513186"/>
                </a:lnTo>
                <a:lnTo>
                  <a:pt x="3561532" y="1985872"/>
                </a:lnTo>
                <a:lnTo>
                  <a:pt x="3590324" y="1967561"/>
                </a:lnTo>
                <a:cubicBezTo>
                  <a:pt x="3580733" y="1962993"/>
                  <a:pt x="3571122" y="1958413"/>
                  <a:pt x="3561532" y="1953733"/>
                </a:cubicBezTo>
                <a:lnTo>
                  <a:pt x="3561532" y="522839"/>
                </a:lnTo>
                <a:lnTo>
                  <a:pt x="881682" y="522839"/>
                </a:lnTo>
                <a:cubicBezTo>
                  <a:pt x="739027" y="434224"/>
                  <a:pt x="600115" y="344664"/>
                  <a:pt x="466828" y="253630"/>
                </a:cubicBezTo>
                <a:lnTo>
                  <a:pt x="3830741" y="253630"/>
                </a:lnTo>
                <a:lnTo>
                  <a:pt x="3830741" y="3782395"/>
                </a:lnTo>
                <a:close/>
                <a:moveTo>
                  <a:pt x="0" y="0"/>
                </a:moveTo>
                <a:cubicBezTo>
                  <a:pt x="678168" y="716943"/>
                  <a:pt x="2221880" y="1454406"/>
                  <a:pt x="3416058" y="1983649"/>
                </a:cubicBezTo>
                <a:cubicBezTo>
                  <a:pt x="2906515" y="2315100"/>
                  <a:pt x="1976707" y="2643252"/>
                  <a:pt x="1914290" y="3355250"/>
                </a:cubicBezTo>
                <a:lnTo>
                  <a:pt x="1318205" y="3154450"/>
                </a:lnTo>
                <a:cubicBezTo>
                  <a:pt x="1531531" y="2503259"/>
                  <a:pt x="1765419" y="2324696"/>
                  <a:pt x="2221606" y="1999551"/>
                </a:cubicBezTo>
                <a:cubicBezTo>
                  <a:pt x="1369032" y="1616387"/>
                  <a:pt x="1025337" y="1447905"/>
                  <a:pt x="21688" y="786442"/>
                </a:cubicBezTo>
                <a:cubicBezTo>
                  <a:pt x="14534" y="524743"/>
                  <a:pt x="14718" y="351758"/>
                  <a:pt x="0" y="0"/>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sp>
        <p:nvSpPr>
          <p:cNvPr id="15" name="TextBox 9">
            <a:extLst>
              <a:ext uri="{FF2B5EF4-FFF2-40B4-BE49-F238E27FC236}">
                <a16:creationId xmlns:a16="http://schemas.microsoft.com/office/drawing/2014/main" id="{DA2E15F2-D0AB-2D15-DE42-ED829BD9E17B}"/>
              </a:ext>
            </a:extLst>
          </p:cNvPr>
          <p:cNvSpPr txBox="1"/>
          <p:nvPr/>
        </p:nvSpPr>
        <p:spPr>
          <a:xfrm>
            <a:off x="7503064" y="452456"/>
            <a:ext cx="3876061" cy="923330"/>
          </a:xfrm>
          <a:prstGeom prst="rect">
            <a:avLst/>
          </a:prstGeom>
          <a:noFill/>
        </p:spPr>
        <p:txBody>
          <a:bodyPr wrap="none" lIns="0" tIns="0" rIns="0" bIns="0" rtlCol="0">
            <a:spAutoFit/>
          </a:bodyPr>
          <a:lstStyle/>
          <a:p>
            <a:r>
              <a:rPr lang="en-US" sz="6000" b="1">
                <a:solidFill>
                  <a:schemeClr val="tx1">
                    <a:lumMod val="65000"/>
                    <a:lumOff val="35000"/>
                  </a:schemeClr>
                </a:solidFill>
                <a:latin typeface="Segoe UI" panose="020b0502040204020203" pitchFamily="34" charset="0"/>
                <a:cs typeface="Segoe UI" panose="020b0502040204020203" pitchFamily="34" charset="0"/>
              </a:rPr>
              <a:t>BAHAMAS</a:t>
            </a:r>
          </a:p>
        </p:txBody>
      </p:sp>
      <p:sp>
        <p:nvSpPr>
          <p:cNvPr id="16" name="TextBox 9">
            <a:extLst>
              <a:ext uri="{FF2B5EF4-FFF2-40B4-BE49-F238E27FC236}">
                <a16:creationId xmlns:a16="http://schemas.microsoft.com/office/drawing/2014/main" id="{98E73899-1278-F692-DD18-FC5D9E51DC37}"/>
              </a:ext>
            </a:extLst>
          </p:cNvPr>
          <p:cNvSpPr txBox="1"/>
          <p:nvPr/>
        </p:nvSpPr>
        <p:spPr>
          <a:xfrm>
            <a:off x="7500728" y="1359449"/>
            <a:ext cx="2068067" cy="430887"/>
          </a:xfrm>
          <a:prstGeom prst="rect">
            <a:avLst/>
          </a:prstGeom>
          <a:noFill/>
        </p:spPr>
        <p:txBody>
          <a:bodyPr wrap="none" lIns="0" tIns="0" rIns="0" bIns="0" rtlCol="0">
            <a:spAutoFit/>
          </a:bodyPr>
          <a:lstStyle/>
          <a:p>
            <a:pPr algn="ctr"/>
            <a:r>
              <a:rPr lang="en-US" sz="2800" b="1">
                <a:solidFill>
                  <a:srgbClr val="02BAC8"/>
                </a:solidFill>
                <a:latin typeface="Segoe UI" panose="020b0502040204020203" pitchFamily="34" charset="0"/>
                <a:cs typeface="Segoe UI" panose="020b0502040204020203" pitchFamily="34" charset="0"/>
              </a:rPr>
              <a:t>Gastronomy</a:t>
            </a:r>
          </a:p>
        </p:txBody>
      </p:sp>
      <p:grpSp>
        <p:nvGrpSpPr>
          <p:cNvPr id="17" name="Grupo 16">
            <a:extLst>
              <a:ext uri="{FF2B5EF4-FFF2-40B4-BE49-F238E27FC236}">
                <a16:creationId xmlns:a16="http://schemas.microsoft.com/office/drawing/2014/main" id="{2FE8D3E0-E3DF-D862-6464-0D6AAF8929E2}"/>
              </a:ext>
            </a:extLst>
          </p:cNvPr>
          <p:cNvGrpSpPr/>
          <p:nvPr/>
        </p:nvGrpSpPr>
        <p:grpSpPr>
          <a:xfrm>
            <a:off x="6806619" y="349907"/>
            <a:ext cx="792527" cy="1306401"/>
            <a:chOff x="283851" y="5461857"/>
            <a:chExt cx="846969" cy="1396143"/>
          </a:xfrm>
          <a:solidFill>
            <a:srgbClr val="06DBE7"/>
          </a:solidFill>
        </p:grpSpPr>
        <p:sp>
          <p:nvSpPr>
            <p:cNvPr id="18" name="Forma libre: forma 17">
              <a:extLst>
                <a:ext uri="{FF2B5EF4-FFF2-40B4-BE49-F238E27FC236}">
                  <a16:creationId xmlns:a16="http://schemas.microsoft.com/office/drawing/2014/main" id="{C4474F30-CD04-E44F-EFC2-C30B2A9C90EE}"/>
                </a:ext>
              </a:extLst>
            </p:cNvPr>
            <p:cNvSpPr/>
            <p:nvPr/>
          </p:nvSpPr>
          <p:spPr>
            <a:xfrm>
              <a:off x="283851" y="5461857"/>
              <a:ext cx="846969" cy="468186"/>
            </a:xfrm>
            <a:custGeom>
              <a:gdLst>
                <a:gd name="connsiteX0" fmla="*/ 585515 w 846969"/>
                <a:gd name="connsiteY0" fmla="*/ 123160 h 468186"/>
                <a:gd name="connsiteX1" fmla="*/ 374091 w 846969"/>
                <a:gd name="connsiteY1" fmla="*/ 150510 h 468186"/>
                <a:gd name="connsiteX2" fmla="*/ 58700 w 846969"/>
                <a:gd name="connsiteY2" fmla="*/ 260683 h 468186"/>
                <a:gd name="connsiteX3" fmla="*/ 7105 w 846969"/>
                <a:gd name="connsiteY3" fmla="*/ 260683 h 468186"/>
                <a:gd name="connsiteX4" fmla="*/ 14476 w 846969"/>
                <a:gd name="connsiteY4" fmla="*/ 205208 h 468186"/>
                <a:gd name="connsiteX5" fmla="*/ 215232 w 846969"/>
                <a:gd name="connsiteY5" fmla="*/ 41694 h 468186"/>
                <a:gd name="connsiteX6" fmla="*/ 547303 w 846969"/>
                <a:gd name="connsiteY6" fmla="*/ 4259 h 468186"/>
                <a:gd name="connsiteX7" fmla="*/ 805280 w 846969"/>
                <a:gd name="connsiteY7" fmla="*/ 54302 h 468186"/>
                <a:gd name="connsiteX8" fmla="*/ 846788 w 846969"/>
                <a:gd name="connsiteY8" fmla="*/ 87470 h 468186"/>
                <a:gd name="connsiteX9" fmla="*/ 815366 w 846969"/>
                <a:gd name="connsiteY9" fmla="*/ 131307 h 468186"/>
                <a:gd name="connsiteX10" fmla="*/ 705968 w 846969"/>
                <a:gd name="connsiteY10" fmla="*/ 242644 h 468186"/>
                <a:gd name="connsiteX11" fmla="*/ 376612 w 846969"/>
                <a:gd name="connsiteY11" fmla="*/ 464348 h 468186"/>
                <a:gd name="connsiteX12" fmla="*/ 89735 w 846969"/>
                <a:gd name="connsiteY12" fmla="*/ 417990 h 468186"/>
                <a:gd name="connsiteX13" fmla="*/ 60058 w 846969"/>
                <a:gd name="connsiteY13" fmla="*/ 386762 h 468186"/>
                <a:gd name="connsiteX14" fmla="*/ 86826 w 846969"/>
                <a:gd name="connsiteY14" fmla="*/ 349326 h 468186"/>
                <a:gd name="connsiteX15" fmla="*/ 550407 w 846969"/>
                <a:gd name="connsiteY15" fmla="*/ 135186 h 468186"/>
                <a:gd name="connsiteX16" fmla="*/ 585321 w 846969"/>
                <a:gd name="connsiteY16" fmla="*/ 123160 h 46818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46969" h="468186">
                  <a:moveTo>
                    <a:pt x="585515" y="123160"/>
                  </a:moveTo>
                  <a:cubicBezTo>
                    <a:pt x="513747" y="122191"/>
                    <a:pt x="443531" y="133829"/>
                    <a:pt x="374091" y="150510"/>
                  </a:cubicBezTo>
                  <a:cubicBezTo>
                    <a:pt x="265275" y="176501"/>
                    <a:pt x="159757" y="212385"/>
                    <a:pt x="58700" y="260683"/>
                  </a:cubicBezTo>
                  <a:cubicBezTo>
                    <a:pt x="41631" y="268830"/>
                    <a:pt x="22816" y="281050"/>
                    <a:pt x="7105" y="260683"/>
                  </a:cubicBezTo>
                  <a:cubicBezTo>
                    <a:pt x="-7636" y="241480"/>
                    <a:pt x="3420" y="222278"/>
                    <a:pt x="14476" y="205208"/>
                  </a:cubicBezTo>
                  <a:cubicBezTo>
                    <a:pt x="63162" y="128591"/>
                    <a:pt x="132990" y="77578"/>
                    <a:pt x="215232" y="41694"/>
                  </a:cubicBezTo>
                  <a:cubicBezTo>
                    <a:pt x="322108" y="-5052"/>
                    <a:pt x="434802" y="-3694"/>
                    <a:pt x="547303" y="4259"/>
                  </a:cubicBezTo>
                  <a:cubicBezTo>
                    <a:pt x="634977" y="10660"/>
                    <a:pt x="720710" y="30638"/>
                    <a:pt x="805280" y="54302"/>
                  </a:cubicBezTo>
                  <a:cubicBezTo>
                    <a:pt x="823706" y="59345"/>
                    <a:pt x="844655" y="64000"/>
                    <a:pt x="846788" y="87470"/>
                  </a:cubicBezTo>
                  <a:cubicBezTo>
                    <a:pt x="848922" y="109583"/>
                    <a:pt x="831853" y="120639"/>
                    <a:pt x="815366" y="131307"/>
                  </a:cubicBezTo>
                  <a:cubicBezTo>
                    <a:pt x="770753" y="160402"/>
                    <a:pt x="734094" y="197450"/>
                    <a:pt x="705968" y="242644"/>
                  </a:cubicBezTo>
                  <a:cubicBezTo>
                    <a:pt x="629351" y="366007"/>
                    <a:pt x="524415" y="447279"/>
                    <a:pt x="376612" y="464348"/>
                  </a:cubicBezTo>
                  <a:cubicBezTo>
                    <a:pt x="276913" y="475792"/>
                    <a:pt x="180706" y="462021"/>
                    <a:pt x="89735" y="417990"/>
                  </a:cubicBezTo>
                  <a:cubicBezTo>
                    <a:pt x="75769" y="411201"/>
                    <a:pt x="60640" y="405188"/>
                    <a:pt x="60058" y="386762"/>
                  </a:cubicBezTo>
                  <a:cubicBezTo>
                    <a:pt x="59476" y="368141"/>
                    <a:pt x="72278" y="358248"/>
                    <a:pt x="86826" y="349326"/>
                  </a:cubicBezTo>
                  <a:cubicBezTo>
                    <a:pt x="232689" y="258937"/>
                    <a:pt x="387281" y="187945"/>
                    <a:pt x="550407" y="135186"/>
                  </a:cubicBezTo>
                  <a:cubicBezTo>
                    <a:pt x="562045" y="131501"/>
                    <a:pt x="573683" y="127234"/>
                    <a:pt x="585321" y="123160"/>
                  </a:cubicBezTo>
                  <a:close/>
                </a:path>
              </a:pathLst>
            </a:custGeom>
            <a:solidFill>
              <a:srgbClr val="00ABF7"/>
            </a:solidFill>
            <a:ln w="19266" cap="flat">
              <a:noFill/>
              <a:prstDash val="solid"/>
              <a:miter/>
            </a:ln>
          </p:spPr>
          <p:txBody>
            <a:bodyPr rtlCol="0" anchor="ctr"/>
            <a:lstStyle/>
            <a:p>
              <a:endParaRPr lang="es-PE"/>
            </a:p>
          </p:txBody>
        </p:sp>
        <p:sp>
          <p:nvSpPr>
            <p:cNvPr id="19" name="Forma libre: forma 18">
              <a:extLst>
                <a:ext uri="{FF2B5EF4-FFF2-40B4-BE49-F238E27FC236}">
                  <a16:creationId xmlns:a16="http://schemas.microsoft.com/office/drawing/2014/main" id="{C64BC2F8-D531-AF5A-0A78-E895E07A0BBA}"/>
                </a:ext>
              </a:extLst>
            </p:cNvPr>
            <p:cNvSpPr/>
            <p:nvPr/>
          </p:nvSpPr>
          <p:spPr>
            <a:xfrm>
              <a:off x="507131" y="5943613"/>
              <a:ext cx="297179" cy="914387"/>
            </a:xfrm>
            <a:custGeom>
              <a:gdLst>
                <a:gd name="connsiteX0" fmla="*/ 76327 w 297179"/>
                <a:gd name="connsiteY0" fmla="*/ 250461 h 914387"/>
                <a:gd name="connsiteX1" fmla="*/ 87189 w 297179"/>
                <a:gd name="connsiteY1" fmla="*/ 213801 h 914387"/>
                <a:gd name="connsiteX2" fmla="*/ 91651 w 297179"/>
                <a:gd name="connsiteY2" fmla="*/ 56494 h 914387"/>
                <a:gd name="connsiteX3" fmla="*/ 107168 w 297179"/>
                <a:gd name="connsiteY3" fmla="*/ 30114 h 914387"/>
                <a:gd name="connsiteX4" fmla="*/ 134323 w 297179"/>
                <a:gd name="connsiteY4" fmla="*/ 56106 h 914387"/>
                <a:gd name="connsiteX5" fmla="*/ 139366 w 297179"/>
                <a:gd name="connsiteY5" fmla="*/ 216128 h 914387"/>
                <a:gd name="connsiteX6" fmla="*/ 149065 w 297179"/>
                <a:gd name="connsiteY6" fmla="*/ 248133 h 914387"/>
                <a:gd name="connsiteX7" fmla="*/ 159733 w 297179"/>
                <a:gd name="connsiteY7" fmla="*/ 208176 h 914387"/>
                <a:gd name="connsiteX8" fmla="*/ 161091 w 297179"/>
                <a:gd name="connsiteY8" fmla="*/ 65028 h 914387"/>
                <a:gd name="connsiteX9" fmla="*/ 161867 w 297179"/>
                <a:gd name="connsiteY9" fmla="*/ 42140 h 914387"/>
                <a:gd name="connsiteX10" fmla="*/ 189798 w 297179"/>
                <a:gd name="connsiteY10" fmla="*/ 20416 h 914387"/>
                <a:gd name="connsiteX11" fmla="*/ 205121 w 297179"/>
                <a:gd name="connsiteY11" fmla="*/ 42916 h 914387"/>
                <a:gd name="connsiteX12" fmla="*/ 208613 w 297179"/>
                <a:gd name="connsiteY12" fmla="*/ 214577 h 914387"/>
                <a:gd name="connsiteX13" fmla="*/ 218699 w 297179"/>
                <a:gd name="connsiteY13" fmla="*/ 245805 h 914387"/>
                <a:gd name="connsiteX14" fmla="*/ 229173 w 297179"/>
                <a:gd name="connsiteY14" fmla="*/ 214965 h 914387"/>
                <a:gd name="connsiteX15" fmla="*/ 234604 w 297179"/>
                <a:gd name="connsiteY15" fmla="*/ 37679 h 914387"/>
                <a:gd name="connsiteX16" fmla="*/ 235574 w 297179"/>
                <a:gd name="connsiteY16" fmla="*/ 20610 h 914387"/>
                <a:gd name="connsiteX17" fmla="*/ 266027 w 297179"/>
                <a:gd name="connsiteY17" fmla="*/ 49 h 914387"/>
                <a:gd name="connsiteX18" fmla="*/ 279217 w 297179"/>
                <a:gd name="connsiteY18" fmla="*/ 20998 h 914387"/>
                <a:gd name="connsiteX19" fmla="*/ 296480 w 297179"/>
                <a:gd name="connsiteY19" fmla="*/ 271991 h 914387"/>
                <a:gd name="connsiteX20" fmla="*/ 245660 w 297179"/>
                <a:gd name="connsiteY20" fmla="*/ 388953 h 914387"/>
                <a:gd name="connsiteX21" fmla="*/ 224518 w 297179"/>
                <a:gd name="connsiteY21" fmla="*/ 403695 h 914387"/>
                <a:gd name="connsiteX22" fmla="*/ 185337 w 297179"/>
                <a:gd name="connsiteY22" fmla="*/ 477984 h 914387"/>
                <a:gd name="connsiteX23" fmla="*/ 222384 w 297179"/>
                <a:gd name="connsiteY23" fmla="*/ 855637 h 914387"/>
                <a:gd name="connsiteX24" fmla="*/ 172535 w 297179"/>
                <a:gd name="connsiteY24" fmla="*/ 914216 h 914387"/>
                <a:gd name="connsiteX25" fmla="*/ 115315 w 297179"/>
                <a:gd name="connsiteY25" fmla="*/ 914216 h 914387"/>
                <a:gd name="connsiteX26" fmla="*/ 73806 w 297179"/>
                <a:gd name="connsiteY26" fmla="*/ 865918 h 914387"/>
                <a:gd name="connsiteX27" fmla="*/ 105228 w 297179"/>
                <a:gd name="connsiteY27" fmla="*/ 668265 h 914387"/>
                <a:gd name="connsiteX28" fmla="*/ 109496 w 297179"/>
                <a:gd name="connsiteY28" fmla="*/ 459557 h 914387"/>
                <a:gd name="connsiteX29" fmla="*/ 82728 w 297179"/>
                <a:gd name="connsiteY29" fmla="*/ 411259 h 914387"/>
                <a:gd name="connsiteX30" fmla="*/ 46068 w 297179"/>
                <a:gd name="connsiteY30" fmla="*/ 383716 h 914387"/>
                <a:gd name="connsiteX31" fmla="*/ 292 w 297179"/>
                <a:gd name="connsiteY31" fmla="*/ 284017 h 914387"/>
                <a:gd name="connsiteX32" fmla="*/ 16779 w 297179"/>
                <a:gd name="connsiteY32" fmla="*/ 50093 h 914387"/>
                <a:gd name="connsiteX33" fmla="*/ 37146 w 297179"/>
                <a:gd name="connsiteY33" fmla="*/ 27205 h 914387"/>
                <a:gd name="connsiteX34" fmla="*/ 64495 w 297179"/>
                <a:gd name="connsiteY34" fmla="*/ 52420 h 914387"/>
                <a:gd name="connsiteX35" fmla="*/ 66047 w 297179"/>
                <a:gd name="connsiteY35" fmla="*/ 204102 h 914387"/>
                <a:gd name="connsiteX36" fmla="*/ 76521 w 297179"/>
                <a:gd name="connsiteY36" fmla="*/ 250073 h 91438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97179" h="914387">
                  <a:moveTo>
                    <a:pt x="76327" y="250461"/>
                  </a:moveTo>
                  <a:cubicBezTo>
                    <a:pt x="90099" y="238823"/>
                    <a:pt x="86801" y="225633"/>
                    <a:pt x="87189" y="213801"/>
                  </a:cubicBezTo>
                  <a:cubicBezTo>
                    <a:pt x="88935" y="161430"/>
                    <a:pt x="90099" y="109059"/>
                    <a:pt x="91651" y="56494"/>
                  </a:cubicBezTo>
                  <a:cubicBezTo>
                    <a:pt x="92039" y="45050"/>
                    <a:pt x="91651" y="32830"/>
                    <a:pt x="107168" y="30114"/>
                  </a:cubicBezTo>
                  <a:cubicBezTo>
                    <a:pt x="127922" y="26817"/>
                    <a:pt x="133935" y="37291"/>
                    <a:pt x="134323" y="56106"/>
                  </a:cubicBezTo>
                  <a:cubicBezTo>
                    <a:pt x="135487" y="109447"/>
                    <a:pt x="137233" y="162788"/>
                    <a:pt x="139366" y="216128"/>
                  </a:cubicBezTo>
                  <a:cubicBezTo>
                    <a:pt x="139754" y="226603"/>
                    <a:pt x="135487" y="239210"/>
                    <a:pt x="149065" y="248133"/>
                  </a:cubicBezTo>
                  <a:cubicBezTo>
                    <a:pt x="160121" y="236495"/>
                    <a:pt x="159539" y="222141"/>
                    <a:pt x="159733" y="208176"/>
                  </a:cubicBezTo>
                  <a:cubicBezTo>
                    <a:pt x="160315" y="160460"/>
                    <a:pt x="160703" y="112744"/>
                    <a:pt x="161091" y="65028"/>
                  </a:cubicBezTo>
                  <a:cubicBezTo>
                    <a:pt x="161091" y="57463"/>
                    <a:pt x="161479" y="49705"/>
                    <a:pt x="161867" y="42140"/>
                  </a:cubicBezTo>
                  <a:cubicBezTo>
                    <a:pt x="162643" y="24101"/>
                    <a:pt x="175832" y="20804"/>
                    <a:pt x="189798" y="20416"/>
                  </a:cubicBezTo>
                  <a:cubicBezTo>
                    <a:pt x="205509" y="19834"/>
                    <a:pt x="204927" y="33218"/>
                    <a:pt x="205121" y="42916"/>
                  </a:cubicBezTo>
                  <a:cubicBezTo>
                    <a:pt x="206673" y="100136"/>
                    <a:pt x="207255" y="157356"/>
                    <a:pt x="208613" y="214577"/>
                  </a:cubicBezTo>
                  <a:cubicBezTo>
                    <a:pt x="209001" y="226021"/>
                    <a:pt x="204733" y="245805"/>
                    <a:pt x="218699" y="245805"/>
                  </a:cubicBezTo>
                  <a:cubicBezTo>
                    <a:pt x="233440" y="245805"/>
                    <a:pt x="228591" y="226215"/>
                    <a:pt x="229173" y="214965"/>
                  </a:cubicBezTo>
                  <a:cubicBezTo>
                    <a:pt x="231501" y="155805"/>
                    <a:pt x="232859" y="96839"/>
                    <a:pt x="234604" y="37679"/>
                  </a:cubicBezTo>
                  <a:cubicBezTo>
                    <a:pt x="234604" y="32054"/>
                    <a:pt x="234604" y="26041"/>
                    <a:pt x="235574" y="20610"/>
                  </a:cubicBezTo>
                  <a:cubicBezTo>
                    <a:pt x="238872" y="3929"/>
                    <a:pt x="252837" y="1019"/>
                    <a:pt x="266027" y="49"/>
                  </a:cubicBezTo>
                  <a:cubicBezTo>
                    <a:pt x="280574" y="-921"/>
                    <a:pt x="278635" y="12657"/>
                    <a:pt x="279217" y="20998"/>
                  </a:cubicBezTo>
                  <a:cubicBezTo>
                    <a:pt x="285036" y="104597"/>
                    <a:pt x="288915" y="188585"/>
                    <a:pt x="296480" y="271991"/>
                  </a:cubicBezTo>
                  <a:cubicBezTo>
                    <a:pt x="300941" y="321840"/>
                    <a:pt x="284066" y="359470"/>
                    <a:pt x="245660" y="388953"/>
                  </a:cubicBezTo>
                  <a:cubicBezTo>
                    <a:pt x="238872" y="394190"/>
                    <a:pt x="231695" y="399039"/>
                    <a:pt x="224518" y="403695"/>
                  </a:cubicBezTo>
                  <a:cubicBezTo>
                    <a:pt x="197363" y="421151"/>
                    <a:pt x="186694" y="445397"/>
                    <a:pt x="185337" y="477984"/>
                  </a:cubicBezTo>
                  <a:cubicBezTo>
                    <a:pt x="179906" y="605808"/>
                    <a:pt x="198332" y="730917"/>
                    <a:pt x="222384" y="855637"/>
                  </a:cubicBezTo>
                  <a:cubicBezTo>
                    <a:pt x="231307" y="901995"/>
                    <a:pt x="220445" y="914022"/>
                    <a:pt x="172535" y="914216"/>
                  </a:cubicBezTo>
                  <a:cubicBezTo>
                    <a:pt x="153526" y="914216"/>
                    <a:pt x="134323" y="914603"/>
                    <a:pt x="115315" y="914216"/>
                  </a:cubicBezTo>
                  <a:cubicBezTo>
                    <a:pt x="80207" y="913440"/>
                    <a:pt x="68569" y="900444"/>
                    <a:pt x="73806" y="865918"/>
                  </a:cubicBezTo>
                  <a:cubicBezTo>
                    <a:pt x="83892" y="799969"/>
                    <a:pt x="96112" y="734408"/>
                    <a:pt x="105228" y="668265"/>
                  </a:cubicBezTo>
                  <a:cubicBezTo>
                    <a:pt x="114733" y="599019"/>
                    <a:pt x="109883" y="529191"/>
                    <a:pt x="109496" y="459557"/>
                  </a:cubicBezTo>
                  <a:cubicBezTo>
                    <a:pt x="109496" y="439578"/>
                    <a:pt x="99603" y="423091"/>
                    <a:pt x="82728" y="411259"/>
                  </a:cubicBezTo>
                  <a:cubicBezTo>
                    <a:pt x="70314" y="402531"/>
                    <a:pt x="58094" y="393220"/>
                    <a:pt x="46068" y="383716"/>
                  </a:cubicBezTo>
                  <a:cubicBezTo>
                    <a:pt x="13870" y="358306"/>
                    <a:pt x="-2423" y="325332"/>
                    <a:pt x="292" y="284017"/>
                  </a:cubicBezTo>
                  <a:cubicBezTo>
                    <a:pt x="5529" y="206042"/>
                    <a:pt x="11348" y="128067"/>
                    <a:pt x="16779" y="50093"/>
                  </a:cubicBezTo>
                  <a:cubicBezTo>
                    <a:pt x="17749" y="36903"/>
                    <a:pt x="18137" y="25265"/>
                    <a:pt x="37146" y="27205"/>
                  </a:cubicBezTo>
                  <a:cubicBezTo>
                    <a:pt x="53633" y="28950"/>
                    <a:pt x="64301" y="33412"/>
                    <a:pt x="64495" y="52420"/>
                  </a:cubicBezTo>
                  <a:cubicBezTo>
                    <a:pt x="64495" y="103046"/>
                    <a:pt x="65465" y="153477"/>
                    <a:pt x="66047" y="204102"/>
                  </a:cubicBezTo>
                  <a:cubicBezTo>
                    <a:pt x="66047" y="219038"/>
                    <a:pt x="65465" y="234361"/>
                    <a:pt x="76521" y="250073"/>
                  </a:cubicBezTo>
                  <a:close/>
                </a:path>
              </a:pathLst>
            </a:custGeom>
            <a:solidFill>
              <a:schemeClr val="bg1">
                <a:lumMod val="65000"/>
              </a:schemeClr>
            </a:solidFill>
            <a:ln w="19266" cap="flat">
              <a:noFill/>
              <a:prstDash val="solid"/>
              <a:miter/>
            </a:ln>
          </p:spPr>
          <p:txBody>
            <a:bodyPr rtlCol="0" anchor="ctr"/>
            <a:lstStyle/>
            <a:p>
              <a:endParaRPr lang="es-PE"/>
            </a:p>
          </p:txBody>
        </p:sp>
      </p:grpSp>
      <p:pic>
        <p:nvPicPr>
          <p:cNvPr id="20" name="Imagen 19">
            <a:extLst>
              <a:ext uri="{FF2B5EF4-FFF2-40B4-BE49-F238E27FC236}">
                <a16:creationId xmlns:a16="http://schemas.microsoft.com/office/drawing/2014/main" id="{100DEB9A-0392-FA43-9918-0A623822C42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60343" y="1315458"/>
            <a:ext cx="976290" cy="976290"/>
          </a:xfrm>
          <a:prstGeom prst="rect">
            <a:avLst/>
          </a:prstGeom>
        </p:spPr>
      </p:pic>
      <p:pic>
        <p:nvPicPr>
          <p:cNvPr id="26" name="Imagen 25">
            <a:extLst>
              <a:ext uri="{FF2B5EF4-FFF2-40B4-BE49-F238E27FC236}">
                <a16:creationId xmlns:a16="http://schemas.microsoft.com/office/drawing/2014/main" id="{F9AFC74A-7380-B508-3EEE-D97D558163BA}"/>
              </a:ext>
            </a:extLst>
          </p:cNvPr>
          <p:cNvPicPr>
            <a:picLocks noChangeAspect="1"/>
          </p:cNvPicPr>
          <p:nvPr/>
        </p:nvPicPr>
        <p:blipFill>
          <a:blip r:embed="rId5">
            <a:extLst>
              <a:ext uri="{28A0092B-C50C-407E-A947-70E740481C1C}">
                <a14:useLocalDpi xmlns:a14="http://schemas.microsoft.com/office/drawing/2010/main" val="0"/>
              </a:ext>
            </a:extLst>
          </a:blip>
          <a:srcRect r="6497"/>
          <a:stretch>
            <a:fillRect/>
          </a:stretch>
        </p:blipFill>
        <p:spPr>
          <a:xfrm flipH="1">
            <a:off x="0" y="827536"/>
            <a:ext cx="6802150" cy="6624282"/>
          </a:xfrm>
          <a:prstGeom prst="rect">
            <a:avLst/>
          </a:prstGeom>
        </p:spPr>
      </p:pic>
      <p:grpSp>
        <p:nvGrpSpPr>
          <p:cNvPr id="9" name="Group 30">
            <a:extLst>
              <a:ext uri="{FF2B5EF4-FFF2-40B4-BE49-F238E27FC236}">
                <a16:creationId xmlns:a16="http://schemas.microsoft.com/office/drawing/2014/main" id="{DA6D1E2D-DEDD-363A-D0BC-962F6B4911AE}"/>
              </a:ext>
            </a:extLst>
          </p:cNvPr>
          <p:cNvGrpSpPr/>
          <p:nvPr/>
        </p:nvGrpSpPr>
        <p:grpSpPr>
          <a:xfrm>
            <a:off x="7667069" y="5377112"/>
            <a:ext cx="3743883" cy="923330"/>
            <a:chOff x="2551705" y="4283314"/>
            <a:chExt cx="2357003" cy="923330"/>
          </a:xfrm>
        </p:grpSpPr>
        <p:sp>
          <p:nvSpPr>
            <p:cNvPr id="10" name="TextBox 13">
              <a:extLst>
                <a:ext uri="{FF2B5EF4-FFF2-40B4-BE49-F238E27FC236}">
                  <a16:creationId xmlns:a16="http://schemas.microsoft.com/office/drawing/2014/main" id="{3902D242-CD46-6014-18A5-12C267D7ED37}"/>
                </a:ext>
              </a:extLst>
            </p:cNvPr>
            <p:cNvSpPr txBox="1"/>
            <p:nvPr/>
          </p:nvSpPr>
          <p:spPr>
            <a:xfrm>
              <a:off x="2551706" y="4560313"/>
              <a:ext cx="2357002" cy="646331"/>
            </a:xfrm>
            <a:prstGeom prst="rect">
              <a:avLst/>
            </a:prstGeom>
            <a:noFill/>
          </p:spPr>
          <p:txBody>
            <a:bodyPr wrap="square" rtlCol="0">
              <a:spAutoFit/>
            </a:bodyPr>
            <a:lstStyle/>
            <a:p>
              <a:r>
                <a:rPr lang="en-US" altLang="ko-KR" sz="1200">
                  <a:solidFill>
                    <a:schemeClr val="tx1">
                      <a:lumMod val="75000"/>
                      <a:lumOff val="25000"/>
                    </a:schemeClr>
                  </a:solidFill>
                  <a:cs typeface="Arial" panose="020b0604020202020204" pitchFamily="34" charset="0"/>
                </a:rPr>
                <a:t>You can simply impress your audience and add a unique zing and appeal to your Presentations. </a:t>
              </a:r>
              <a:r>
                <a:rPr lang="en-US" altLang="ko-KR" sz="1200">
                  <a:cs typeface="Arial" panose="020b0604020202020204" pitchFamily="34" charset="0"/>
                </a:rPr>
                <a:t>Easy to change colors, photos and Text. </a:t>
              </a:r>
              <a:endParaRPr lang="ko-KR" altLang="en-US" sz="1200">
                <a:solidFill>
                  <a:schemeClr val="tx1">
                    <a:lumMod val="75000"/>
                    <a:lumOff val="25000"/>
                  </a:schemeClr>
                </a:solidFill>
                <a:cs typeface="Arial" panose="020b0604020202020204" pitchFamily="34" charset="0"/>
              </a:endParaRPr>
            </a:p>
          </p:txBody>
        </p:sp>
        <p:sp>
          <p:nvSpPr>
            <p:cNvPr id="11" name="TextBox 14">
              <a:extLst>
                <a:ext uri="{FF2B5EF4-FFF2-40B4-BE49-F238E27FC236}">
                  <a16:creationId xmlns:a16="http://schemas.microsoft.com/office/drawing/2014/main" id="{09DE4E6C-7B31-A97E-4E81-A56D98A06D8C}"/>
                </a:ext>
              </a:extLst>
            </p:cNvPr>
            <p:cNvSpPr txBox="1"/>
            <p:nvPr/>
          </p:nvSpPr>
          <p:spPr>
            <a:xfrm>
              <a:off x="2551705" y="4283314"/>
              <a:ext cx="2336966" cy="276999"/>
            </a:xfrm>
            <a:prstGeom prst="rect">
              <a:avLst/>
            </a:prstGeom>
            <a:noFill/>
          </p:spPr>
          <p:txBody>
            <a:bodyPr wrap="square" rtlCol="0">
              <a:spAutoFit/>
            </a:bodyPr>
            <a:lstStyle/>
            <a:p>
              <a:r>
                <a:rPr lang="en-US" altLang="ko-KR" sz="1200" b="1">
                  <a:solidFill>
                    <a:schemeClr val="tx1">
                      <a:lumMod val="75000"/>
                      <a:lumOff val="25000"/>
                    </a:schemeClr>
                  </a:solidFill>
                  <a:cs typeface="Arial" panose="020b0604020202020204" pitchFamily="34" charset="0"/>
                </a:rPr>
                <a:t>Your Text Here</a:t>
              </a:r>
              <a:endParaRPr lang="ko-KR" altLang="en-US" sz="1200" b="1">
                <a:solidFill>
                  <a:schemeClr val="tx1">
                    <a:lumMod val="75000"/>
                    <a:lumOff val="25000"/>
                  </a:schemeClr>
                </a:solidFill>
                <a:cs typeface="Arial" panose="020b0604020202020204" pitchFamily="34" charset="0"/>
              </a:endParaRPr>
            </a:p>
          </p:txBody>
        </p:sp>
      </p:grpSp>
      <p:sp>
        <p:nvSpPr>
          <p:cNvPr id="14" name="Chevron 2">
            <a:extLst>
              <a:ext uri="{FF2B5EF4-FFF2-40B4-BE49-F238E27FC236}">
                <a16:creationId xmlns:a16="http://schemas.microsoft.com/office/drawing/2014/main" id="{2D66B268-7840-C27F-8347-40AF1A03DE47}"/>
              </a:ext>
            </a:extLst>
          </p:cNvPr>
          <p:cNvSpPr/>
          <p:nvPr/>
        </p:nvSpPr>
        <p:spPr>
          <a:xfrm rot="5400000">
            <a:off x="6975694" y="5476246"/>
            <a:ext cx="383816" cy="378972"/>
          </a:xfrm>
          <a:custGeom>
            <a:rect l="l" t="t" r="r" b="b"/>
            <a:pathLst>
              <a:path w="3830740" h="3782395">
                <a:moveTo>
                  <a:pt x="272737" y="3782395"/>
                </a:moveTo>
                <a:lnTo>
                  <a:pt x="272737" y="1129329"/>
                </a:lnTo>
                <a:cubicBezTo>
                  <a:pt x="368718" y="1192933"/>
                  <a:pt x="457831" y="1251924"/>
                  <a:pt x="541946" y="1307175"/>
                </a:cubicBezTo>
                <a:lnTo>
                  <a:pt x="541946" y="3513186"/>
                </a:lnTo>
                <a:lnTo>
                  <a:pt x="3561532" y="3513186"/>
                </a:lnTo>
                <a:lnTo>
                  <a:pt x="3561532" y="1985872"/>
                </a:lnTo>
                <a:lnTo>
                  <a:pt x="3590324" y="1967561"/>
                </a:lnTo>
                <a:cubicBezTo>
                  <a:pt x="3580733" y="1962993"/>
                  <a:pt x="3571122" y="1958413"/>
                  <a:pt x="3561532" y="1953733"/>
                </a:cubicBezTo>
                <a:lnTo>
                  <a:pt x="3561532" y="522839"/>
                </a:lnTo>
                <a:lnTo>
                  <a:pt x="881682" y="522839"/>
                </a:lnTo>
                <a:cubicBezTo>
                  <a:pt x="739027" y="434224"/>
                  <a:pt x="600115" y="344664"/>
                  <a:pt x="466828" y="253630"/>
                </a:cubicBezTo>
                <a:lnTo>
                  <a:pt x="3830741" y="253630"/>
                </a:lnTo>
                <a:lnTo>
                  <a:pt x="3830741" y="3782395"/>
                </a:lnTo>
                <a:close/>
                <a:moveTo>
                  <a:pt x="0" y="0"/>
                </a:moveTo>
                <a:cubicBezTo>
                  <a:pt x="678168" y="716943"/>
                  <a:pt x="2221880" y="1454406"/>
                  <a:pt x="3416058" y="1983649"/>
                </a:cubicBezTo>
                <a:cubicBezTo>
                  <a:pt x="2906515" y="2315100"/>
                  <a:pt x="1976707" y="2643252"/>
                  <a:pt x="1914290" y="3355250"/>
                </a:cubicBezTo>
                <a:lnTo>
                  <a:pt x="1318205" y="3154450"/>
                </a:lnTo>
                <a:cubicBezTo>
                  <a:pt x="1531531" y="2503259"/>
                  <a:pt x="1765419" y="2324696"/>
                  <a:pt x="2221606" y="1999551"/>
                </a:cubicBezTo>
                <a:cubicBezTo>
                  <a:pt x="1369032" y="1616387"/>
                  <a:pt x="1025337" y="1447905"/>
                  <a:pt x="21688" y="786442"/>
                </a:cubicBezTo>
                <a:cubicBezTo>
                  <a:pt x="14534" y="524743"/>
                  <a:pt x="14718" y="351758"/>
                  <a:pt x="0" y="0"/>
                </a:cubicBezTo>
                <a:close/>
              </a:path>
            </a:pathLst>
          </a:custGeom>
          <a:solidFill>
            <a:srgbClr val="00AB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spTree>
    <p:extLst>
      <p:ext uri="{BB962C8B-B14F-4D97-AF65-F5344CB8AC3E}">
        <p14:creationId xmlns:p14="http://schemas.microsoft.com/office/powerpoint/2010/main" val="2255151739"/>
      </p:ext>
    </p:extLst>
  </p:cSld>
  <p:clrMapOvr>
    <a:masterClrMapping/>
  </p:clrMapOvr>
  <p:transition/>
  <p:timing/>
</p:sld>
</file>

<file path=ppt/slides/slide12.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9" name="Forma libre: forma 28">
            <a:extLst>
              <a:ext uri="{FF2B5EF4-FFF2-40B4-BE49-F238E27FC236}">
                <a16:creationId xmlns:a16="http://schemas.microsoft.com/office/drawing/2014/main" id="{8C16432D-27A0-C56F-82B4-5EB4A301E6AB}"/>
              </a:ext>
            </a:extLst>
          </p:cNvPr>
          <p:cNvSpPr/>
          <p:nvPr/>
        </p:nvSpPr>
        <p:spPr>
          <a:xfrm>
            <a:off x="0" y="1743600"/>
            <a:ext cx="3620863" cy="4548871"/>
          </a:xfrm>
          <a:custGeom>
            <a:gdLst>
              <a:gd name="connsiteX0" fmla="*/ 1626172 w 4833494"/>
              <a:gd name="connsiteY0" fmla="*/ 0 h 5848350"/>
              <a:gd name="connsiteX1" fmla="*/ 4833494 w 4833494"/>
              <a:gd name="connsiteY1" fmla="*/ 2924175 h 5848350"/>
              <a:gd name="connsiteX2" fmla="*/ 1626172 w 4833494"/>
              <a:gd name="connsiteY2" fmla="*/ 5848350 h 5848350"/>
              <a:gd name="connsiteX3" fmla="*/ 97372 w 4833494"/>
              <a:gd name="connsiteY3" fmla="*/ 5495418 h 5848350"/>
              <a:gd name="connsiteX4" fmla="*/ 0 w 4833494"/>
              <a:gd name="connsiteY4" fmla="*/ 5441485 h 5848350"/>
              <a:gd name="connsiteX5" fmla="*/ 0 w 4833494"/>
              <a:gd name="connsiteY5" fmla="*/ 406865 h 5848350"/>
              <a:gd name="connsiteX6" fmla="*/ 97372 w 4833494"/>
              <a:gd name="connsiteY6" fmla="*/ 352932 h 5848350"/>
              <a:gd name="connsiteX7" fmla="*/ 1626172 w 4833494"/>
              <a:gd name="connsiteY7" fmla="*/ 0 h 584835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33494" h="5848350">
                <a:moveTo>
                  <a:pt x="1626172" y="0"/>
                </a:moveTo>
                <a:cubicBezTo>
                  <a:pt x="3397527" y="0"/>
                  <a:pt x="4833494" y="1309198"/>
                  <a:pt x="4833494" y="2924175"/>
                </a:cubicBezTo>
                <a:cubicBezTo>
                  <a:pt x="4833494" y="4539152"/>
                  <a:pt x="3397527" y="5848350"/>
                  <a:pt x="1626172" y="5848350"/>
                </a:cubicBezTo>
                <a:cubicBezTo>
                  <a:pt x="1072624" y="5848350"/>
                  <a:pt x="551828" y="5720499"/>
                  <a:pt x="97372" y="5495418"/>
                </a:cubicBezTo>
                <a:lnTo>
                  <a:pt x="0" y="5441485"/>
                </a:lnTo>
                <a:lnTo>
                  <a:pt x="0" y="406865"/>
                </a:lnTo>
                <a:lnTo>
                  <a:pt x="97372" y="352932"/>
                </a:lnTo>
                <a:cubicBezTo>
                  <a:pt x="551828" y="127852"/>
                  <a:pt x="1072624" y="0"/>
                  <a:pt x="1626172" y="0"/>
                </a:cubicBezTo>
                <a:close/>
              </a:path>
            </a:pathLst>
          </a:custGeom>
          <a:solidFill>
            <a:srgbClr val="02BA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s-PE"/>
          </a:p>
        </p:txBody>
      </p:sp>
      <p:sp>
        <p:nvSpPr>
          <p:cNvPr id="2" name="Rectángulo: esquinas redondeadas 1">
            <a:extLst>
              <a:ext uri="{FF2B5EF4-FFF2-40B4-BE49-F238E27FC236}">
                <a16:creationId xmlns:a16="http://schemas.microsoft.com/office/drawing/2014/main" id="{FE99F70B-2E75-D519-8AB4-3A11E3F3F9F8}"/>
              </a:ext>
            </a:extLst>
          </p:cNvPr>
          <p:cNvSpPr/>
          <p:nvPr/>
        </p:nvSpPr>
        <p:spPr>
          <a:xfrm>
            <a:off x="9681210" y="-62824"/>
            <a:ext cx="2510790" cy="350967"/>
          </a:xfrm>
          <a:prstGeom prst="roundRect">
            <a:avLst/>
          </a:prstGeom>
          <a:solidFill>
            <a:srgbClr val="00AB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3" name="TextBox 9">
            <a:extLst>
              <a:ext uri="{FF2B5EF4-FFF2-40B4-BE49-F238E27FC236}">
                <a16:creationId xmlns:a16="http://schemas.microsoft.com/office/drawing/2014/main" id="{7D38F178-0EC7-5E2A-388E-B1C3B5DE4C9F}"/>
              </a:ext>
            </a:extLst>
          </p:cNvPr>
          <p:cNvSpPr txBox="1"/>
          <p:nvPr/>
        </p:nvSpPr>
        <p:spPr>
          <a:xfrm>
            <a:off x="914171" y="127378"/>
            <a:ext cx="3876061" cy="923330"/>
          </a:xfrm>
          <a:prstGeom prst="rect">
            <a:avLst/>
          </a:prstGeom>
          <a:noFill/>
        </p:spPr>
        <p:txBody>
          <a:bodyPr wrap="none" lIns="0" tIns="0" rIns="0" bIns="0" rtlCol="0">
            <a:spAutoFit/>
          </a:bodyPr>
          <a:lstStyle/>
          <a:p>
            <a:r>
              <a:rPr lang="en-US" sz="6000" b="1">
                <a:solidFill>
                  <a:schemeClr val="tx1">
                    <a:lumMod val="65000"/>
                    <a:lumOff val="35000"/>
                  </a:schemeClr>
                </a:solidFill>
                <a:latin typeface="Segoe UI" panose="020b0502040204020203" pitchFamily="34" charset="0"/>
                <a:cs typeface="Segoe UI" panose="020b0502040204020203" pitchFamily="34" charset="0"/>
              </a:rPr>
              <a:t>BAHAMAS</a:t>
            </a:r>
          </a:p>
        </p:txBody>
      </p:sp>
      <p:sp>
        <p:nvSpPr>
          <p:cNvPr id="4" name="TextBox 9">
            <a:extLst>
              <a:ext uri="{FF2B5EF4-FFF2-40B4-BE49-F238E27FC236}">
                <a16:creationId xmlns:a16="http://schemas.microsoft.com/office/drawing/2014/main" id="{9ADA3DF9-8C94-BFF5-455F-DCDDE44D4968}"/>
              </a:ext>
            </a:extLst>
          </p:cNvPr>
          <p:cNvSpPr txBox="1"/>
          <p:nvPr/>
        </p:nvSpPr>
        <p:spPr>
          <a:xfrm>
            <a:off x="911835" y="939121"/>
            <a:ext cx="2068067" cy="430887"/>
          </a:xfrm>
          <a:prstGeom prst="rect">
            <a:avLst/>
          </a:prstGeom>
          <a:noFill/>
        </p:spPr>
        <p:txBody>
          <a:bodyPr wrap="none" lIns="0" tIns="0" rIns="0" bIns="0" rtlCol="0">
            <a:spAutoFit/>
          </a:bodyPr>
          <a:lstStyle/>
          <a:p>
            <a:pPr algn="ctr"/>
            <a:r>
              <a:rPr lang="en-US" sz="2800" b="1">
                <a:solidFill>
                  <a:srgbClr val="02BAC8"/>
                </a:solidFill>
                <a:latin typeface="Segoe UI" panose="020b0502040204020203" pitchFamily="34" charset="0"/>
                <a:cs typeface="Segoe UI" panose="020b0502040204020203" pitchFamily="34" charset="0"/>
              </a:rPr>
              <a:t>Gastronomy</a:t>
            </a:r>
          </a:p>
        </p:txBody>
      </p:sp>
      <p:grpSp>
        <p:nvGrpSpPr>
          <p:cNvPr id="5" name="Grupo 4">
            <a:extLst>
              <a:ext uri="{FF2B5EF4-FFF2-40B4-BE49-F238E27FC236}">
                <a16:creationId xmlns:a16="http://schemas.microsoft.com/office/drawing/2014/main" id="{F56BD0A8-367E-6D9A-4356-8CD19BF81433}"/>
              </a:ext>
            </a:extLst>
          </p:cNvPr>
          <p:cNvGrpSpPr/>
          <p:nvPr/>
        </p:nvGrpSpPr>
        <p:grpSpPr>
          <a:xfrm>
            <a:off x="217726" y="24829"/>
            <a:ext cx="792527" cy="1306401"/>
            <a:chOff x="283851" y="5461857"/>
            <a:chExt cx="846969" cy="1396143"/>
          </a:xfrm>
          <a:solidFill>
            <a:srgbClr val="06DBE7"/>
          </a:solidFill>
        </p:grpSpPr>
        <p:sp>
          <p:nvSpPr>
            <p:cNvPr id="6" name="Forma libre: forma 5">
              <a:extLst>
                <a:ext uri="{FF2B5EF4-FFF2-40B4-BE49-F238E27FC236}">
                  <a16:creationId xmlns:a16="http://schemas.microsoft.com/office/drawing/2014/main" id="{7E574E0B-3EF8-54F0-B7D6-00D3F7481847}"/>
                </a:ext>
              </a:extLst>
            </p:cNvPr>
            <p:cNvSpPr/>
            <p:nvPr/>
          </p:nvSpPr>
          <p:spPr>
            <a:xfrm>
              <a:off x="283851" y="5461857"/>
              <a:ext cx="846969" cy="468186"/>
            </a:xfrm>
            <a:custGeom>
              <a:gdLst>
                <a:gd name="connsiteX0" fmla="*/ 585515 w 846969"/>
                <a:gd name="connsiteY0" fmla="*/ 123160 h 468186"/>
                <a:gd name="connsiteX1" fmla="*/ 374091 w 846969"/>
                <a:gd name="connsiteY1" fmla="*/ 150510 h 468186"/>
                <a:gd name="connsiteX2" fmla="*/ 58700 w 846969"/>
                <a:gd name="connsiteY2" fmla="*/ 260683 h 468186"/>
                <a:gd name="connsiteX3" fmla="*/ 7105 w 846969"/>
                <a:gd name="connsiteY3" fmla="*/ 260683 h 468186"/>
                <a:gd name="connsiteX4" fmla="*/ 14476 w 846969"/>
                <a:gd name="connsiteY4" fmla="*/ 205208 h 468186"/>
                <a:gd name="connsiteX5" fmla="*/ 215232 w 846969"/>
                <a:gd name="connsiteY5" fmla="*/ 41694 h 468186"/>
                <a:gd name="connsiteX6" fmla="*/ 547303 w 846969"/>
                <a:gd name="connsiteY6" fmla="*/ 4259 h 468186"/>
                <a:gd name="connsiteX7" fmla="*/ 805280 w 846969"/>
                <a:gd name="connsiteY7" fmla="*/ 54302 h 468186"/>
                <a:gd name="connsiteX8" fmla="*/ 846788 w 846969"/>
                <a:gd name="connsiteY8" fmla="*/ 87470 h 468186"/>
                <a:gd name="connsiteX9" fmla="*/ 815366 w 846969"/>
                <a:gd name="connsiteY9" fmla="*/ 131307 h 468186"/>
                <a:gd name="connsiteX10" fmla="*/ 705968 w 846969"/>
                <a:gd name="connsiteY10" fmla="*/ 242644 h 468186"/>
                <a:gd name="connsiteX11" fmla="*/ 376612 w 846969"/>
                <a:gd name="connsiteY11" fmla="*/ 464348 h 468186"/>
                <a:gd name="connsiteX12" fmla="*/ 89735 w 846969"/>
                <a:gd name="connsiteY12" fmla="*/ 417990 h 468186"/>
                <a:gd name="connsiteX13" fmla="*/ 60058 w 846969"/>
                <a:gd name="connsiteY13" fmla="*/ 386762 h 468186"/>
                <a:gd name="connsiteX14" fmla="*/ 86826 w 846969"/>
                <a:gd name="connsiteY14" fmla="*/ 349326 h 468186"/>
                <a:gd name="connsiteX15" fmla="*/ 550407 w 846969"/>
                <a:gd name="connsiteY15" fmla="*/ 135186 h 468186"/>
                <a:gd name="connsiteX16" fmla="*/ 585321 w 846969"/>
                <a:gd name="connsiteY16" fmla="*/ 123160 h 46818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46969" h="468186">
                  <a:moveTo>
                    <a:pt x="585515" y="123160"/>
                  </a:moveTo>
                  <a:cubicBezTo>
                    <a:pt x="513747" y="122191"/>
                    <a:pt x="443531" y="133829"/>
                    <a:pt x="374091" y="150510"/>
                  </a:cubicBezTo>
                  <a:cubicBezTo>
                    <a:pt x="265275" y="176501"/>
                    <a:pt x="159757" y="212385"/>
                    <a:pt x="58700" y="260683"/>
                  </a:cubicBezTo>
                  <a:cubicBezTo>
                    <a:pt x="41631" y="268830"/>
                    <a:pt x="22816" y="281050"/>
                    <a:pt x="7105" y="260683"/>
                  </a:cubicBezTo>
                  <a:cubicBezTo>
                    <a:pt x="-7636" y="241480"/>
                    <a:pt x="3420" y="222278"/>
                    <a:pt x="14476" y="205208"/>
                  </a:cubicBezTo>
                  <a:cubicBezTo>
                    <a:pt x="63162" y="128591"/>
                    <a:pt x="132990" y="77578"/>
                    <a:pt x="215232" y="41694"/>
                  </a:cubicBezTo>
                  <a:cubicBezTo>
                    <a:pt x="322108" y="-5052"/>
                    <a:pt x="434802" y="-3694"/>
                    <a:pt x="547303" y="4259"/>
                  </a:cubicBezTo>
                  <a:cubicBezTo>
                    <a:pt x="634977" y="10660"/>
                    <a:pt x="720710" y="30638"/>
                    <a:pt x="805280" y="54302"/>
                  </a:cubicBezTo>
                  <a:cubicBezTo>
                    <a:pt x="823706" y="59345"/>
                    <a:pt x="844655" y="64000"/>
                    <a:pt x="846788" y="87470"/>
                  </a:cubicBezTo>
                  <a:cubicBezTo>
                    <a:pt x="848922" y="109583"/>
                    <a:pt x="831853" y="120639"/>
                    <a:pt x="815366" y="131307"/>
                  </a:cubicBezTo>
                  <a:cubicBezTo>
                    <a:pt x="770753" y="160402"/>
                    <a:pt x="734094" y="197450"/>
                    <a:pt x="705968" y="242644"/>
                  </a:cubicBezTo>
                  <a:cubicBezTo>
                    <a:pt x="629351" y="366007"/>
                    <a:pt x="524415" y="447279"/>
                    <a:pt x="376612" y="464348"/>
                  </a:cubicBezTo>
                  <a:cubicBezTo>
                    <a:pt x="276913" y="475792"/>
                    <a:pt x="180706" y="462021"/>
                    <a:pt x="89735" y="417990"/>
                  </a:cubicBezTo>
                  <a:cubicBezTo>
                    <a:pt x="75769" y="411201"/>
                    <a:pt x="60640" y="405188"/>
                    <a:pt x="60058" y="386762"/>
                  </a:cubicBezTo>
                  <a:cubicBezTo>
                    <a:pt x="59476" y="368141"/>
                    <a:pt x="72278" y="358248"/>
                    <a:pt x="86826" y="349326"/>
                  </a:cubicBezTo>
                  <a:cubicBezTo>
                    <a:pt x="232689" y="258937"/>
                    <a:pt x="387281" y="187945"/>
                    <a:pt x="550407" y="135186"/>
                  </a:cubicBezTo>
                  <a:cubicBezTo>
                    <a:pt x="562045" y="131501"/>
                    <a:pt x="573683" y="127234"/>
                    <a:pt x="585321" y="123160"/>
                  </a:cubicBezTo>
                  <a:close/>
                </a:path>
              </a:pathLst>
            </a:custGeom>
            <a:solidFill>
              <a:srgbClr val="00ABF7"/>
            </a:solidFill>
            <a:ln w="19266" cap="flat">
              <a:noFill/>
              <a:prstDash val="solid"/>
              <a:miter/>
            </a:ln>
          </p:spPr>
          <p:txBody>
            <a:bodyPr rtlCol="0" anchor="ctr"/>
            <a:lstStyle/>
            <a:p>
              <a:endParaRPr lang="es-PE"/>
            </a:p>
          </p:txBody>
        </p:sp>
        <p:sp>
          <p:nvSpPr>
            <p:cNvPr id="7" name="Forma libre: forma 6">
              <a:extLst>
                <a:ext uri="{FF2B5EF4-FFF2-40B4-BE49-F238E27FC236}">
                  <a16:creationId xmlns:a16="http://schemas.microsoft.com/office/drawing/2014/main" id="{11C38D97-8B02-BB93-5FB2-2EF2858789D2}"/>
                </a:ext>
              </a:extLst>
            </p:cNvPr>
            <p:cNvSpPr/>
            <p:nvPr/>
          </p:nvSpPr>
          <p:spPr>
            <a:xfrm>
              <a:off x="507131" y="5943613"/>
              <a:ext cx="297179" cy="914387"/>
            </a:xfrm>
            <a:custGeom>
              <a:gdLst>
                <a:gd name="connsiteX0" fmla="*/ 76327 w 297179"/>
                <a:gd name="connsiteY0" fmla="*/ 250461 h 914387"/>
                <a:gd name="connsiteX1" fmla="*/ 87189 w 297179"/>
                <a:gd name="connsiteY1" fmla="*/ 213801 h 914387"/>
                <a:gd name="connsiteX2" fmla="*/ 91651 w 297179"/>
                <a:gd name="connsiteY2" fmla="*/ 56494 h 914387"/>
                <a:gd name="connsiteX3" fmla="*/ 107168 w 297179"/>
                <a:gd name="connsiteY3" fmla="*/ 30114 h 914387"/>
                <a:gd name="connsiteX4" fmla="*/ 134323 w 297179"/>
                <a:gd name="connsiteY4" fmla="*/ 56106 h 914387"/>
                <a:gd name="connsiteX5" fmla="*/ 139366 w 297179"/>
                <a:gd name="connsiteY5" fmla="*/ 216128 h 914387"/>
                <a:gd name="connsiteX6" fmla="*/ 149065 w 297179"/>
                <a:gd name="connsiteY6" fmla="*/ 248133 h 914387"/>
                <a:gd name="connsiteX7" fmla="*/ 159733 w 297179"/>
                <a:gd name="connsiteY7" fmla="*/ 208176 h 914387"/>
                <a:gd name="connsiteX8" fmla="*/ 161091 w 297179"/>
                <a:gd name="connsiteY8" fmla="*/ 65028 h 914387"/>
                <a:gd name="connsiteX9" fmla="*/ 161867 w 297179"/>
                <a:gd name="connsiteY9" fmla="*/ 42140 h 914387"/>
                <a:gd name="connsiteX10" fmla="*/ 189798 w 297179"/>
                <a:gd name="connsiteY10" fmla="*/ 20416 h 914387"/>
                <a:gd name="connsiteX11" fmla="*/ 205121 w 297179"/>
                <a:gd name="connsiteY11" fmla="*/ 42916 h 914387"/>
                <a:gd name="connsiteX12" fmla="*/ 208613 w 297179"/>
                <a:gd name="connsiteY12" fmla="*/ 214577 h 914387"/>
                <a:gd name="connsiteX13" fmla="*/ 218699 w 297179"/>
                <a:gd name="connsiteY13" fmla="*/ 245805 h 914387"/>
                <a:gd name="connsiteX14" fmla="*/ 229173 w 297179"/>
                <a:gd name="connsiteY14" fmla="*/ 214965 h 914387"/>
                <a:gd name="connsiteX15" fmla="*/ 234604 w 297179"/>
                <a:gd name="connsiteY15" fmla="*/ 37679 h 914387"/>
                <a:gd name="connsiteX16" fmla="*/ 235574 w 297179"/>
                <a:gd name="connsiteY16" fmla="*/ 20610 h 914387"/>
                <a:gd name="connsiteX17" fmla="*/ 266027 w 297179"/>
                <a:gd name="connsiteY17" fmla="*/ 49 h 914387"/>
                <a:gd name="connsiteX18" fmla="*/ 279217 w 297179"/>
                <a:gd name="connsiteY18" fmla="*/ 20998 h 914387"/>
                <a:gd name="connsiteX19" fmla="*/ 296480 w 297179"/>
                <a:gd name="connsiteY19" fmla="*/ 271991 h 914387"/>
                <a:gd name="connsiteX20" fmla="*/ 245660 w 297179"/>
                <a:gd name="connsiteY20" fmla="*/ 388953 h 914387"/>
                <a:gd name="connsiteX21" fmla="*/ 224518 w 297179"/>
                <a:gd name="connsiteY21" fmla="*/ 403695 h 914387"/>
                <a:gd name="connsiteX22" fmla="*/ 185337 w 297179"/>
                <a:gd name="connsiteY22" fmla="*/ 477984 h 914387"/>
                <a:gd name="connsiteX23" fmla="*/ 222384 w 297179"/>
                <a:gd name="connsiteY23" fmla="*/ 855637 h 914387"/>
                <a:gd name="connsiteX24" fmla="*/ 172535 w 297179"/>
                <a:gd name="connsiteY24" fmla="*/ 914216 h 914387"/>
                <a:gd name="connsiteX25" fmla="*/ 115315 w 297179"/>
                <a:gd name="connsiteY25" fmla="*/ 914216 h 914387"/>
                <a:gd name="connsiteX26" fmla="*/ 73806 w 297179"/>
                <a:gd name="connsiteY26" fmla="*/ 865918 h 914387"/>
                <a:gd name="connsiteX27" fmla="*/ 105228 w 297179"/>
                <a:gd name="connsiteY27" fmla="*/ 668265 h 914387"/>
                <a:gd name="connsiteX28" fmla="*/ 109496 w 297179"/>
                <a:gd name="connsiteY28" fmla="*/ 459557 h 914387"/>
                <a:gd name="connsiteX29" fmla="*/ 82728 w 297179"/>
                <a:gd name="connsiteY29" fmla="*/ 411259 h 914387"/>
                <a:gd name="connsiteX30" fmla="*/ 46068 w 297179"/>
                <a:gd name="connsiteY30" fmla="*/ 383716 h 914387"/>
                <a:gd name="connsiteX31" fmla="*/ 292 w 297179"/>
                <a:gd name="connsiteY31" fmla="*/ 284017 h 914387"/>
                <a:gd name="connsiteX32" fmla="*/ 16779 w 297179"/>
                <a:gd name="connsiteY32" fmla="*/ 50093 h 914387"/>
                <a:gd name="connsiteX33" fmla="*/ 37146 w 297179"/>
                <a:gd name="connsiteY33" fmla="*/ 27205 h 914387"/>
                <a:gd name="connsiteX34" fmla="*/ 64495 w 297179"/>
                <a:gd name="connsiteY34" fmla="*/ 52420 h 914387"/>
                <a:gd name="connsiteX35" fmla="*/ 66047 w 297179"/>
                <a:gd name="connsiteY35" fmla="*/ 204102 h 914387"/>
                <a:gd name="connsiteX36" fmla="*/ 76521 w 297179"/>
                <a:gd name="connsiteY36" fmla="*/ 250073 h 91438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97179" h="914387">
                  <a:moveTo>
                    <a:pt x="76327" y="250461"/>
                  </a:moveTo>
                  <a:cubicBezTo>
                    <a:pt x="90099" y="238823"/>
                    <a:pt x="86801" y="225633"/>
                    <a:pt x="87189" y="213801"/>
                  </a:cubicBezTo>
                  <a:cubicBezTo>
                    <a:pt x="88935" y="161430"/>
                    <a:pt x="90099" y="109059"/>
                    <a:pt x="91651" y="56494"/>
                  </a:cubicBezTo>
                  <a:cubicBezTo>
                    <a:pt x="92039" y="45050"/>
                    <a:pt x="91651" y="32830"/>
                    <a:pt x="107168" y="30114"/>
                  </a:cubicBezTo>
                  <a:cubicBezTo>
                    <a:pt x="127922" y="26817"/>
                    <a:pt x="133935" y="37291"/>
                    <a:pt x="134323" y="56106"/>
                  </a:cubicBezTo>
                  <a:cubicBezTo>
                    <a:pt x="135487" y="109447"/>
                    <a:pt x="137233" y="162788"/>
                    <a:pt x="139366" y="216128"/>
                  </a:cubicBezTo>
                  <a:cubicBezTo>
                    <a:pt x="139754" y="226603"/>
                    <a:pt x="135487" y="239210"/>
                    <a:pt x="149065" y="248133"/>
                  </a:cubicBezTo>
                  <a:cubicBezTo>
                    <a:pt x="160121" y="236495"/>
                    <a:pt x="159539" y="222141"/>
                    <a:pt x="159733" y="208176"/>
                  </a:cubicBezTo>
                  <a:cubicBezTo>
                    <a:pt x="160315" y="160460"/>
                    <a:pt x="160703" y="112744"/>
                    <a:pt x="161091" y="65028"/>
                  </a:cubicBezTo>
                  <a:cubicBezTo>
                    <a:pt x="161091" y="57463"/>
                    <a:pt x="161479" y="49705"/>
                    <a:pt x="161867" y="42140"/>
                  </a:cubicBezTo>
                  <a:cubicBezTo>
                    <a:pt x="162643" y="24101"/>
                    <a:pt x="175832" y="20804"/>
                    <a:pt x="189798" y="20416"/>
                  </a:cubicBezTo>
                  <a:cubicBezTo>
                    <a:pt x="205509" y="19834"/>
                    <a:pt x="204927" y="33218"/>
                    <a:pt x="205121" y="42916"/>
                  </a:cubicBezTo>
                  <a:cubicBezTo>
                    <a:pt x="206673" y="100136"/>
                    <a:pt x="207255" y="157356"/>
                    <a:pt x="208613" y="214577"/>
                  </a:cubicBezTo>
                  <a:cubicBezTo>
                    <a:pt x="209001" y="226021"/>
                    <a:pt x="204733" y="245805"/>
                    <a:pt x="218699" y="245805"/>
                  </a:cubicBezTo>
                  <a:cubicBezTo>
                    <a:pt x="233440" y="245805"/>
                    <a:pt x="228591" y="226215"/>
                    <a:pt x="229173" y="214965"/>
                  </a:cubicBezTo>
                  <a:cubicBezTo>
                    <a:pt x="231501" y="155805"/>
                    <a:pt x="232859" y="96839"/>
                    <a:pt x="234604" y="37679"/>
                  </a:cubicBezTo>
                  <a:cubicBezTo>
                    <a:pt x="234604" y="32054"/>
                    <a:pt x="234604" y="26041"/>
                    <a:pt x="235574" y="20610"/>
                  </a:cubicBezTo>
                  <a:cubicBezTo>
                    <a:pt x="238872" y="3929"/>
                    <a:pt x="252837" y="1019"/>
                    <a:pt x="266027" y="49"/>
                  </a:cubicBezTo>
                  <a:cubicBezTo>
                    <a:pt x="280574" y="-921"/>
                    <a:pt x="278635" y="12657"/>
                    <a:pt x="279217" y="20998"/>
                  </a:cubicBezTo>
                  <a:cubicBezTo>
                    <a:pt x="285036" y="104597"/>
                    <a:pt x="288915" y="188585"/>
                    <a:pt x="296480" y="271991"/>
                  </a:cubicBezTo>
                  <a:cubicBezTo>
                    <a:pt x="300941" y="321840"/>
                    <a:pt x="284066" y="359470"/>
                    <a:pt x="245660" y="388953"/>
                  </a:cubicBezTo>
                  <a:cubicBezTo>
                    <a:pt x="238872" y="394190"/>
                    <a:pt x="231695" y="399039"/>
                    <a:pt x="224518" y="403695"/>
                  </a:cubicBezTo>
                  <a:cubicBezTo>
                    <a:pt x="197363" y="421151"/>
                    <a:pt x="186694" y="445397"/>
                    <a:pt x="185337" y="477984"/>
                  </a:cubicBezTo>
                  <a:cubicBezTo>
                    <a:pt x="179906" y="605808"/>
                    <a:pt x="198332" y="730917"/>
                    <a:pt x="222384" y="855637"/>
                  </a:cubicBezTo>
                  <a:cubicBezTo>
                    <a:pt x="231307" y="901995"/>
                    <a:pt x="220445" y="914022"/>
                    <a:pt x="172535" y="914216"/>
                  </a:cubicBezTo>
                  <a:cubicBezTo>
                    <a:pt x="153526" y="914216"/>
                    <a:pt x="134323" y="914603"/>
                    <a:pt x="115315" y="914216"/>
                  </a:cubicBezTo>
                  <a:cubicBezTo>
                    <a:pt x="80207" y="913440"/>
                    <a:pt x="68569" y="900444"/>
                    <a:pt x="73806" y="865918"/>
                  </a:cubicBezTo>
                  <a:cubicBezTo>
                    <a:pt x="83892" y="799969"/>
                    <a:pt x="96112" y="734408"/>
                    <a:pt x="105228" y="668265"/>
                  </a:cubicBezTo>
                  <a:cubicBezTo>
                    <a:pt x="114733" y="599019"/>
                    <a:pt x="109883" y="529191"/>
                    <a:pt x="109496" y="459557"/>
                  </a:cubicBezTo>
                  <a:cubicBezTo>
                    <a:pt x="109496" y="439578"/>
                    <a:pt x="99603" y="423091"/>
                    <a:pt x="82728" y="411259"/>
                  </a:cubicBezTo>
                  <a:cubicBezTo>
                    <a:pt x="70314" y="402531"/>
                    <a:pt x="58094" y="393220"/>
                    <a:pt x="46068" y="383716"/>
                  </a:cubicBezTo>
                  <a:cubicBezTo>
                    <a:pt x="13870" y="358306"/>
                    <a:pt x="-2423" y="325332"/>
                    <a:pt x="292" y="284017"/>
                  </a:cubicBezTo>
                  <a:cubicBezTo>
                    <a:pt x="5529" y="206042"/>
                    <a:pt x="11348" y="128067"/>
                    <a:pt x="16779" y="50093"/>
                  </a:cubicBezTo>
                  <a:cubicBezTo>
                    <a:pt x="17749" y="36903"/>
                    <a:pt x="18137" y="25265"/>
                    <a:pt x="37146" y="27205"/>
                  </a:cubicBezTo>
                  <a:cubicBezTo>
                    <a:pt x="53633" y="28950"/>
                    <a:pt x="64301" y="33412"/>
                    <a:pt x="64495" y="52420"/>
                  </a:cubicBezTo>
                  <a:cubicBezTo>
                    <a:pt x="64495" y="103046"/>
                    <a:pt x="65465" y="153477"/>
                    <a:pt x="66047" y="204102"/>
                  </a:cubicBezTo>
                  <a:cubicBezTo>
                    <a:pt x="66047" y="219038"/>
                    <a:pt x="65465" y="234361"/>
                    <a:pt x="76521" y="250073"/>
                  </a:cubicBezTo>
                  <a:close/>
                </a:path>
              </a:pathLst>
            </a:custGeom>
            <a:solidFill>
              <a:schemeClr val="bg1">
                <a:lumMod val="65000"/>
              </a:schemeClr>
            </a:solidFill>
            <a:ln w="19266" cap="flat">
              <a:noFill/>
              <a:prstDash val="solid"/>
              <a:miter/>
            </a:ln>
          </p:spPr>
          <p:txBody>
            <a:bodyPr rtlCol="0" anchor="ctr"/>
            <a:lstStyle/>
            <a:p>
              <a:endParaRPr lang="es-PE"/>
            </a:p>
          </p:txBody>
        </p:sp>
      </p:grpSp>
      <p:sp>
        <p:nvSpPr>
          <p:cNvPr id="8" name="TextBox 30">
            <a:extLst>
              <a:ext uri="{FF2B5EF4-FFF2-40B4-BE49-F238E27FC236}">
                <a16:creationId xmlns:a16="http://schemas.microsoft.com/office/drawing/2014/main" id="{0855A331-3282-8A38-3D9F-6CE809F67321}"/>
              </a:ext>
            </a:extLst>
          </p:cNvPr>
          <p:cNvSpPr txBox="1"/>
          <p:nvPr/>
        </p:nvSpPr>
        <p:spPr>
          <a:xfrm>
            <a:off x="5723876" y="2845653"/>
            <a:ext cx="5490870" cy="830997"/>
          </a:xfrm>
          <a:prstGeom prst="rect">
            <a:avLst/>
          </a:prstGeom>
          <a:noFill/>
        </p:spPr>
        <p:txBody>
          <a:bodyPr wrap="square" rtlCol="0">
            <a:spAutoFit/>
          </a:bodyPr>
          <a:lstStyle/>
          <a:p>
            <a:r>
              <a:rPr lang="en-US" altLang="ko-KR" sz="1200">
                <a:solidFill>
                  <a:schemeClr val="tx1">
                    <a:lumMod val="75000"/>
                    <a:lumOff val="25000"/>
                  </a:schemeClr>
                </a:solidFill>
                <a:cs typeface="Arial" panose="020b0604020202020204" pitchFamily="34" charset="0"/>
              </a:rPr>
              <a:t>Get a modern PowerPoint  Presentation that is beautifully designed. I hope and I believe that this Template will your Time, Money and Reputation. Easy to change colors, photos and Text. Get a modern PowerPoint  Presentation that is beautifully designed.  </a:t>
            </a:r>
            <a:endParaRPr lang="ko-KR" altLang="en-US" sz="1200">
              <a:solidFill>
                <a:schemeClr val="tx1">
                  <a:lumMod val="75000"/>
                  <a:lumOff val="25000"/>
                </a:schemeClr>
              </a:solidFill>
              <a:cs typeface="Arial" panose="020b0604020202020204" pitchFamily="34" charset="0"/>
            </a:endParaRPr>
          </a:p>
        </p:txBody>
      </p:sp>
      <p:sp>
        <p:nvSpPr>
          <p:cNvPr id="9" name="TextBox 33">
            <a:extLst>
              <a:ext uri="{FF2B5EF4-FFF2-40B4-BE49-F238E27FC236}">
                <a16:creationId xmlns:a16="http://schemas.microsoft.com/office/drawing/2014/main" id="{DCE2B6B5-3BA0-9978-E9F5-8EE846CE2F0B}"/>
              </a:ext>
            </a:extLst>
          </p:cNvPr>
          <p:cNvSpPr txBox="1"/>
          <p:nvPr/>
        </p:nvSpPr>
        <p:spPr>
          <a:xfrm>
            <a:off x="5664256" y="1721886"/>
            <a:ext cx="5569540" cy="984885"/>
          </a:xfrm>
          <a:prstGeom prst="rect">
            <a:avLst/>
          </a:prstGeom>
          <a:noFill/>
        </p:spPr>
        <p:txBody>
          <a:bodyPr wrap="square" lIns="48000" tIns="0" rIns="24000" bIns="0" rtlCol="0">
            <a:spAutoFit/>
          </a:bodyPr>
          <a:lstStyle/>
          <a:p>
            <a:r>
              <a:rPr lang="en-US" altLang="ko-KR" sz="3200">
                <a:latin typeface="Segoe UI" panose="020b0502040204020203" pitchFamily="34" charset="0"/>
                <a:cs typeface="Segoe UI" panose="020b0502040204020203" pitchFamily="34" charset="0"/>
              </a:rPr>
              <a:t>We Create</a:t>
            </a:r>
          </a:p>
          <a:p>
            <a:r>
              <a:rPr lang="en-US" altLang="ko-KR" sz="3200" b="1">
                <a:solidFill>
                  <a:srgbClr val="00677F"/>
                </a:solidFill>
                <a:latin typeface="Segoe UI" panose="020b0502040204020203" pitchFamily="34" charset="0"/>
                <a:cs typeface="Segoe UI" panose="020b0502040204020203" pitchFamily="34" charset="0"/>
              </a:rPr>
              <a:t>Fish Stew </a:t>
            </a:r>
            <a:r>
              <a:rPr lang="en-US" altLang="ko-KR" sz="3200">
                <a:latin typeface="Segoe UI" panose="020b0502040204020203" pitchFamily="34" charset="0"/>
                <a:cs typeface="Segoe UI" panose="020b0502040204020203" pitchFamily="34" charset="0"/>
              </a:rPr>
              <a:t>Presentation</a:t>
            </a:r>
            <a:endParaRPr lang="ko-KR" altLang="en-US" sz="3200">
              <a:latin typeface="Segoe UI" panose="020b0502040204020203" pitchFamily="34" charset="0"/>
              <a:cs typeface="Segoe UI" panose="020b0502040204020203" pitchFamily="34" charset="0"/>
            </a:endParaRPr>
          </a:p>
        </p:txBody>
      </p:sp>
      <p:sp>
        <p:nvSpPr>
          <p:cNvPr id="10" name="Rectangle: Rounded Corners 34">
            <a:extLst>
              <a:ext uri="{FF2B5EF4-FFF2-40B4-BE49-F238E27FC236}">
                <a16:creationId xmlns:a16="http://schemas.microsoft.com/office/drawing/2014/main" id="{838D7B6F-948C-D0C0-4E8B-3EA6CF977F98}"/>
              </a:ext>
            </a:extLst>
          </p:cNvPr>
          <p:cNvSpPr/>
          <p:nvPr/>
        </p:nvSpPr>
        <p:spPr>
          <a:xfrm>
            <a:off x="5820219" y="3798244"/>
            <a:ext cx="1604417" cy="1536971"/>
          </a:xfrm>
          <a:prstGeom prst="roundRect">
            <a:avLst/>
          </a:prstGeom>
          <a:solidFill>
            <a:srgbClr val="00AB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35">
            <a:extLst>
              <a:ext uri="{FF2B5EF4-FFF2-40B4-BE49-F238E27FC236}">
                <a16:creationId xmlns:a16="http://schemas.microsoft.com/office/drawing/2014/main" id="{9D9BF347-EAA9-A8BA-2222-4B035A0B937E}"/>
              </a:ext>
            </a:extLst>
          </p:cNvPr>
          <p:cNvSpPr/>
          <p:nvPr/>
        </p:nvSpPr>
        <p:spPr>
          <a:xfrm>
            <a:off x="7715274" y="3798244"/>
            <a:ext cx="1604417" cy="1536971"/>
          </a:xfrm>
          <a:prstGeom prst="roundRect">
            <a:avLst/>
          </a:pr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36">
            <a:extLst>
              <a:ext uri="{FF2B5EF4-FFF2-40B4-BE49-F238E27FC236}">
                <a16:creationId xmlns:a16="http://schemas.microsoft.com/office/drawing/2014/main" id="{5A0086AB-A713-BF67-A706-2BD2FFA7405C}"/>
              </a:ext>
            </a:extLst>
          </p:cNvPr>
          <p:cNvSpPr/>
          <p:nvPr/>
        </p:nvSpPr>
        <p:spPr>
          <a:xfrm>
            <a:off x="9610329" y="3798244"/>
            <a:ext cx="1604417" cy="1536971"/>
          </a:xfrm>
          <a:prstGeom prst="roundRect">
            <a:avLst/>
          </a:prstGeom>
          <a:solidFill>
            <a:srgbClr val="00AB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22">
            <a:extLst>
              <a:ext uri="{FF2B5EF4-FFF2-40B4-BE49-F238E27FC236}">
                <a16:creationId xmlns:a16="http://schemas.microsoft.com/office/drawing/2014/main" id="{5BFD7D77-A55E-70B3-0431-A60B46666ACA}"/>
              </a:ext>
            </a:extLst>
          </p:cNvPr>
          <p:cNvSpPr txBox="1"/>
          <p:nvPr/>
        </p:nvSpPr>
        <p:spPr>
          <a:xfrm>
            <a:off x="6169534" y="3866337"/>
            <a:ext cx="905786" cy="485535"/>
          </a:xfrm>
          <a:prstGeom prst="rect">
            <a:avLst/>
          </a:prstGeom>
        </p:spPr>
        <p:txBody>
          <a:bodyPr anchor="ctr"/>
          <a:lstStyle>
            <a:lvl1pPr marL="342900" indent="-342900" algn="l" defTabSz="914400" rtl="0" eaLnBrk="1" latinLnBrk="1"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altLang="ko-KR" sz="2800" b="1">
                <a:solidFill>
                  <a:schemeClr val="bg1"/>
                </a:solidFill>
                <a:cs typeface="Arial" panose="020b0604020202020204" pitchFamily="34" charset="0"/>
              </a:rPr>
              <a:t>01</a:t>
            </a:r>
          </a:p>
        </p:txBody>
      </p:sp>
      <p:sp>
        <p:nvSpPr>
          <p:cNvPr id="14" name="Text Placeholder 22">
            <a:extLst>
              <a:ext uri="{FF2B5EF4-FFF2-40B4-BE49-F238E27FC236}">
                <a16:creationId xmlns:a16="http://schemas.microsoft.com/office/drawing/2014/main" id="{A753847C-800D-BCA2-9D22-D31E930C1F59}"/>
              </a:ext>
            </a:extLst>
          </p:cNvPr>
          <p:cNvSpPr txBox="1"/>
          <p:nvPr/>
        </p:nvSpPr>
        <p:spPr>
          <a:xfrm>
            <a:off x="8064589" y="3866337"/>
            <a:ext cx="905786" cy="485535"/>
          </a:xfrm>
          <a:prstGeom prst="rect">
            <a:avLst/>
          </a:prstGeom>
        </p:spPr>
        <p:txBody>
          <a:bodyPr anchor="ctr"/>
          <a:lstStyle>
            <a:lvl1pPr marL="342900" indent="-342900" algn="l" defTabSz="914400" rtl="0" eaLnBrk="1" latinLnBrk="1"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altLang="ko-KR" sz="2800" b="1">
                <a:solidFill>
                  <a:schemeClr val="bg1"/>
                </a:solidFill>
                <a:cs typeface="Arial" panose="020b0604020202020204" pitchFamily="34" charset="0"/>
              </a:rPr>
              <a:t>02</a:t>
            </a:r>
          </a:p>
        </p:txBody>
      </p:sp>
      <p:sp>
        <p:nvSpPr>
          <p:cNvPr id="15" name="Text Placeholder 22">
            <a:extLst>
              <a:ext uri="{FF2B5EF4-FFF2-40B4-BE49-F238E27FC236}">
                <a16:creationId xmlns:a16="http://schemas.microsoft.com/office/drawing/2014/main" id="{25E21737-1D01-70DF-957C-DEE6650AFC6D}"/>
              </a:ext>
            </a:extLst>
          </p:cNvPr>
          <p:cNvSpPr txBox="1"/>
          <p:nvPr/>
        </p:nvSpPr>
        <p:spPr>
          <a:xfrm>
            <a:off x="9959644" y="3866337"/>
            <a:ext cx="905786" cy="485535"/>
          </a:xfrm>
          <a:prstGeom prst="rect">
            <a:avLst/>
          </a:prstGeom>
        </p:spPr>
        <p:txBody>
          <a:bodyPr anchor="ctr"/>
          <a:lstStyle>
            <a:lvl1pPr marL="342900" indent="-342900" algn="l" defTabSz="914400" rtl="0" eaLnBrk="1" latinLnBrk="1"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altLang="ko-KR" sz="2800" b="1">
                <a:solidFill>
                  <a:schemeClr val="bg1"/>
                </a:solidFill>
                <a:cs typeface="Arial" panose="020b0604020202020204" pitchFamily="34" charset="0"/>
              </a:rPr>
              <a:t>03</a:t>
            </a:r>
          </a:p>
        </p:txBody>
      </p:sp>
      <p:grpSp>
        <p:nvGrpSpPr>
          <p:cNvPr id="16" name="Group 24">
            <a:extLst>
              <a:ext uri="{FF2B5EF4-FFF2-40B4-BE49-F238E27FC236}">
                <a16:creationId xmlns:a16="http://schemas.microsoft.com/office/drawing/2014/main" id="{5C7CF6AF-3DE8-8799-ECD0-DEAD968E55CA}"/>
              </a:ext>
            </a:extLst>
          </p:cNvPr>
          <p:cNvGrpSpPr/>
          <p:nvPr/>
        </p:nvGrpSpPr>
        <p:grpSpPr>
          <a:xfrm>
            <a:off x="5913285" y="4440162"/>
            <a:ext cx="1418285" cy="738664"/>
            <a:chOff x="2551705" y="4283314"/>
            <a:chExt cx="2357003" cy="738664"/>
          </a:xfrm>
        </p:grpSpPr>
        <p:sp>
          <p:nvSpPr>
            <p:cNvPr id="17" name="TextBox 42">
              <a:extLst>
                <a:ext uri="{FF2B5EF4-FFF2-40B4-BE49-F238E27FC236}">
                  <a16:creationId xmlns:a16="http://schemas.microsoft.com/office/drawing/2014/main" id="{73DABFBD-3BDE-7D18-D42C-3DA4B268B731}"/>
                </a:ext>
              </a:extLst>
            </p:cNvPr>
            <p:cNvSpPr txBox="1"/>
            <p:nvPr/>
          </p:nvSpPr>
          <p:spPr>
            <a:xfrm>
              <a:off x="2551707" y="4560313"/>
              <a:ext cx="2357001" cy="461665"/>
            </a:xfrm>
            <a:prstGeom prst="rect">
              <a:avLst/>
            </a:prstGeom>
            <a:noFill/>
          </p:spPr>
          <p:txBody>
            <a:bodyPr wrap="square" rtlCol="0">
              <a:spAutoFit/>
            </a:bodyPr>
            <a:lstStyle/>
            <a:p>
              <a:pPr algn="ctr"/>
              <a:r>
                <a:rPr lang="en-US" altLang="ko-KR" sz="1200">
                  <a:solidFill>
                    <a:schemeClr val="bg1"/>
                  </a:solidFill>
                  <a:cs typeface="Arial" panose="020b0604020202020204" pitchFamily="34" charset="0"/>
                </a:rPr>
                <a:t>Easy to change colors.</a:t>
              </a:r>
            </a:p>
          </p:txBody>
        </p:sp>
        <p:sp>
          <p:nvSpPr>
            <p:cNvPr id="18" name="TextBox 43">
              <a:extLst>
                <a:ext uri="{FF2B5EF4-FFF2-40B4-BE49-F238E27FC236}">
                  <a16:creationId xmlns:a16="http://schemas.microsoft.com/office/drawing/2014/main" id="{EBB75198-C4C1-C58A-DA38-0688EFADA4AD}"/>
                </a:ext>
              </a:extLst>
            </p:cNvPr>
            <p:cNvSpPr txBox="1"/>
            <p:nvPr/>
          </p:nvSpPr>
          <p:spPr>
            <a:xfrm>
              <a:off x="2551705" y="4283314"/>
              <a:ext cx="2336966" cy="276999"/>
            </a:xfrm>
            <a:prstGeom prst="rect">
              <a:avLst/>
            </a:prstGeom>
            <a:noFill/>
          </p:spPr>
          <p:txBody>
            <a:bodyPr wrap="square" rtlCol="0">
              <a:spAutoFit/>
            </a:bodyPr>
            <a:lstStyle/>
            <a:p>
              <a:pPr algn="ctr"/>
              <a:r>
                <a:rPr lang="en-US" altLang="ko-KR" sz="1200" b="1">
                  <a:solidFill>
                    <a:schemeClr val="bg1"/>
                  </a:solidFill>
                  <a:cs typeface="Arial" panose="020b0604020202020204" pitchFamily="34" charset="0"/>
                </a:rPr>
                <a:t>Text Here</a:t>
              </a:r>
              <a:endParaRPr lang="ko-KR" altLang="en-US" sz="1200" b="1">
                <a:solidFill>
                  <a:schemeClr val="bg1"/>
                </a:solidFill>
                <a:cs typeface="Arial" panose="020b0604020202020204" pitchFamily="34" charset="0"/>
              </a:endParaRPr>
            </a:p>
          </p:txBody>
        </p:sp>
      </p:grpSp>
      <p:grpSp>
        <p:nvGrpSpPr>
          <p:cNvPr id="19" name="Group 24">
            <a:extLst>
              <a:ext uri="{FF2B5EF4-FFF2-40B4-BE49-F238E27FC236}">
                <a16:creationId xmlns:a16="http://schemas.microsoft.com/office/drawing/2014/main" id="{795A68FD-BE38-377E-4240-62BCD558E38A}"/>
              </a:ext>
            </a:extLst>
          </p:cNvPr>
          <p:cNvGrpSpPr/>
          <p:nvPr/>
        </p:nvGrpSpPr>
        <p:grpSpPr>
          <a:xfrm>
            <a:off x="7808340" y="4440162"/>
            <a:ext cx="1418285" cy="738664"/>
            <a:chOff x="2551705" y="4283314"/>
            <a:chExt cx="2357003" cy="738664"/>
          </a:xfrm>
        </p:grpSpPr>
        <p:sp>
          <p:nvSpPr>
            <p:cNvPr id="20" name="TextBox 45">
              <a:extLst>
                <a:ext uri="{FF2B5EF4-FFF2-40B4-BE49-F238E27FC236}">
                  <a16:creationId xmlns:a16="http://schemas.microsoft.com/office/drawing/2014/main" id="{22C7F64A-1B4E-E591-7212-CF5859B731A7}"/>
                </a:ext>
              </a:extLst>
            </p:cNvPr>
            <p:cNvSpPr txBox="1"/>
            <p:nvPr/>
          </p:nvSpPr>
          <p:spPr>
            <a:xfrm>
              <a:off x="2551707" y="4560313"/>
              <a:ext cx="2357001" cy="461665"/>
            </a:xfrm>
            <a:prstGeom prst="rect">
              <a:avLst/>
            </a:prstGeom>
            <a:noFill/>
          </p:spPr>
          <p:txBody>
            <a:bodyPr wrap="square" rtlCol="0">
              <a:spAutoFit/>
            </a:bodyPr>
            <a:lstStyle/>
            <a:p>
              <a:pPr algn="ctr"/>
              <a:r>
                <a:rPr lang="en-US" altLang="ko-KR" sz="1200">
                  <a:solidFill>
                    <a:schemeClr val="bg1"/>
                  </a:solidFill>
                  <a:cs typeface="Arial" panose="020b0604020202020204" pitchFamily="34" charset="0"/>
                </a:rPr>
                <a:t>Easy to change colors.</a:t>
              </a:r>
            </a:p>
          </p:txBody>
        </p:sp>
        <p:sp>
          <p:nvSpPr>
            <p:cNvPr id="21" name="TextBox 46">
              <a:extLst>
                <a:ext uri="{FF2B5EF4-FFF2-40B4-BE49-F238E27FC236}">
                  <a16:creationId xmlns:a16="http://schemas.microsoft.com/office/drawing/2014/main" id="{FD6D139D-2D4B-61D8-553A-FC102CEF7AD8}"/>
                </a:ext>
              </a:extLst>
            </p:cNvPr>
            <p:cNvSpPr txBox="1"/>
            <p:nvPr/>
          </p:nvSpPr>
          <p:spPr>
            <a:xfrm>
              <a:off x="2551705" y="4283314"/>
              <a:ext cx="2336966" cy="276999"/>
            </a:xfrm>
            <a:prstGeom prst="rect">
              <a:avLst/>
            </a:prstGeom>
            <a:noFill/>
          </p:spPr>
          <p:txBody>
            <a:bodyPr wrap="square" rtlCol="0">
              <a:spAutoFit/>
            </a:bodyPr>
            <a:lstStyle/>
            <a:p>
              <a:pPr algn="ctr"/>
              <a:r>
                <a:rPr lang="en-US" altLang="ko-KR" sz="1200" b="1">
                  <a:solidFill>
                    <a:schemeClr val="bg1"/>
                  </a:solidFill>
                  <a:cs typeface="Arial" panose="020b0604020202020204" pitchFamily="34" charset="0"/>
                </a:rPr>
                <a:t>Text Here</a:t>
              </a:r>
              <a:endParaRPr lang="ko-KR" altLang="en-US" sz="1200" b="1">
                <a:solidFill>
                  <a:schemeClr val="bg1"/>
                </a:solidFill>
                <a:cs typeface="Arial" panose="020b0604020202020204" pitchFamily="34" charset="0"/>
              </a:endParaRPr>
            </a:p>
          </p:txBody>
        </p:sp>
      </p:grpSp>
      <p:grpSp>
        <p:nvGrpSpPr>
          <p:cNvPr id="22" name="Group 24">
            <a:extLst>
              <a:ext uri="{FF2B5EF4-FFF2-40B4-BE49-F238E27FC236}">
                <a16:creationId xmlns:a16="http://schemas.microsoft.com/office/drawing/2014/main" id="{2807289D-1617-155C-E587-02EEB85F64C6}"/>
              </a:ext>
            </a:extLst>
          </p:cNvPr>
          <p:cNvGrpSpPr/>
          <p:nvPr/>
        </p:nvGrpSpPr>
        <p:grpSpPr>
          <a:xfrm>
            <a:off x="9703395" y="4440162"/>
            <a:ext cx="1418285" cy="738664"/>
            <a:chOff x="2551705" y="4283314"/>
            <a:chExt cx="2357003" cy="738664"/>
          </a:xfrm>
        </p:grpSpPr>
        <p:sp>
          <p:nvSpPr>
            <p:cNvPr id="23" name="TextBox 48">
              <a:extLst>
                <a:ext uri="{FF2B5EF4-FFF2-40B4-BE49-F238E27FC236}">
                  <a16:creationId xmlns:a16="http://schemas.microsoft.com/office/drawing/2014/main" id="{A37B70D6-20A4-6979-5280-FC4F46602B7B}"/>
                </a:ext>
              </a:extLst>
            </p:cNvPr>
            <p:cNvSpPr txBox="1"/>
            <p:nvPr/>
          </p:nvSpPr>
          <p:spPr>
            <a:xfrm>
              <a:off x="2551707" y="4560313"/>
              <a:ext cx="2357001" cy="461665"/>
            </a:xfrm>
            <a:prstGeom prst="rect">
              <a:avLst/>
            </a:prstGeom>
            <a:noFill/>
          </p:spPr>
          <p:txBody>
            <a:bodyPr wrap="square" rtlCol="0">
              <a:spAutoFit/>
            </a:bodyPr>
            <a:lstStyle/>
            <a:p>
              <a:pPr algn="ctr"/>
              <a:r>
                <a:rPr lang="en-US" altLang="ko-KR" sz="1200">
                  <a:solidFill>
                    <a:schemeClr val="bg1"/>
                  </a:solidFill>
                  <a:cs typeface="Arial" panose="020b0604020202020204" pitchFamily="34" charset="0"/>
                </a:rPr>
                <a:t>Easy to change colors.</a:t>
              </a:r>
            </a:p>
          </p:txBody>
        </p:sp>
        <p:sp>
          <p:nvSpPr>
            <p:cNvPr id="24" name="TextBox 49">
              <a:extLst>
                <a:ext uri="{FF2B5EF4-FFF2-40B4-BE49-F238E27FC236}">
                  <a16:creationId xmlns:a16="http://schemas.microsoft.com/office/drawing/2014/main" id="{3F2097A3-3E4F-8E6C-6CC4-24501A90355C}"/>
                </a:ext>
              </a:extLst>
            </p:cNvPr>
            <p:cNvSpPr txBox="1"/>
            <p:nvPr/>
          </p:nvSpPr>
          <p:spPr>
            <a:xfrm>
              <a:off x="2551705" y="4283314"/>
              <a:ext cx="2336966" cy="276999"/>
            </a:xfrm>
            <a:prstGeom prst="rect">
              <a:avLst/>
            </a:prstGeom>
            <a:noFill/>
          </p:spPr>
          <p:txBody>
            <a:bodyPr wrap="square" rtlCol="0">
              <a:spAutoFit/>
            </a:bodyPr>
            <a:lstStyle/>
            <a:p>
              <a:pPr algn="ctr"/>
              <a:r>
                <a:rPr lang="en-US" altLang="ko-KR" sz="1200" b="1">
                  <a:solidFill>
                    <a:schemeClr val="bg1"/>
                  </a:solidFill>
                  <a:cs typeface="Arial" panose="020b0604020202020204" pitchFamily="34" charset="0"/>
                </a:rPr>
                <a:t>Text Here</a:t>
              </a:r>
              <a:endParaRPr lang="ko-KR" altLang="en-US" sz="1200" b="1">
                <a:solidFill>
                  <a:schemeClr val="bg1"/>
                </a:solidFill>
                <a:cs typeface="Arial" panose="020b0604020202020204" pitchFamily="34" charset="0"/>
              </a:endParaRPr>
            </a:p>
          </p:txBody>
        </p:sp>
      </p:grpSp>
      <p:sp>
        <p:nvSpPr>
          <p:cNvPr id="25" name="TextBox 50">
            <a:extLst>
              <a:ext uri="{FF2B5EF4-FFF2-40B4-BE49-F238E27FC236}">
                <a16:creationId xmlns:a16="http://schemas.microsoft.com/office/drawing/2014/main" id="{F1CAE266-E175-71BD-7694-5B79EA70245E}"/>
              </a:ext>
            </a:extLst>
          </p:cNvPr>
          <p:cNvSpPr txBox="1"/>
          <p:nvPr/>
        </p:nvSpPr>
        <p:spPr>
          <a:xfrm>
            <a:off x="8096648" y="5582284"/>
            <a:ext cx="3118098" cy="369332"/>
          </a:xfrm>
          <a:prstGeom prst="rect">
            <a:avLst/>
          </a:prstGeom>
          <a:noFill/>
        </p:spPr>
        <p:txBody>
          <a:bodyPr wrap="square" lIns="36000" tIns="0" rIns="36000" bIns="0" rtlCol="0" anchor="ctr">
            <a:spAutoFit/>
          </a:bodyPr>
          <a:lstStyle/>
          <a:p>
            <a:pPr algn="r"/>
            <a:r>
              <a:rPr lang="en-US" sz="2400">
                <a:solidFill>
                  <a:schemeClr val="tx1">
                    <a:lumMod val="75000"/>
                    <a:lumOff val="25000"/>
                  </a:schemeClr>
                </a:solidFill>
              </a:rPr>
              <a:t>Modern Presentation</a:t>
            </a:r>
          </a:p>
        </p:txBody>
      </p:sp>
      <p:sp>
        <p:nvSpPr>
          <p:cNvPr id="26" name="TextBox 51">
            <a:extLst>
              <a:ext uri="{FF2B5EF4-FFF2-40B4-BE49-F238E27FC236}">
                <a16:creationId xmlns:a16="http://schemas.microsoft.com/office/drawing/2014/main" id="{6F1A1D06-CDA1-6D0F-BFC2-5A79DEB3871C}"/>
              </a:ext>
            </a:extLst>
          </p:cNvPr>
          <p:cNvSpPr txBox="1"/>
          <p:nvPr/>
        </p:nvSpPr>
        <p:spPr>
          <a:xfrm>
            <a:off x="9162746" y="6107660"/>
            <a:ext cx="2052000" cy="307777"/>
          </a:xfrm>
          <a:prstGeom prst="rect">
            <a:avLst/>
          </a:prstGeom>
          <a:solidFill>
            <a:srgbClr val="00ABF7"/>
          </a:solidFill>
        </p:spPr>
        <p:txBody>
          <a:bodyPr wrap="square" rtlCol="0">
            <a:spAutoFit/>
          </a:bodyPr>
          <a:lstStyle/>
          <a:p>
            <a:pPr algn="ctr"/>
            <a:r>
              <a:rPr lang="en-US" altLang="ko-KR" sz="1400" b="1" i="1">
                <a:solidFill>
                  <a:schemeClr val="bg1"/>
                </a:solidFill>
                <a:latin typeface="Arial" panose="020b0604020202020204" pitchFamily="34" charset="0"/>
                <a:cs typeface="Arial" panose="020b0604020202020204" pitchFamily="34" charset="0"/>
              </a:rPr>
              <a:t>Portfolio Presentation</a:t>
            </a:r>
            <a:endParaRPr lang="ko-KR" altLang="en-US" sz="1400" b="1" i="1">
              <a:solidFill>
                <a:schemeClr val="bg1"/>
              </a:solidFill>
              <a:latin typeface="Arial" panose="020b0604020202020204" pitchFamily="34" charset="0"/>
              <a:cs typeface="Arial" panose="020b0604020202020204" pitchFamily="34" charset="0"/>
            </a:endParaRPr>
          </a:p>
        </p:txBody>
      </p:sp>
      <p:pic>
        <p:nvPicPr>
          <p:cNvPr id="28" name="Imagen 27">
            <a:extLst>
              <a:ext uri="{FF2B5EF4-FFF2-40B4-BE49-F238E27FC236}">
                <a16:creationId xmlns:a16="http://schemas.microsoft.com/office/drawing/2014/main" id="{6D3BBBE1-B829-A2E3-3337-C23A1A0C555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84" y="1073679"/>
            <a:ext cx="5851272" cy="5793339"/>
          </a:xfrm>
          <a:prstGeom prst="rect">
            <a:avLst/>
          </a:prstGeom>
        </p:spPr>
      </p:pic>
    </p:spTree>
    <p:extLst>
      <p:ext uri="{BB962C8B-B14F-4D97-AF65-F5344CB8AC3E}">
        <p14:creationId xmlns:p14="http://schemas.microsoft.com/office/powerpoint/2010/main" val="3477903127"/>
      </p:ext>
    </p:extLst>
  </p:cSld>
  <p:clrMapOvr>
    <a:masterClrMapping/>
  </p:clrMapOvr>
  <p:transition/>
  <p:timing/>
</p:sld>
</file>

<file path=ppt/slides/slide13.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grpSp>
        <p:nvGrpSpPr>
          <p:cNvPr id="2" name="Group 2">
            <a:extLst>
              <a:ext uri="{FF2B5EF4-FFF2-40B4-BE49-F238E27FC236}">
                <a16:creationId xmlns:a16="http://schemas.microsoft.com/office/drawing/2014/main" id="{330C4392-4D87-8723-EC9F-1CCFEFC6070C}"/>
              </a:ext>
            </a:extLst>
          </p:cNvPr>
          <p:cNvGrpSpPr/>
          <p:nvPr/>
        </p:nvGrpSpPr>
        <p:grpSpPr>
          <a:xfrm>
            <a:off x="7422206" y="259509"/>
            <a:ext cx="3835170" cy="6598491"/>
            <a:chOff x="5432494" y="626785"/>
            <a:chExt cx="3241222" cy="5576590"/>
          </a:xfrm>
        </p:grpSpPr>
        <p:sp>
          <p:nvSpPr>
            <p:cNvPr id="3" name="Block Arc 3">
              <a:extLst>
                <a:ext uri="{FF2B5EF4-FFF2-40B4-BE49-F238E27FC236}">
                  <a16:creationId xmlns:a16="http://schemas.microsoft.com/office/drawing/2014/main" id="{F05FDDB6-1438-570E-663B-B2366597301A}"/>
                </a:ext>
              </a:extLst>
            </p:cNvPr>
            <p:cNvSpPr/>
            <p:nvPr/>
          </p:nvSpPr>
          <p:spPr>
            <a:xfrm rot="5400000">
              <a:off x="5432494" y="2432627"/>
              <a:ext cx="3002400" cy="3002400"/>
            </a:xfrm>
            <a:prstGeom prst="blockArc">
              <a:avLst>
                <a:gd name="adj1" fmla="val 10735117"/>
                <a:gd name="adj2" fmla="val 16074287"/>
                <a:gd name="adj3" fmla="val 25807"/>
              </a:avLst>
            </a:prstGeom>
            <a:solidFill>
              <a:srgbClr val="0067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sp>
          <p:nvSpPr>
            <p:cNvPr id="4" name="Rectangle 4">
              <a:extLst>
                <a:ext uri="{FF2B5EF4-FFF2-40B4-BE49-F238E27FC236}">
                  <a16:creationId xmlns:a16="http://schemas.microsoft.com/office/drawing/2014/main" id="{37F9662D-E55F-1EC5-4C4A-AF56FFCA151D}"/>
                </a:ext>
              </a:extLst>
            </p:cNvPr>
            <p:cNvSpPr/>
            <p:nvPr/>
          </p:nvSpPr>
          <p:spPr>
            <a:xfrm>
              <a:off x="7660182" y="3855008"/>
              <a:ext cx="781200" cy="2348367"/>
            </a:xfrm>
            <a:prstGeom prst="rect">
              <a:avLst/>
            </a:prstGeom>
            <a:solidFill>
              <a:srgbClr val="00677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sp>
          <p:nvSpPr>
            <p:cNvPr id="5" name="Block Arc 3">
              <a:extLst>
                <a:ext uri="{FF2B5EF4-FFF2-40B4-BE49-F238E27FC236}">
                  <a16:creationId xmlns:a16="http://schemas.microsoft.com/office/drawing/2014/main" id="{E5F76729-2683-7309-0C56-E7924BA2538E}"/>
                </a:ext>
              </a:extLst>
            </p:cNvPr>
            <p:cNvSpPr/>
            <p:nvPr/>
          </p:nvSpPr>
          <p:spPr>
            <a:xfrm rot="10800000">
              <a:off x="6568167" y="626785"/>
              <a:ext cx="2105549" cy="4800940"/>
            </a:xfrm>
            <a:custGeom>
              <a:rect l="l" t="t" r="r" b="b"/>
              <a:pathLst>
                <a:path w="2105549" h="4800940">
                  <a:moveTo>
                    <a:pt x="1010388" y="1501213"/>
                  </a:moveTo>
                  <a:lnTo>
                    <a:pt x="232767" y="1501213"/>
                  </a:lnTo>
                  <a:cubicBezTo>
                    <a:pt x="232767" y="1037585"/>
                    <a:pt x="446990" y="599968"/>
                    <a:pt x="813157" y="315587"/>
                  </a:cubicBezTo>
                  <a:cubicBezTo>
                    <a:pt x="1179324" y="31205"/>
                    <a:pt x="1656348" y="-68031"/>
                    <a:pt x="2105549" y="46728"/>
                  </a:cubicBezTo>
                  <a:lnTo>
                    <a:pt x="1913069" y="800151"/>
                  </a:lnTo>
                  <a:cubicBezTo>
                    <a:pt x="1696554" y="744837"/>
                    <a:pt x="1466629" y="792669"/>
                    <a:pt x="1290136" y="929741"/>
                  </a:cubicBezTo>
                  <a:cubicBezTo>
                    <a:pt x="1113644" y="1066813"/>
                    <a:pt x="1010388" y="1277744"/>
                    <a:pt x="1010388" y="1501213"/>
                  </a:cubicBezTo>
                  <a:close/>
                  <a:moveTo>
                    <a:pt x="1013533" y="3726917"/>
                  </a:moveTo>
                  <a:lnTo>
                    <a:pt x="232333" y="3726917"/>
                  </a:lnTo>
                  <a:lnTo>
                    <a:pt x="232333" y="1501328"/>
                  </a:lnTo>
                  <a:lnTo>
                    <a:pt x="1013533" y="1501328"/>
                  </a:lnTo>
                  <a:close/>
                  <a:moveTo>
                    <a:pt x="622933" y="4800940"/>
                  </a:moveTo>
                  <a:lnTo>
                    <a:pt x="0" y="3726918"/>
                  </a:lnTo>
                  <a:lnTo>
                    <a:pt x="1245866" y="3726918"/>
                  </a:lnTo>
                  <a:close/>
                </a:path>
              </a:pathLst>
            </a:custGeom>
            <a:gradFill>
              <a:gsLst>
                <a:gs pos="0">
                  <a:srgbClr val="00ABF7"/>
                </a:gs>
                <a:gs pos="100000">
                  <a:srgbClr val="02BAC8"/>
                </a:gs>
              </a:gsLst>
              <a:lin ang="54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sp>
          <p:nvSpPr>
            <p:cNvPr id="6" name="Block Arc 6">
              <a:extLst>
                <a:ext uri="{FF2B5EF4-FFF2-40B4-BE49-F238E27FC236}">
                  <a16:creationId xmlns:a16="http://schemas.microsoft.com/office/drawing/2014/main" id="{13D71F82-9367-253E-E595-D4588C339980}"/>
                </a:ext>
              </a:extLst>
            </p:cNvPr>
            <p:cNvSpPr/>
            <p:nvPr/>
          </p:nvSpPr>
          <p:spPr>
            <a:xfrm rot="17100000">
              <a:off x="5432494" y="2432625"/>
              <a:ext cx="3002400" cy="3002400"/>
            </a:xfrm>
            <a:prstGeom prst="blockArc">
              <a:avLst>
                <a:gd name="adj1" fmla="val 10815410"/>
                <a:gd name="adj2" fmla="val 13831376"/>
                <a:gd name="adj3" fmla="val 26044"/>
              </a:avLst>
            </a:prstGeom>
            <a:solidFill>
              <a:srgbClr val="00677F"/>
            </a:solidFill>
            <a:ln>
              <a:noFill/>
            </a:ln>
          </p:spPr>
          <p:txBody>
            <a:bodyPr vert="horz" wrap="square" lIns="91440" tIns="45720" rIns="91440" bIns="45720" numCol="1" anchor="t" anchorCtr="0" compatLnSpc="1">
              <a:prstTxWarp prst="textNoShape">
                <a:avLst/>
              </a:prstTxWarp>
            </a:bodyPr>
            <a:lstStyle/>
            <a:p>
              <a:endParaRPr lang="ko-KR" altLang="en-US" sz="2700"/>
            </a:p>
          </p:txBody>
        </p:sp>
        <p:sp>
          <p:nvSpPr>
            <p:cNvPr id="7" name="Block Arc 7">
              <a:extLst>
                <a:ext uri="{FF2B5EF4-FFF2-40B4-BE49-F238E27FC236}">
                  <a16:creationId xmlns:a16="http://schemas.microsoft.com/office/drawing/2014/main" id="{EF936CAA-745D-F8AF-1859-1D794E06DA4B}"/>
                </a:ext>
              </a:extLst>
            </p:cNvPr>
            <p:cNvSpPr/>
            <p:nvPr/>
          </p:nvSpPr>
          <p:spPr>
            <a:xfrm rot="20219398">
              <a:off x="5432494" y="2432625"/>
              <a:ext cx="3002400" cy="3002400"/>
            </a:xfrm>
            <a:prstGeom prst="blockArc">
              <a:avLst>
                <a:gd name="adj1" fmla="val 10804147"/>
                <a:gd name="adj2" fmla="val 14189823"/>
                <a:gd name="adj3" fmla="val 26226"/>
              </a:avLst>
            </a:prstGeom>
            <a:solidFill>
              <a:srgbClr val="00ABF7"/>
            </a:solidFill>
            <a:ln>
              <a:noFill/>
            </a:ln>
          </p:spPr>
          <p:txBody>
            <a:bodyPr vert="horz" wrap="square" lIns="91440" tIns="45720" rIns="91440" bIns="45720" numCol="1" anchor="t" anchorCtr="0" compatLnSpc="1">
              <a:prstTxWarp prst="textNoShape">
                <a:avLst/>
              </a:prstTxWarp>
            </a:bodyPr>
            <a:lstStyle/>
            <a:p>
              <a:endParaRPr lang="ko-KR" altLang="en-US" sz="2700"/>
            </a:p>
          </p:txBody>
        </p:sp>
        <p:sp>
          <p:nvSpPr>
            <p:cNvPr id="8" name="Block Arc 8">
              <a:extLst>
                <a:ext uri="{FF2B5EF4-FFF2-40B4-BE49-F238E27FC236}">
                  <a16:creationId xmlns:a16="http://schemas.microsoft.com/office/drawing/2014/main" id="{DE1A5747-13D0-D012-C9DF-35495E15122D}"/>
                </a:ext>
              </a:extLst>
            </p:cNvPr>
            <p:cNvSpPr/>
            <p:nvPr/>
          </p:nvSpPr>
          <p:spPr>
            <a:xfrm rot="2161546">
              <a:off x="5434375" y="2432626"/>
              <a:ext cx="3002400" cy="3002400"/>
            </a:xfrm>
            <a:prstGeom prst="blockArc">
              <a:avLst>
                <a:gd name="adj1" fmla="val 10735117"/>
                <a:gd name="adj2" fmla="val 13869755"/>
                <a:gd name="adj3" fmla="val 25921"/>
              </a:avLst>
            </a:prstGeom>
            <a:solidFill>
              <a:srgbClr val="06DBE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grpSp>
      <p:grpSp>
        <p:nvGrpSpPr>
          <p:cNvPr id="9" name="Group 9">
            <a:extLst>
              <a:ext uri="{FF2B5EF4-FFF2-40B4-BE49-F238E27FC236}">
                <a16:creationId xmlns:a16="http://schemas.microsoft.com/office/drawing/2014/main" id="{A64AD521-8C84-6522-B222-2A48A80D60B2}"/>
              </a:ext>
            </a:extLst>
          </p:cNvPr>
          <p:cNvGrpSpPr/>
          <p:nvPr/>
        </p:nvGrpSpPr>
        <p:grpSpPr>
          <a:xfrm>
            <a:off x="5275934" y="1991178"/>
            <a:ext cx="2491387" cy="923330"/>
            <a:chOff x="3021856" y="4283314"/>
            <a:chExt cx="1886852" cy="923330"/>
          </a:xfrm>
        </p:grpSpPr>
        <p:sp>
          <p:nvSpPr>
            <p:cNvPr id="10" name="TextBox 10">
              <a:extLst>
                <a:ext uri="{FF2B5EF4-FFF2-40B4-BE49-F238E27FC236}">
                  <a16:creationId xmlns:a16="http://schemas.microsoft.com/office/drawing/2014/main" id="{E57C5532-57DD-4B53-48A3-927CC7931BDB}"/>
                </a:ext>
              </a:extLst>
            </p:cNvPr>
            <p:cNvSpPr txBox="1"/>
            <p:nvPr/>
          </p:nvSpPr>
          <p:spPr>
            <a:xfrm>
              <a:off x="3021856" y="4560313"/>
              <a:ext cx="1886852" cy="646331"/>
            </a:xfrm>
            <a:prstGeom prst="rect">
              <a:avLst/>
            </a:prstGeom>
            <a:noFill/>
          </p:spPr>
          <p:txBody>
            <a:bodyPr wrap="square" rtlCol="0">
              <a:spAutoFit/>
            </a:bodyPr>
            <a:lstStyle/>
            <a:p>
              <a:pPr algn="r"/>
              <a:r>
                <a:rPr lang="en-US" altLang="ko-KR" sz="1200">
                  <a:solidFill>
                    <a:schemeClr val="tx1">
                      <a:lumMod val="85000"/>
                      <a:lumOff val="15000"/>
                    </a:schemeClr>
                  </a:solidFill>
                  <a:cs typeface="Arial" panose="020b0604020202020204" pitchFamily="34" charset="0"/>
                </a:rPr>
                <a:t>You can simply impress your audience and add a unique zing and appeal to your Presentations.</a:t>
              </a:r>
              <a:endParaRPr lang="ko-KR" altLang="en-US" sz="1200">
                <a:solidFill>
                  <a:schemeClr val="tx1">
                    <a:lumMod val="85000"/>
                    <a:lumOff val="15000"/>
                  </a:schemeClr>
                </a:solidFill>
                <a:cs typeface="Arial" panose="020b0604020202020204" pitchFamily="34" charset="0"/>
              </a:endParaRPr>
            </a:p>
          </p:txBody>
        </p:sp>
        <p:sp>
          <p:nvSpPr>
            <p:cNvPr id="11" name="TextBox 11">
              <a:extLst>
                <a:ext uri="{FF2B5EF4-FFF2-40B4-BE49-F238E27FC236}">
                  <a16:creationId xmlns:a16="http://schemas.microsoft.com/office/drawing/2014/main" id="{29E1CB4F-3845-B9AB-AE95-51BD44F94317}"/>
                </a:ext>
              </a:extLst>
            </p:cNvPr>
            <p:cNvSpPr txBox="1"/>
            <p:nvPr/>
          </p:nvSpPr>
          <p:spPr>
            <a:xfrm>
              <a:off x="3037896" y="4283314"/>
              <a:ext cx="1870812" cy="307777"/>
            </a:xfrm>
            <a:prstGeom prst="rect">
              <a:avLst/>
            </a:prstGeom>
            <a:noFill/>
          </p:spPr>
          <p:txBody>
            <a:bodyPr wrap="square" rtlCol="0">
              <a:spAutoFit/>
            </a:bodyPr>
            <a:lstStyle/>
            <a:p>
              <a:pPr algn="r"/>
              <a:r>
                <a:rPr lang="en-US" altLang="ko-KR" sz="1400" b="1">
                  <a:solidFill>
                    <a:schemeClr val="tx1">
                      <a:lumMod val="85000"/>
                      <a:lumOff val="15000"/>
                    </a:schemeClr>
                  </a:solidFill>
                  <a:cs typeface="Arial" panose="020b0604020202020204" pitchFamily="34" charset="0"/>
                </a:rPr>
                <a:t>Your Text Here</a:t>
              </a:r>
              <a:endParaRPr lang="ko-KR" altLang="en-US" sz="1400" b="1">
                <a:solidFill>
                  <a:schemeClr val="tx1">
                    <a:lumMod val="85000"/>
                    <a:lumOff val="15000"/>
                  </a:schemeClr>
                </a:solidFill>
                <a:cs typeface="Arial" panose="020b0604020202020204" pitchFamily="34" charset="0"/>
              </a:endParaRPr>
            </a:p>
          </p:txBody>
        </p:sp>
      </p:grpSp>
      <p:grpSp>
        <p:nvGrpSpPr>
          <p:cNvPr id="12" name="Group 12">
            <a:extLst>
              <a:ext uri="{FF2B5EF4-FFF2-40B4-BE49-F238E27FC236}">
                <a16:creationId xmlns:a16="http://schemas.microsoft.com/office/drawing/2014/main" id="{7367AC10-EBDB-F437-7355-75B1FE07D130}"/>
              </a:ext>
            </a:extLst>
          </p:cNvPr>
          <p:cNvGrpSpPr/>
          <p:nvPr/>
        </p:nvGrpSpPr>
        <p:grpSpPr>
          <a:xfrm>
            <a:off x="4488640" y="3111811"/>
            <a:ext cx="2768717" cy="992088"/>
            <a:chOff x="3352435" y="4283314"/>
            <a:chExt cx="1556273" cy="992088"/>
          </a:xfrm>
          <a:solidFill>
            <a:srgbClr val="E90031">
              <a:alpha val="36000"/>
            </a:srgbClr>
          </a:solidFill>
        </p:grpSpPr>
        <p:sp>
          <p:nvSpPr>
            <p:cNvPr id="13" name="TextBox 13">
              <a:extLst>
                <a:ext uri="{FF2B5EF4-FFF2-40B4-BE49-F238E27FC236}">
                  <a16:creationId xmlns:a16="http://schemas.microsoft.com/office/drawing/2014/main" id="{CB7AE914-13B2-1CAA-4A42-C728A0620D7D}"/>
                </a:ext>
              </a:extLst>
            </p:cNvPr>
            <p:cNvSpPr txBox="1"/>
            <p:nvPr/>
          </p:nvSpPr>
          <p:spPr>
            <a:xfrm>
              <a:off x="3352435" y="4560313"/>
              <a:ext cx="1556273" cy="715089"/>
            </a:xfrm>
            <a:prstGeom prst="roundRect">
              <a:avLst/>
            </a:prstGeom>
            <a:solidFill>
              <a:srgbClr val="00ABF7">
                <a:alpha val="60000"/>
              </a:srgbClr>
            </a:solidFill>
          </p:spPr>
          <p:txBody>
            <a:bodyPr wrap="square" rtlCol="0">
              <a:spAutoFit/>
            </a:bodyPr>
            <a:lstStyle/>
            <a:p>
              <a:pPr algn="r"/>
              <a:r>
                <a:rPr lang="en-US" altLang="ko-KR" sz="1200">
                  <a:solidFill>
                    <a:schemeClr val="bg1"/>
                  </a:solidFill>
                  <a:cs typeface="Arial" panose="020b0604020202020204" pitchFamily="34" charset="0"/>
                </a:rPr>
                <a:t>You can simply impress your audience and add a unique zing and appeal to your Presentations.</a:t>
              </a:r>
              <a:endParaRPr lang="ko-KR" altLang="en-US" sz="1200">
                <a:solidFill>
                  <a:schemeClr val="bg1"/>
                </a:solidFill>
                <a:cs typeface="Arial" panose="020b0604020202020204" pitchFamily="34" charset="0"/>
              </a:endParaRPr>
            </a:p>
          </p:txBody>
        </p:sp>
        <p:sp>
          <p:nvSpPr>
            <p:cNvPr id="14" name="TextBox 14">
              <a:extLst>
                <a:ext uri="{FF2B5EF4-FFF2-40B4-BE49-F238E27FC236}">
                  <a16:creationId xmlns:a16="http://schemas.microsoft.com/office/drawing/2014/main" id="{A200FEB4-CA56-BA1E-1FFB-5578793C7FB4}"/>
                </a:ext>
              </a:extLst>
            </p:cNvPr>
            <p:cNvSpPr txBox="1"/>
            <p:nvPr/>
          </p:nvSpPr>
          <p:spPr>
            <a:xfrm>
              <a:off x="3365666" y="4283314"/>
              <a:ext cx="1543041" cy="340519"/>
            </a:xfrm>
            <a:prstGeom prst="roundRect">
              <a:avLst/>
            </a:prstGeom>
            <a:solidFill>
              <a:srgbClr val="00ABF7"/>
            </a:solidFill>
          </p:spPr>
          <p:txBody>
            <a:bodyPr wrap="square" rtlCol="0">
              <a:spAutoFit/>
            </a:bodyPr>
            <a:lstStyle/>
            <a:p>
              <a:pPr algn="r"/>
              <a:r>
                <a:rPr lang="en-US" altLang="ko-KR" sz="1400" b="1">
                  <a:solidFill>
                    <a:schemeClr val="bg1"/>
                  </a:solidFill>
                  <a:cs typeface="Arial" panose="020b0604020202020204" pitchFamily="34" charset="0"/>
                </a:rPr>
                <a:t>Your Text Here</a:t>
              </a:r>
              <a:endParaRPr lang="ko-KR" altLang="en-US" sz="1400" b="1">
                <a:solidFill>
                  <a:schemeClr val="bg1"/>
                </a:solidFill>
                <a:cs typeface="Arial" panose="020b0604020202020204" pitchFamily="34" charset="0"/>
              </a:endParaRPr>
            </a:p>
          </p:txBody>
        </p:sp>
      </p:grpSp>
      <p:grpSp>
        <p:nvGrpSpPr>
          <p:cNvPr id="15" name="Group 15">
            <a:extLst>
              <a:ext uri="{FF2B5EF4-FFF2-40B4-BE49-F238E27FC236}">
                <a16:creationId xmlns:a16="http://schemas.microsoft.com/office/drawing/2014/main" id="{F0063ECB-8591-0B9E-80B2-E2703B291390}"/>
              </a:ext>
            </a:extLst>
          </p:cNvPr>
          <p:cNvGrpSpPr/>
          <p:nvPr/>
        </p:nvGrpSpPr>
        <p:grpSpPr>
          <a:xfrm>
            <a:off x="4512179" y="4232444"/>
            <a:ext cx="2745178" cy="923330"/>
            <a:chOff x="3021856" y="4283314"/>
            <a:chExt cx="1886852" cy="923330"/>
          </a:xfrm>
        </p:grpSpPr>
        <p:sp>
          <p:nvSpPr>
            <p:cNvPr id="16" name="TextBox 16">
              <a:extLst>
                <a:ext uri="{FF2B5EF4-FFF2-40B4-BE49-F238E27FC236}">
                  <a16:creationId xmlns:a16="http://schemas.microsoft.com/office/drawing/2014/main" id="{8B3AC8EB-39C8-9BC1-BAF0-D310776E9647}"/>
                </a:ext>
              </a:extLst>
            </p:cNvPr>
            <p:cNvSpPr txBox="1"/>
            <p:nvPr/>
          </p:nvSpPr>
          <p:spPr>
            <a:xfrm>
              <a:off x="3021856" y="4560313"/>
              <a:ext cx="1886852" cy="646331"/>
            </a:xfrm>
            <a:prstGeom prst="rect">
              <a:avLst/>
            </a:prstGeom>
            <a:noFill/>
          </p:spPr>
          <p:txBody>
            <a:bodyPr wrap="square" rtlCol="0">
              <a:spAutoFit/>
            </a:bodyPr>
            <a:lstStyle/>
            <a:p>
              <a:pPr algn="r"/>
              <a:r>
                <a:rPr lang="en-US" altLang="ko-KR" sz="1200">
                  <a:solidFill>
                    <a:schemeClr val="tx1">
                      <a:lumMod val="85000"/>
                      <a:lumOff val="15000"/>
                    </a:schemeClr>
                  </a:solidFill>
                  <a:cs typeface="Arial" panose="020b0604020202020204" pitchFamily="34" charset="0"/>
                </a:rPr>
                <a:t>You can simply impress your audience and add a unique zing and appeal to your Presentations.</a:t>
              </a:r>
            </a:p>
          </p:txBody>
        </p:sp>
        <p:sp>
          <p:nvSpPr>
            <p:cNvPr id="17" name="TextBox 17">
              <a:extLst>
                <a:ext uri="{FF2B5EF4-FFF2-40B4-BE49-F238E27FC236}">
                  <a16:creationId xmlns:a16="http://schemas.microsoft.com/office/drawing/2014/main" id="{23AD25F5-59C7-9667-3695-FE8D52E3C4E2}"/>
                </a:ext>
              </a:extLst>
            </p:cNvPr>
            <p:cNvSpPr txBox="1"/>
            <p:nvPr/>
          </p:nvSpPr>
          <p:spPr>
            <a:xfrm>
              <a:off x="3037897" y="4283314"/>
              <a:ext cx="1870811" cy="307777"/>
            </a:xfrm>
            <a:prstGeom prst="rect">
              <a:avLst/>
            </a:prstGeom>
            <a:noFill/>
          </p:spPr>
          <p:txBody>
            <a:bodyPr wrap="square" rtlCol="0">
              <a:spAutoFit/>
            </a:bodyPr>
            <a:lstStyle/>
            <a:p>
              <a:pPr algn="r"/>
              <a:r>
                <a:rPr lang="en-US" altLang="ko-KR" sz="1400" b="1">
                  <a:solidFill>
                    <a:schemeClr val="tx1">
                      <a:lumMod val="85000"/>
                      <a:lumOff val="15000"/>
                    </a:schemeClr>
                  </a:solidFill>
                  <a:cs typeface="Arial" panose="020b0604020202020204" pitchFamily="34" charset="0"/>
                </a:rPr>
                <a:t>Your Text Here</a:t>
              </a:r>
              <a:endParaRPr lang="ko-KR" altLang="en-US" sz="1400" b="1">
                <a:solidFill>
                  <a:schemeClr val="tx1">
                    <a:lumMod val="85000"/>
                    <a:lumOff val="15000"/>
                  </a:schemeClr>
                </a:solidFill>
                <a:cs typeface="Arial" panose="020b0604020202020204" pitchFamily="34" charset="0"/>
              </a:endParaRPr>
            </a:p>
          </p:txBody>
        </p:sp>
      </p:grpSp>
      <p:sp>
        <p:nvSpPr>
          <p:cNvPr id="18" name="TextBox 24">
            <a:extLst>
              <a:ext uri="{FF2B5EF4-FFF2-40B4-BE49-F238E27FC236}">
                <a16:creationId xmlns:a16="http://schemas.microsoft.com/office/drawing/2014/main" id="{C42B94FC-FCEE-A752-4CB8-BC6A6557BE8F}"/>
              </a:ext>
            </a:extLst>
          </p:cNvPr>
          <p:cNvSpPr txBox="1"/>
          <p:nvPr/>
        </p:nvSpPr>
        <p:spPr>
          <a:xfrm>
            <a:off x="10033156" y="5507382"/>
            <a:ext cx="1015444" cy="584775"/>
          </a:xfrm>
          <a:prstGeom prst="rect">
            <a:avLst/>
          </a:prstGeom>
          <a:noFill/>
        </p:spPr>
        <p:txBody>
          <a:bodyPr wrap="square" rtlCol="0">
            <a:spAutoFit/>
          </a:bodyPr>
          <a:lstStyle/>
          <a:p>
            <a:pPr algn="ctr"/>
            <a:r>
              <a:rPr lang="en-US" altLang="ko-KR" sz="3200" b="1">
                <a:solidFill>
                  <a:schemeClr val="bg1"/>
                </a:solidFill>
                <a:cs typeface="Arial" panose="020b0604020202020204" pitchFamily="34" charset="0"/>
              </a:rPr>
              <a:t>05</a:t>
            </a:r>
            <a:endParaRPr lang="ko-KR" altLang="en-US" sz="3200" b="1">
              <a:solidFill>
                <a:schemeClr val="bg1"/>
              </a:solidFill>
              <a:cs typeface="Arial" panose="020b0604020202020204" pitchFamily="34" charset="0"/>
            </a:endParaRPr>
          </a:p>
        </p:txBody>
      </p:sp>
      <p:sp>
        <p:nvSpPr>
          <p:cNvPr id="19" name="TextBox 25">
            <a:extLst>
              <a:ext uri="{FF2B5EF4-FFF2-40B4-BE49-F238E27FC236}">
                <a16:creationId xmlns:a16="http://schemas.microsoft.com/office/drawing/2014/main" id="{028427B8-80DA-17FD-5A4A-C06DCA9188EB}"/>
              </a:ext>
            </a:extLst>
          </p:cNvPr>
          <p:cNvSpPr txBox="1"/>
          <p:nvPr/>
        </p:nvSpPr>
        <p:spPr>
          <a:xfrm>
            <a:off x="7813196" y="4912082"/>
            <a:ext cx="1015444" cy="584775"/>
          </a:xfrm>
          <a:prstGeom prst="rect">
            <a:avLst/>
          </a:prstGeom>
          <a:noFill/>
        </p:spPr>
        <p:txBody>
          <a:bodyPr wrap="square" rtlCol="0">
            <a:spAutoFit/>
          </a:bodyPr>
          <a:lstStyle/>
          <a:p>
            <a:pPr algn="ctr"/>
            <a:r>
              <a:rPr lang="en-US" altLang="ko-KR" sz="3200" b="1">
                <a:solidFill>
                  <a:schemeClr val="bg1"/>
                </a:solidFill>
                <a:cs typeface="Arial" panose="020b0604020202020204" pitchFamily="34" charset="0"/>
              </a:rPr>
              <a:t>02</a:t>
            </a:r>
            <a:endParaRPr lang="ko-KR" altLang="en-US" sz="3200" b="1">
              <a:solidFill>
                <a:schemeClr val="bg1"/>
              </a:solidFill>
              <a:cs typeface="Arial" panose="020b0604020202020204" pitchFamily="34" charset="0"/>
            </a:endParaRPr>
          </a:p>
        </p:txBody>
      </p:sp>
      <p:sp>
        <p:nvSpPr>
          <p:cNvPr id="20" name="TextBox 26">
            <a:extLst>
              <a:ext uri="{FF2B5EF4-FFF2-40B4-BE49-F238E27FC236}">
                <a16:creationId xmlns:a16="http://schemas.microsoft.com/office/drawing/2014/main" id="{8B20F9C6-A982-FCF4-83C2-AF5E6BA06209}"/>
              </a:ext>
            </a:extLst>
          </p:cNvPr>
          <p:cNvSpPr txBox="1"/>
          <p:nvPr/>
        </p:nvSpPr>
        <p:spPr>
          <a:xfrm>
            <a:off x="7422205" y="3787901"/>
            <a:ext cx="1015444" cy="584775"/>
          </a:xfrm>
          <a:prstGeom prst="rect">
            <a:avLst/>
          </a:prstGeom>
          <a:noFill/>
        </p:spPr>
        <p:txBody>
          <a:bodyPr wrap="square" rtlCol="0">
            <a:spAutoFit/>
          </a:bodyPr>
          <a:lstStyle/>
          <a:p>
            <a:pPr algn="ctr"/>
            <a:r>
              <a:rPr lang="en-US" altLang="ko-KR" sz="3200" b="1">
                <a:solidFill>
                  <a:schemeClr val="bg1"/>
                </a:solidFill>
                <a:cs typeface="Arial" panose="020b0604020202020204" pitchFamily="34" charset="0"/>
              </a:rPr>
              <a:t>03</a:t>
            </a:r>
            <a:endParaRPr lang="ko-KR" altLang="en-US" sz="3200" b="1">
              <a:solidFill>
                <a:schemeClr val="bg1"/>
              </a:solidFill>
              <a:cs typeface="Arial" panose="020b0604020202020204" pitchFamily="34" charset="0"/>
            </a:endParaRPr>
          </a:p>
        </p:txBody>
      </p:sp>
      <p:sp>
        <p:nvSpPr>
          <p:cNvPr id="21" name="TextBox 27">
            <a:extLst>
              <a:ext uri="{FF2B5EF4-FFF2-40B4-BE49-F238E27FC236}">
                <a16:creationId xmlns:a16="http://schemas.microsoft.com/office/drawing/2014/main" id="{63B136DB-9BBD-C6BF-693B-F0CA8BBE865A}"/>
              </a:ext>
            </a:extLst>
          </p:cNvPr>
          <p:cNvSpPr txBox="1"/>
          <p:nvPr/>
        </p:nvSpPr>
        <p:spPr>
          <a:xfrm>
            <a:off x="8030168" y="2779789"/>
            <a:ext cx="1015444" cy="584775"/>
          </a:xfrm>
          <a:prstGeom prst="rect">
            <a:avLst/>
          </a:prstGeom>
          <a:noFill/>
        </p:spPr>
        <p:txBody>
          <a:bodyPr wrap="square" rtlCol="0">
            <a:spAutoFit/>
          </a:bodyPr>
          <a:lstStyle/>
          <a:p>
            <a:pPr algn="ctr"/>
            <a:r>
              <a:rPr lang="en-US" altLang="ko-KR" sz="3200" b="1">
                <a:solidFill>
                  <a:schemeClr val="bg1"/>
                </a:solidFill>
                <a:cs typeface="Arial" panose="020b0604020202020204" pitchFamily="34" charset="0"/>
              </a:rPr>
              <a:t>04</a:t>
            </a:r>
            <a:endParaRPr lang="ko-KR" altLang="en-US" sz="3200" b="1">
              <a:solidFill>
                <a:schemeClr val="bg1"/>
              </a:solidFill>
              <a:cs typeface="Arial" panose="020b0604020202020204" pitchFamily="34" charset="0"/>
            </a:endParaRPr>
          </a:p>
        </p:txBody>
      </p:sp>
      <p:sp>
        <p:nvSpPr>
          <p:cNvPr id="22" name="TextBox 28">
            <a:extLst>
              <a:ext uri="{FF2B5EF4-FFF2-40B4-BE49-F238E27FC236}">
                <a16:creationId xmlns:a16="http://schemas.microsoft.com/office/drawing/2014/main" id="{B0573AEE-8E93-6E5A-4B7A-0D313935CD89}"/>
              </a:ext>
            </a:extLst>
          </p:cNvPr>
          <p:cNvSpPr txBox="1"/>
          <p:nvPr/>
        </p:nvSpPr>
        <p:spPr>
          <a:xfrm>
            <a:off x="10011681" y="1978990"/>
            <a:ext cx="1015444" cy="584775"/>
          </a:xfrm>
          <a:prstGeom prst="rect">
            <a:avLst/>
          </a:prstGeom>
          <a:noFill/>
        </p:spPr>
        <p:txBody>
          <a:bodyPr wrap="square" rtlCol="0">
            <a:spAutoFit/>
          </a:bodyPr>
          <a:lstStyle/>
          <a:p>
            <a:pPr algn="ctr"/>
            <a:r>
              <a:rPr lang="en-US" altLang="ko-KR" sz="3200" b="1">
                <a:solidFill>
                  <a:schemeClr val="bg1"/>
                </a:solidFill>
                <a:cs typeface="Arial" panose="020b0604020202020204" pitchFamily="34" charset="0"/>
              </a:rPr>
              <a:t>01</a:t>
            </a:r>
            <a:endParaRPr lang="ko-KR" altLang="en-US" sz="3200" b="1">
              <a:solidFill>
                <a:schemeClr val="bg1"/>
              </a:solidFill>
              <a:cs typeface="Arial" panose="020b0604020202020204" pitchFamily="34" charset="0"/>
            </a:endParaRPr>
          </a:p>
        </p:txBody>
      </p:sp>
      <p:grpSp>
        <p:nvGrpSpPr>
          <p:cNvPr id="23" name="Group 74">
            <a:extLst>
              <a:ext uri="{FF2B5EF4-FFF2-40B4-BE49-F238E27FC236}">
                <a16:creationId xmlns:a16="http://schemas.microsoft.com/office/drawing/2014/main" id="{1A32E30E-7445-C39F-882F-30EE87367DA0}"/>
              </a:ext>
            </a:extLst>
          </p:cNvPr>
          <p:cNvGrpSpPr/>
          <p:nvPr/>
        </p:nvGrpSpPr>
        <p:grpSpPr>
          <a:xfrm>
            <a:off x="4998604" y="5353078"/>
            <a:ext cx="2768717" cy="923330"/>
            <a:chOff x="3021856" y="4283314"/>
            <a:chExt cx="1886852" cy="923330"/>
          </a:xfrm>
        </p:grpSpPr>
        <p:sp>
          <p:nvSpPr>
            <p:cNvPr id="24" name="TextBox 75">
              <a:extLst>
                <a:ext uri="{FF2B5EF4-FFF2-40B4-BE49-F238E27FC236}">
                  <a16:creationId xmlns:a16="http://schemas.microsoft.com/office/drawing/2014/main" id="{941ED70F-DB58-B18C-1E1C-8CBD2ED39311}"/>
                </a:ext>
              </a:extLst>
            </p:cNvPr>
            <p:cNvSpPr txBox="1"/>
            <p:nvPr/>
          </p:nvSpPr>
          <p:spPr>
            <a:xfrm>
              <a:off x="3021856" y="4560313"/>
              <a:ext cx="1886852" cy="646331"/>
            </a:xfrm>
            <a:prstGeom prst="rect">
              <a:avLst/>
            </a:prstGeom>
            <a:noFill/>
          </p:spPr>
          <p:txBody>
            <a:bodyPr wrap="square" rtlCol="0">
              <a:spAutoFit/>
            </a:bodyPr>
            <a:lstStyle/>
            <a:p>
              <a:pPr algn="r"/>
              <a:r>
                <a:rPr lang="en-US" altLang="ko-KR" sz="1200">
                  <a:solidFill>
                    <a:schemeClr val="tx1">
                      <a:lumMod val="85000"/>
                      <a:lumOff val="15000"/>
                    </a:schemeClr>
                  </a:solidFill>
                  <a:cs typeface="Arial" panose="020b0604020202020204" pitchFamily="34" charset="0"/>
                </a:rPr>
                <a:t>You can simply impress your audience and add a unique zing and appeal to your Presentations.</a:t>
              </a:r>
            </a:p>
          </p:txBody>
        </p:sp>
        <p:sp>
          <p:nvSpPr>
            <p:cNvPr id="25" name="TextBox 76">
              <a:extLst>
                <a:ext uri="{FF2B5EF4-FFF2-40B4-BE49-F238E27FC236}">
                  <a16:creationId xmlns:a16="http://schemas.microsoft.com/office/drawing/2014/main" id="{ABB40066-6F12-D6D7-BE3E-73D391DEB05D}"/>
                </a:ext>
              </a:extLst>
            </p:cNvPr>
            <p:cNvSpPr txBox="1"/>
            <p:nvPr/>
          </p:nvSpPr>
          <p:spPr>
            <a:xfrm>
              <a:off x="3037897" y="4283314"/>
              <a:ext cx="1870811" cy="307777"/>
            </a:xfrm>
            <a:prstGeom prst="rect">
              <a:avLst/>
            </a:prstGeom>
            <a:noFill/>
          </p:spPr>
          <p:txBody>
            <a:bodyPr wrap="square" rtlCol="0">
              <a:spAutoFit/>
            </a:bodyPr>
            <a:lstStyle/>
            <a:p>
              <a:pPr algn="r"/>
              <a:r>
                <a:rPr lang="en-US" altLang="ko-KR" sz="1400" b="1">
                  <a:solidFill>
                    <a:schemeClr val="tx1">
                      <a:lumMod val="85000"/>
                      <a:lumOff val="15000"/>
                    </a:schemeClr>
                  </a:solidFill>
                  <a:cs typeface="Arial" panose="020b0604020202020204" pitchFamily="34" charset="0"/>
                </a:rPr>
                <a:t>Your Text Here</a:t>
              </a:r>
              <a:endParaRPr lang="ko-KR" altLang="en-US" sz="1400" b="1">
                <a:solidFill>
                  <a:schemeClr val="tx1">
                    <a:lumMod val="85000"/>
                    <a:lumOff val="15000"/>
                  </a:schemeClr>
                </a:solidFill>
                <a:cs typeface="Arial" panose="020b0604020202020204" pitchFamily="34" charset="0"/>
              </a:endParaRPr>
            </a:p>
          </p:txBody>
        </p:sp>
      </p:grpSp>
      <p:grpSp>
        <p:nvGrpSpPr>
          <p:cNvPr id="26" name="Group 77">
            <a:extLst>
              <a:ext uri="{FF2B5EF4-FFF2-40B4-BE49-F238E27FC236}">
                <a16:creationId xmlns:a16="http://schemas.microsoft.com/office/drawing/2014/main" id="{DAB11D1C-EF29-5490-CFCF-AD735A838020}"/>
              </a:ext>
            </a:extLst>
          </p:cNvPr>
          <p:cNvGrpSpPr/>
          <p:nvPr/>
        </p:nvGrpSpPr>
        <p:grpSpPr>
          <a:xfrm>
            <a:off x="6719418" y="870545"/>
            <a:ext cx="2598322" cy="923330"/>
            <a:chOff x="3021856" y="4283314"/>
            <a:chExt cx="1886852" cy="923330"/>
          </a:xfrm>
        </p:grpSpPr>
        <p:sp>
          <p:nvSpPr>
            <p:cNvPr id="27" name="TextBox 78">
              <a:extLst>
                <a:ext uri="{FF2B5EF4-FFF2-40B4-BE49-F238E27FC236}">
                  <a16:creationId xmlns:a16="http://schemas.microsoft.com/office/drawing/2014/main" id="{4A60F98F-1161-EC9F-CD85-CF21166F592C}"/>
                </a:ext>
              </a:extLst>
            </p:cNvPr>
            <p:cNvSpPr txBox="1"/>
            <p:nvPr/>
          </p:nvSpPr>
          <p:spPr>
            <a:xfrm>
              <a:off x="3021856" y="4560313"/>
              <a:ext cx="1886852" cy="646331"/>
            </a:xfrm>
            <a:prstGeom prst="rect">
              <a:avLst/>
            </a:prstGeom>
            <a:noFill/>
          </p:spPr>
          <p:txBody>
            <a:bodyPr wrap="square" rtlCol="0">
              <a:spAutoFit/>
            </a:bodyPr>
            <a:lstStyle/>
            <a:p>
              <a:pPr algn="r"/>
              <a:r>
                <a:rPr lang="en-US" altLang="ko-KR" sz="1200">
                  <a:solidFill>
                    <a:schemeClr val="tx1">
                      <a:lumMod val="85000"/>
                      <a:lumOff val="15000"/>
                    </a:schemeClr>
                  </a:solidFill>
                  <a:cs typeface="Arial" panose="020b0604020202020204" pitchFamily="34" charset="0"/>
                </a:rPr>
                <a:t>You can simply impress your audience and add a unique zing and appeal to your Presentations.</a:t>
              </a:r>
            </a:p>
          </p:txBody>
        </p:sp>
        <p:sp>
          <p:nvSpPr>
            <p:cNvPr id="28" name="TextBox 79">
              <a:extLst>
                <a:ext uri="{FF2B5EF4-FFF2-40B4-BE49-F238E27FC236}">
                  <a16:creationId xmlns:a16="http://schemas.microsoft.com/office/drawing/2014/main" id="{DA2F1735-117A-978F-ED6F-8C44E86C1C82}"/>
                </a:ext>
              </a:extLst>
            </p:cNvPr>
            <p:cNvSpPr txBox="1"/>
            <p:nvPr/>
          </p:nvSpPr>
          <p:spPr>
            <a:xfrm>
              <a:off x="3037897" y="4283314"/>
              <a:ext cx="1870811" cy="307777"/>
            </a:xfrm>
            <a:prstGeom prst="rect">
              <a:avLst/>
            </a:prstGeom>
            <a:noFill/>
          </p:spPr>
          <p:txBody>
            <a:bodyPr wrap="square" rtlCol="0">
              <a:spAutoFit/>
            </a:bodyPr>
            <a:lstStyle/>
            <a:p>
              <a:pPr algn="r"/>
              <a:r>
                <a:rPr lang="en-US" altLang="ko-KR" sz="1400" b="1">
                  <a:solidFill>
                    <a:schemeClr val="tx1">
                      <a:lumMod val="85000"/>
                      <a:lumOff val="15000"/>
                    </a:schemeClr>
                  </a:solidFill>
                  <a:cs typeface="Arial" panose="020b0604020202020204" pitchFamily="34" charset="0"/>
                </a:rPr>
                <a:t>Your Text Here</a:t>
              </a:r>
              <a:endParaRPr lang="ko-KR" altLang="en-US" sz="1400" b="1">
                <a:solidFill>
                  <a:schemeClr val="tx1">
                    <a:lumMod val="85000"/>
                    <a:lumOff val="15000"/>
                  </a:schemeClr>
                </a:solidFill>
                <a:cs typeface="Arial" panose="020b0604020202020204" pitchFamily="34" charset="0"/>
              </a:endParaRPr>
            </a:p>
          </p:txBody>
        </p:sp>
      </p:grpSp>
      <p:sp>
        <p:nvSpPr>
          <p:cNvPr id="29" name="Block Arc 14">
            <a:extLst>
              <a:ext uri="{FF2B5EF4-FFF2-40B4-BE49-F238E27FC236}">
                <a16:creationId xmlns:a16="http://schemas.microsoft.com/office/drawing/2014/main" id="{19937E2C-83FF-804F-F9FA-C2F223559426}"/>
              </a:ext>
            </a:extLst>
          </p:cNvPr>
          <p:cNvSpPr/>
          <p:nvPr/>
        </p:nvSpPr>
        <p:spPr>
          <a:xfrm rot="16200000">
            <a:off x="8817672" y="3790990"/>
            <a:ext cx="771672" cy="772181"/>
          </a:xfrm>
          <a:custGeom>
            <a:rect l="l" t="t" r="r" b="b"/>
            <a:pathLst>
              <a:path w="3185463" h="3187558">
                <a:moveTo>
                  <a:pt x="764000" y="2343999"/>
                </a:moveTo>
                <a:cubicBezTo>
                  <a:pt x="566798" y="2256389"/>
                  <a:pt x="385374" y="2134753"/>
                  <a:pt x="230072" y="1981662"/>
                </a:cubicBezTo>
                <a:cubicBezTo>
                  <a:pt x="297001" y="2223876"/>
                  <a:pt x="428049" y="2439341"/>
                  <a:pt x="603989" y="2608945"/>
                </a:cubicBezTo>
                <a:cubicBezTo>
                  <a:pt x="667739" y="2525681"/>
                  <a:pt x="720588" y="2436567"/>
                  <a:pt x="764000" y="2343999"/>
                </a:cubicBezTo>
                <a:close/>
                <a:moveTo>
                  <a:pt x="783530" y="862903"/>
                </a:moveTo>
                <a:cubicBezTo>
                  <a:pt x="737619" y="760936"/>
                  <a:pt x="681240" y="662513"/>
                  <a:pt x="611676" y="571152"/>
                </a:cubicBezTo>
                <a:cubicBezTo>
                  <a:pt x="419218" y="754019"/>
                  <a:pt x="279227" y="991173"/>
                  <a:pt x="215545" y="1258034"/>
                </a:cubicBezTo>
                <a:cubicBezTo>
                  <a:pt x="378729" y="1090139"/>
                  <a:pt x="571934" y="956907"/>
                  <a:pt x="783530" y="862903"/>
                </a:cubicBezTo>
                <a:close/>
                <a:moveTo>
                  <a:pt x="935657" y="1673146"/>
                </a:moveTo>
                <a:lnTo>
                  <a:pt x="227023" y="1673146"/>
                </a:lnTo>
                <a:cubicBezTo>
                  <a:pt x="393068" y="1882941"/>
                  <a:pt x="605618" y="2045968"/>
                  <a:pt x="844267" y="2153109"/>
                </a:cubicBezTo>
                <a:cubicBezTo>
                  <a:pt x="897907" y="1997390"/>
                  <a:pt x="928862" y="1835739"/>
                  <a:pt x="935657" y="1673146"/>
                </a:cubicBezTo>
                <a:close/>
                <a:moveTo>
                  <a:pt x="935928" y="1493146"/>
                </a:moveTo>
                <a:cubicBezTo>
                  <a:pt x="928922" y="1345638"/>
                  <a:pt x="902278" y="1198995"/>
                  <a:pt x="856775" y="1056956"/>
                </a:cubicBezTo>
                <a:cubicBezTo>
                  <a:pt x="636768" y="1156959"/>
                  <a:pt x="439487" y="1304654"/>
                  <a:pt x="281464" y="1493146"/>
                </a:cubicBezTo>
                <a:close/>
                <a:moveTo>
                  <a:pt x="1469785" y="2515107"/>
                </a:moveTo>
                <a:cubicBezTo>
                  <a:pt x="1283000" y="2508124"/>
                  <a:pt x="1100523" y="2472287"/>
                  <a:pt x="927628" y="2411229"/>
                </a:cubicBezTo>
                <a:cubicBezTo>
                  <a:pt x="876831" y="2520843"/>
                  <a:pt x="814172" y="2626182"/>
                  <a:pt x="738220" y="2724387"/>
                </a:cubicBezTo>
                <a:cubicBezTo>
                  <a:pt x="944637" y="2881665"/>
                  <a:pt x="1196120" y="2982471"/>
                  <a:pt x="1469785" y="3005418"/>
                </a:cubicBezTo>
                <a:close/>
                <a:moveTo>
                  <a:pt x="1469785" y="1673146"/>
                </a:moveTo>
                <a:lnTo>
                  <a:pt x="1112275" y="1673146"/>
                </a:lnTo>
                <a:cubicBezTo>
                  <a:pt x="1105327" y="1858153"/>
                  <a:pt x="1070032" y="2042144"/>
                  <a:pt x="1008001" y="2219039"/>
                </a:cubicBezTo>
                <a:cubicBezTo>
                  <a:pt x="1155519" y="2270408"/>
                  <a:pt x="1310845" y="2300826"/>
                  <a:pt x="1469785" y="2307834"/>
                </a:cubicBezTo>
                <a:close/>
                <a:moveTo>
                  <a:pt x="1469785" y="898989"/>
                </a:moveTo>
                <a:cubicBezTo>
                  <a:pt x="1315103" y="907762"/>
                  <a:pt x="1164166" y="938783"/>
                  <a:pt x="1020939" y="990066"/>
                </a:cubicBezTo>
                <a:cubicBezTo>
                  <a:pt x="1074574" y="1153655"/>
                  <a:pt x="1105461" y="1322925"/>
                  <a:pt x="1112368" y="1493146"/>
                </a:cubicBezTo>
                <a:lnTo>
                  <a:pt x="1469785" y="1493146"/>
                </a:lnTo>
                <a:close/>
                <a:moveTo>
                  <a:pt x="1469785" y="182141"/>
                </a:moveTo>
                <a:cubicBezTo>
                  <a:pt x="1199839" y="204777"/>
                  <a:pt x="951477" y="303168"/>
                  <a:pt x="746615" y="456764"/>
                </a:cubicBezTo>
                <a:cubicBezTo>
                  <a:pt x="828296" y="562801"/>
                  <a:pt x="894225" y="677310"/>
                  <a:pt x="947434" y="796072"/>
                </a:cubicBezTo>
                <a:cubicBezTo>
                  <a:pt x="1113886" y="736067"/>
                  <a:pt x="1289644" y="700323"/>
                  <a:pt x="1469785" y="691530"/>
                </a:cubicBezTo>
                <a:close/>
                <a:moveTo>
                  <a:pt x="2150063" y="992171"/>
                </a:moveTo>
                <a:cubicBezTo>
                  <a:pt x="1990712" y="935501"/>
                  <a:pt x="1822242" y="902595"/>
                  <a:pt x="1649785" y="897224"/>
                </a:cubicBezTo>
                <a:lnTo>
                  <a:pt x="1649785" y="1493146"/>
                </a:lnTo>
                <a:lnTo>
                  <a:pt x="2063712" y="1493146"/>
                </a:lnTo>
                <a:cubicBezTo>
                  <a:pt x="2069089" y="1323887"/>
                  <a:pt x="2098366" y="1155330"/>
                  <a:pt x="2150063" y="992171"/>
                </a:cubicBezTo>
                <a:close/>
                <a:moveTo>
                  <a:pt x="2168848" y="2199110"/>
                </a:moveTo>
                <a:cubicBezTo>
                  <a:pt x="2108555" y="2028681"/>
                  <a:pt x="2073581" y="1851532"/>
                  <a:pt x="2065295" y="1673146"/>
                </a:cubicBezTo>
                <a:lnTo>
                  <a:pt x="1649785" y="1673146"/>
                </a:lnTo>
                <a:lnTo>
                  <a:pt x="1649785" y="2307299"/>
                </a:lnTo>
                <a:cubicBezTo>
                  <a:pt x="1829404" y="2299517"/>
                  <a:pt x="2004315" y="2261965"/>
                  <a:pt x="2168848" y="2199110"/>
                </a:cubicBezTo>
                <a:close/>
                <a:moveTo>
                  <a:pt x="2422394" y="446879"/>
                </a:moveTo>
                <a:cubicBezTo>
                  <a:pt x="2204309" y="287209"/>
                  <a:pt x="1938140" y="189883"/>
                  <a:pt x="1649785" y="178919"/>
                </a:cubicBezTo>
                <a:lnTo>
                  <a:pt x="1649785" y="689876"/>
                </a:lnTo>
                <a:cubicBezTo>
                  <a:pt x="1846998" y="695154"/>
                  <a:pt x="2039668" y="732502"/>
                  <a:pt x="2221721" y="797410"/>
                </a:cubicBezTo>
                <a:cubicBezTo>
                  <a:pt x="2275056" y="675360"/>
                  <a:pt x="2341760" y="557662"/>
                  <a:pt x="2422394" y="446879"/>
                </a:cubicBezTo>
                <a:close/>
                <a:moveTo>
                  <a:pt x="2447278" y="2722123"/>
                </a:moveTo>
                <a:cubicBezTo>
                  <a:pt x="2366121" y="2618714"/>
                  <a:pt x="2299534" y="2507403"/>
                  <a:pt x="2246145" y="2391362"/>
                </a:cubicBezTo>
                <a:cubicBezTo>
                  <a:pt x="2057375" y="2464119"/>
                  <a:pt x="1856285" y="2506958"/>
                  <a:pt x="1649785" y="2514779"/>
                </a:cubicBezTo>
                <a:lnTo>
                  <a:pt x="1649785" y="3008639"/>
                </a:lnTo>
                <a:cubicBezTo>
                  <a:pt x="1949198" y="2997255"/>
                  <a:pt x="2224691" y="2892757"/>
                  <a:pt x="2447278" y="2722123"/>
                </a:cubicBezTo>
                <a:close/>
                <a:moveTo>
                  <a:pt x="2878934" y="1493146"/>
                </a:moveTo>
                <a:cubicBezTo>
                  <a:pt x="2723190" y="1307255"/>
                  <a:pt x="2529440" y="1161128"/>
                  <a:pt x="2313862" y="1060620"/>
                </a:cubicBezTo>
                <a:cubicBezTo>
                  <a:pt x="2270535" y="1201714"/>
                  <a:pt x="2245604" y="1347104"/>
                  <a:pt x="2240109" y="1493146"/>
                </a:cubicBezTo>
                <a:close/>
                <a:moveTo>
                  <a:pt x="2890636" y="1673146"/>
                </a:moveTo>
                <a:lnTo>
                  <a:pt x="2241814" y="1673146"/>
                </a:lnTo>
                <a:cubicBezTo>
                  <a:pt x="2249736" y="1827102"/>
                  <a:pt x="2279520" y="1979973"/>
                  <a:pt x="2329964" y="2127513"/>
                </a:cubicBezTo>
                <a:cubicBezTo>
                  <a:pt x="2545677" y="2019923"/>
                  <a:pt x="2738160" y="1866413"/>
                  <a:pt x="2890636" y="1673146"/>
                </a:cubicBezTo>
                <a:close/>
                <a:moveTo>
                  <a:pt x="2973035" y="1284386"/>
                </a:moveTo>
                <a:cubicBezTo>
                  <a:pt x="2912066" y="1001840"/>
                  <a:pt x="2765308" y="751379"/>
                  <a:pt x="2561381" y="561108"/>
                </a:cubicBezTo>
                <a:cubicBezTo>
                  <a:pt x="2489321" y="656437"/>
                  <a:pt x="2431363" y="759225"/>
                  <a:pt x="2384553" y="865647"/>
                </a:cubicBezTo>
                <a:cubicBezTo>
                  <a:pt x="2604520" y="964977"/>
                  <a:pt x="2804622" y="1106677"/>
                  <a:pt x="2973035" y="1284386"/>
                </a:cubicBezTo>
                <a:close/>
                <a:moveTo>
                  <a:pt x="2974277" y="1897328"/>
                </a:moveTo>
                <a:cubicBezTo>
                  <a:pt x="2812488" y="2073933"/>
                  <a:pt x="2619878" y="2216690"/>
                  <a:pt x="2407486" y="2319665"/>
                </a:cubicBezTo>
                <a:cubicBezTo>
                  <a:pt x="2454169" y="2420503"/>
                  <a:pt x="2511856" y="2517376"/>
                  <a:pt x="2582047" y="2607468"/>
                </a:cubicBezTo>
                <a:cubicBezTo>
                  <a:pt x="2776399" y="2417974"/>
                  <a:pt x="2916061" y="2172750"/>
                  <a:pt x="2974277" y="1897328"/>
                </a:cubicBezTo>
                <a:close/>
                <a:moveTo>
                  <a:pt x="3185463" y="1593779"/>
                </a:moveTo>
                <a:cubicBezTo>
                  <a:pt x="3185463" y="2473999"/>
                  <a:pt x="2471904" y="3187558"/>
                  <a:pt x="1591684" y="3187558"/>
                </a:cubicBezTo>
                <a:cubicBezTo>
                  <a:pt x="738111" y="3187558"/>
                  <a:pt x="41261" y="2516549"/>
                  <a:pt x="1913" y="1673146"/>
                </a:cubicBezTo>
                <a:lnTo>
                  <a:pt x="0" y="1673146"/>
                </a:lnTo>
                <a:lnTo>
                  <a:pt x="0" y="1493146"/>
                </a:lnTo>
                <a:lnTo>
                  <a:pt x="2750" y="1493146"/>
                </a:lnTo>
                <a:cubicBezTo>
                  <a:pt x="50490" y="700174"/>
                  <a:pt x="679654" y="64473"/>
                  <a:pt x="1469785" y="6156"/>
                </a:cubicBezTo>
                <a:lnTo>
                  <a:pt x="1469785" y="0"/>
                </a:lnTo>
                <a:lnTo>
                  <a:pt x="1591684" y="0"/>
                </a:lnTo>
                <a:lnTo>
                  <a:pt x="1649785" y="0"/>
                </a:lnTo>
                <a:lnTo>
                  <a:pt x="1649785" y="2934"/>
                </a:lnTo>
                <a:cubicBezTo>
                  <a:pt x="2503127" y="31654"/>
                  <a:pt x="3185463" y="733032"/>
                  <a:pt x="3185463" y="159377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pic>
        <p:nvPicPr>
          <p:cNvPr id="30" name="Imagen 29">
            <a:extLst>
              <a:ext uri="{FF2B5EF4-FFF2-40B4-BE49-F238E27FC236}">
                <a16:creationId xmlns:a16="http://schemas.microsoft.com/office/drawing/2014/main" id="{C342125C-2954-79E8-4214-F3539F2E2AD1}"/>
              </a:ext>
            </a:extLst>
          </p:cNvPr>
          <p:cNvPicPr>
            <a:picLocks noChangeAspect="1"/>
          </p:cNvPicPr>
          <p:nvPr/>
        </p:nvPicPr>
        <p:blipFill>
          <a:blip r:embed="rId2">
            <a:extLst>
              <a:ext uri="{28A0092B-C50C-407E-A947-70E740481C1C}">
                <a14:useLocalDpi xmlns:a14="http://schemas.microsoft.com/office/drawing/2010/main" val="0"/>
              </a:ext>
            </a:extLst>
          </a:blip>
          <a:srcRect l="2051"/>
          <a:stretch>
            <a:fillRect/>
          </a:stretch>
        </p:blipFill>
        <p:spPr>
          <a:xfrm>
            <a:off x="157675" y="1272044"/>
            <a:ext cx="4357645" cy="5561127"/>
          </a:xfrm>
          <a:prstGeom prst="rect">
            <a:avLst/>
          </a:prstGeom>
          <a:effectLst>
            <a:outerShdw blurRad="127000" dist="152400" dir="19800000" sx="1000" sy="1000" algn="ctr" rotWithShape="0">
              <a:schemeClr val="tx1">
                <a:alpha val="95000"/>
              </a:schemeClr>
            </a:outerShdw>
          </a:effectLst>
        </p:spPr>
      </p:pic>
      <p:sp>
        <p:nvSpPr>
          <p:cNvPr id="32" name="Rectángulo: esquinas redondeadas 31">
            <a:extLst>
              <a:ext uri="{FF2B5EF4-FFF2-40B4-BE49-F238E27FC236}">
                <a16:creationId xmlns:a16="http://schemas.microsoft.com/office/drawing/2014/main" id="{2E00038B-0ED3-E430-D43C-39CD1E17D4F3}"/>
              </a:ext>
            </a:extLst>
          </p:cNvPr>
          <p:cNvSpPr/>
          <p:nvPr/>
        </p:nvSpPr>
        <p:spPr>
          <a:xfrm>
            <a:off x="9681210" y="-62824"/>
            <a:ext cx="2510790" cy="350967"/>
          </a:xfrm>
          <a:prstGeom prst="roundRect">
            <a:avLst/>
          </a:prstGeom>
          <a:solidFill>
            <a:srgbClr val="00AB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33" name="TextBox 9">
            <a:extLst>
              <a:ext uri="{FF2B5EF4-FFF2-40B4-BE49-F238E27FC236}">
                <a16:creationId xmlns:a16="http://schemas.microsoft.com/office/drawing/2014/main" id="{EE76C08F-80E9-242D-D86B-B5AEF1A292A9}"/>
              </a:ext>
            </a:extLst>
          </p:cNvPr>
          <p:cNvSpPr txBox="1"/>
          <p:nvPr/>
        </p:nvSpPr>
        <p:spPr>
          <a:xfrm>
            <a:off x="911835" y="170911"/>
            <a:ext cx="3876061" cy="923330"/>
          </a:xfrm>
          <a:prstGeom prst="rect">
            <a:avLst/>
          </a:prstGeom>
          <a:noFill/>
        </p:spPr>
        <p:txBody>
          <a:bodyPr wrap="none" lIns="0" tIns="0" rIns="0" bIns="0" rtlCol="0">
            <a:spAutoFit/>
          </a:bodyPr>
          <a:lstStyle/>
          <a:p>
            <a:r>
              <a:rPr lang="en-US" sz="6000" b="1">
                <a:solidFill>
                  <a:schemeClr val="tx1">
                    <a:lumMod val="65000"/>
                    <a:lumOff val="35000"/>
                  </a:schemeClr>
                </a:solidFill>
                <a:latin typeface="Segoe UI" panose="020b0502040204020203" pitchFamily="34" charset="0"/>
                <a:cs typeface="Segoe UI" panose="020b0502040204020203" pitchFamily="34" charset="0"/>
              </a:rPr>
              <a:t>BAHAMAS</a:t>
            </a:r>
          </a:p>
        </p:txBody>
      </p:sp>
      <p:sp>
        <p:nvSpPr>
          <p:cNvPr id="34" name="TextBox 9">
            <a:extLst>
              <a:ext uri="{FF2B5EF4-FFF2-40B4-BE49-F238E27FC236}">
                <a16:creationId xmlns:a16="http://schemas.microsoft.com/office/drawing/2014/main" id="{66D4ED1A-4C1A-BD68-737F-2FAB8A32F139}"/>
              </a:ext>
            </a:extLst>
          </p:cNvPr>
          <p:cNvSpPr txBox="1"/>
          <p:nvPr/>
        </p:nvSpPr>
        <p:spPr>
          <a:xfrm>
            <a:off x="911835" y="939121"/>
            <a:ext cx="2068067" cy="430887"/>
          </a:xfrm>
          <a:prstGeom prst="rect">
            <a:avLst/>
          </a:prstGeom>
          <a:noFill/>
        </p:spPr>
        <p:txBody>
          <a:bodyPr wrap="none" lIns="0" tIns="0" rIns="0" bIns="0" rtlCol="0">
            <a:spAutoFit/>
          </a:bodyPr>
          <a:lstStyle/>
          <a:p>
            <a:pPr algn="ctr"/>
            <a:r>
              <a:rPr lang="en-US" sz="2800" b="1">
                <a:solidFill>
                  <a:srgbClr val="02BAC8"/>
                </a:solidFill>
                <a:latin typeface="Segoe UI" panose="020b0502040204020203" pitchFamily="34" charset="0"/>
                <a:cs typeface="Segoe UI" panose="020b0502040204020203" pitchFamily="34" charset="0"/>
              </a:rPr>
              <a:t>Gastronomy</a:t>
            </a:r>
          </a:p>
        </p:txBody>
      </p:sp>
      <p:grpSp>
        <p:nvGrpSpPr>
          <p:cNvPr id="35" name="Grupo 34">
            <a:extLst>
              <a:ext uri="{FF2B5EF4-FFF2-40B4-BE49-F238E27FC236}">
                <a16:creationId xmlns:a16="http://schemas.microsoft.com/office/drawing/2014/main" id="{DD1AB43F-7512-BD78-A73B-67CB8BDDE316}"/>
              </a:ext>
            </a:extLst>
          </p:cNvPr>
          <p:cNvGrpSpPr/>
          <p:nvPr/>
        </p:nvGrpSpPr>
        <p:grpSpPr>
          <a:xfrm>
            <a:off x="217726" y="24829"/>
            <a:ext cx="792527" cy="1306401"/>
            <a:chOff x="283851" y="5461857"/>
            <a:chExt cx="846969" cy="1396143"/>
          </a:xfrm>
          <a:solidFill>
            <a:srgbClr val="06DBE7"/>
          </a:solidFill>
        </p:grpSpPr>
        <p:sp>
          <p:nvSpPr>
            <p:cNvPr id="36" name="Forma libre: forma 35">
              <a:extLst>
                <a:ext uri="{FF2B5EF4-FFF2-40B4-BE49-F238E27FC236}">
                  <a16:creationId xmlns:a16="http://schemas.microsoft.com/office/drawing/2014/main" id="{7DA03E13-A800-3B10-D3F2-F18320DB812C}"/>
                </a:ext>
              </a:extLst>
            </p:cNvPr>
            <p:cNvSpPr/>
            <p:nvPr/>
          </p:nvSpPr>
          <p:spPr>
            <a:xfrm>
              <a:off x="283851" y="5461857"/>
              <a:ext cx="846969" cy="468186"/>
            </a:xfrm>
            <a:custGeom>
              <a:gdLst>
                <a:gd name="connsiteX0" fmla="*/ 585515 w 846969"/>
                <a:gd name="connsiteY0" fmla="*/ 123160 h 468186"/>
                <a:gd name="connsiteX1" fmla="*/ 374091 w 846969"/>
                <a:gd name="connsiteY1" fmla="*/ 150510 h 468186"/>
                <a:gd name="connsiteX2" fmla="*/ 58700 w 846969"/>
                <a:gd name="connsiteY2" fmla="*/ 260683 h 468186"/>
                <a:gd name="connsiteX3" fmla="*/ 7105 w 846969"/>
                <a:gd name="connsiteY3" fmla="*/ 260683 h 468186"/>
                <a:gd name="connsiteX4" fmla="*/ 14476 w 846969"/>
                <a:gd name="connsiteY4" fmla="*/ 205208 h 468186"/>
                <a:gd name="connsiteX5" fmla="*/ 215232 w 846969"/>
                <a:gd name="connsiteY5" fmla="*/ 41694 h 468186"/>
                <a:gd name="connsiteX6" fmla="*/ 547303 w 846969"/>
                <a:gd name="connsiteY6" fmla="*/ 4259 h 468186"/>
                <a:gd name="connsiteX7" fmla="*/ 805280 w 846969"/>
                <a:gd name="connsiteY7" fmla="*/ 54302 h 468186"/>
                <a:gd name="connsiteX8" fmla="*/ 846788 w 846969"/>
                <a:gd name="connsiteY8" fmla="*/ 87470 h 468186"/>
                <a:gd name="connsiteX9" fmla="*/ 815366 w 846969"/>
                <a:gd name="connsiteY9" fmla="*/ 131307 h 468186"/>
                <a:gd name="connsiteX10" fmla="*/ 705968 w 846969"/>
                <a:gd name="connsiteY10" fmla="*/ 242644 h 468186"/>
                <a:gd name="connsiteX11" fmla="*/ 376612 w 846969"/>
                <a:gd name="connsiteY11" fmla="*/ 464348 h 468186"/>
                <a:gd name="connsiteX12" fmla="*/ 89735 w 846969"/>
                <a:gd name="connsiteY12" fmla="*/ 417990 h 468186"/>
                <a:gd name="connsiteX13" fmla="*/ 60058 w 846969"/>
                <a:gd name="connsiteY13" fmla="*/ 386762 h 468186"/>
                <a:gd name="connsiteX14" fmla="*/ 86826 w 846969"/>
                <a:gd name="connsiteY14" fmla="*/ 349326 h 468186"/>
                <a:gd name="connsiteX15" fmla="*/ 550407 w 846969"/>
                <a:gd name="connsiteY15" fmla="*/ 135186 h 468186"/>
                <a:gd name="connsiteX16" fmla="*/ 585321 w 846969"/>
                <a:gd name="connsiteY16" fmla="*/ 123160 h 46818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46969" h="468186">
                  <a:moveTo>
                    <a:pt x="585515" y="123160"/>
                  </a:moveTo>
                  <a:cubicBezTo>
                    <a:pt x="513747" y="122191"/>
                    <a:pt x="443531" y="133829"/>
                    <a:pt x="374091" y="150510"/>
                  </a:cubicBezTo>
                  <a:cubicBezTo>
                    <a:pt x="265275" y="176501"/>
                    <a:pt x="159757" y="212385"/>
                    <a:pt x="58700" y="260683"/>
                  </a:cubicBezTo>
                  <a:cubicBezTo>
                    <a:pt x="41631" y="268830"/>
                    <a:pt x="22816" y="281050"/>
                    <a:pt x="7105" y="260683"/>
                  </a:cubicBezTo>
                  <a:cubicBezTo>
                    <a:pt x="-7636" y="241480"/>
                    <a:pt x="3420" y="222278"/>
                    <a:pt x="14476" y="205208"/>
                  </a:cubicBezTo>
                  <a:cubicBezTo>
                    <a:pt x="63162" y="128591"/>
                    <a:pt x="132990" y="77578"/>
                    <a:pt x="215232" y="41694"/>
                  </a:cubicBezTo>
                  <a:cubicBezTo>
                    <a:pt x="322108" y="-5052"/>
                    <a:pt x="434802" y="-3694"/>
                    <a:pt x="547303" y="4259"/>
                  </a:cubicBezTo>
                  <a:cubicBezTo>
                    <a:pt x="634977" y="10660"/>
                    <a:pt x="720710" y="30638"/>
                    <a:pt x="805280" y="54302"/>
                  </a:cubicBezTo>
                  <a:cubicBezTo>
                    <a:pt x="823706" y="59345"/>
                    <a:pt x="844655" y="64000"/>
                    <a:pt x="846788" y="87470"/>
                  </a:cubicBezTo>
                  <a:cubicBezTo>
                    <a:pt x="848922" y="109583"/>
                    <a:pt x="831853" y="120639"/>
                    <a:pt x="815366" y="131307"/>
                  </a:cubicBezTo>
                  <a:cubicBezTo>
                    <a:pt x="770753" y="160402"/>
                    <a:pt x="734094" y="197450"/>
                    <a:pt x="705968" y="242644"/>
                  </a:cubicBezTo>
                  <a:cubicBezTo>
                    <a:pt x="629351" y="366007"/>
                    <a:pt x="524415" y="447279"/>
                    <a:pt x="376612" y="464348"/>
                  </a:cubicBezTo>
                  <a:cubicBezTo>
                    <a:pt x="276913" y="475792"/>
                    <a:pt x="180706" y="462021"/>
                    <a:pt x="89735" y="417990"/>
                  </a:cubicBezTo>
                  <a:cubicBezTo>
                    <a:pt x="75769" y="411201"/>
                    <a:pt x="60640" y="405188"/>
                    <a:pt x="60058" y="386762"/>
                  </a:cubicBezTo>
                  <a:cubicBezTo>
                    <a:pt x="59476" y="368141"/>
                    <a:pt x="72278" y="358248"/>
                    <a:pt x="86826" y="349326"/>
                  </a:cubicBezTo>
                  <a:cubicBezTo>
                    <a:pt x="232689" y="258937"/>
                    <a:pt x="387281" y="187945"/>
                    <a:pt x="550407" y="135186"/>
                  </a:cubicBezTo>
                  <a:cubicBezTo>
                    <a:pt x="562045" y="131501"/>
                    <a:pt x="573683" y="127234"/>
                    <a:pt x="585321" y="123160"/>
                  </a:cubicBezTo>
                  <a:close/>
                </a:path>
              </a:pathLst>
            </a:custGeom>
            <a:solidFill>
              <a:srgbClr val="00ABF7"/>
            </a:solidFill>
            <a:ln w="19266" cap="flat">
              <a:noFill/>
              <a:prstDash val="solid"/>
              <a:miter/>
            </a:ln>
          </p:spPr>
          <p:txBody>
            <a:bodyPr rtlCol="0" anchor="ctr"/>
            <a:lstStyle/>
            <a:p>
              <a:endParaRPr lang="es-PE"/>
            </a:p>
          </p:txBody>
        </p:sp>
        <p:sp>
          <p:nvSpPr>
            <p:cNvPr id="37" name="Forma libre: forma 36">
              <a:extLst>
                <a:ext uri="{FF2B5EF4-FFF2-40B4-BE49-F238E27FC236}">
                  <a16:creationId xmlns:a16="http://schemas.microsoft.com/office/drawing/2014/main" id="{59E2C736-9272-EBB5-A5AD-A50A3BEB5761}"/>
                </a:ext>
              </a:extLst>
            </p:cNvPr>
            <p:cNvSpPr/>
            <p:nvPr/>
          </p:nvSpPr>
          <p:spPr>
            <a:xfrm>
              <a:off x="507131" y="5943613"/>
              <a:ext cx="297179" cy="914387"/>
            </a:xfrm>
            <a:custGeom>
              <a:gdLst>
                <a:gd name="connsiteX0" fmla="*/ 76327 w 297179"/>
                <a:gd name="connsiteY0" fmla="*/ 250461 h 914387"/>
                <a:gd name="connsiteX1" fmla="*/ 87189 w 297179"/>
                <a:gd name="connsiteY1" fmla="*/ 213801 h 914387"/>
                <a:gd name="connsiteX2" fmla="*/ 91651 w 297179"/>
                <a:gd name="connsiteY2" fmla="*/ 56494 h 914387"/>
                <a:gd name="connsiteX3" fmla="*/ 107168 w 297179"/>
                <a:gd name="connsiteY3" fmla="*/ 30114 h 914387"/>
                <a:gd name="connsiteX4" fmla="*/ 134323 w 297179"/>
                <a:gd name="connsiteY4" fmla="*/ 56106 h 914387"/>
                <a:gd name="connsiteX5" fmla="*/ 139366 w 297179"/>
                <a:gd name="connsiteY5" fmla="*/ 216128 h 914387"/>
                <a:gd name="connsiteX6" fmla="*/ 149065 w 297179"/>
                <a:gd name="connsiteY6" fmla="*/ 248133 h 914387"/>
                <a:gd name="connsiteX7" fmla="*/ 159733 w 297179"/>
                <a:gd name="connsiteY7" fmla="*/ 208176 h 914387"/>
                <a:gd name="connsiteX8" fmla="*/ 161091 w 297179"/>
                <a:gd name="connsiteY8" fmla="*/ 65028 h 914387"/>
                <a:gd name="connsiteX9" fmla="*/ 161867 w 297179"/>
                <a:gd name="connsiteY9" fmla="*/ 42140 h 914387"/>
                <a:gd name="connsiteX10" fmla="*/ 189798 w 297179"/>
                <a:gd name="connsiteY10" fmla="*/ 20416 h 914387"/>
                <a:gd name="connsiteX11" fmla="*/ 205121 w 297179"/>
                <a:gd name="connsiteY11" fmla="*/ 42916 h 914387"/>
                <a:gd name="connsiteX12" fmla="*/ 208613 w 297179"/>
                <a:gd name="connsiteY12" fmla="*/ 214577 h 914387"/>
                <a:gd name="connsiteX13" fmla="*/ 218699 w 297179"/>
                <a:gd name="connsiteY13" fmla="*/ 245805 h 914387"/>
                <a:gd name="connsiteX14" fmla="*/ 229173 w 297179"/>
                <a:gd name="connsiteY14" fmla="*/ 214965 h 914387"/>
                <a:gd name="connsiteX15" fmla="*/ 234604 w 297179"/>
                <a:gd name="connsiteY15" fmla="*/ 37679 h 914387"/>
                <a:gd name="connsiteX16" fmla="*/ 235574 w 297179"/>
                <a:gd name="connsiteY16" fmla="*/ 20610 h 914387"/>
                <a:gd name="connsiteX17" fmla="*/ 266027 w 297179"/>
                <a:gd name="connsiteY17" fmla="*/ 49 h 914387"/>
                <a:gd name="connsiteX18" fmla="*/ 279217 w 297179"/>
                <a:gd name="connsiteY18" fmla="*/ 20998 h 914387"/>
                <a:gd name="connsiteX19" fmla="*/ 296480 w 297179"/>
                <a:gd name="connsiteY19" fmla="*/ 271991 h 914387"/>
                <a:gd name="connsiteX20" fmla="*/ 245660 w 297179"/>
                <a:gd name="connsiteY20" fmla="*/ 388953 h 914387"/>
                <a:gd name="connsiteX21" fmla="*/ 224518 w 297179"/>
                <a:gd name="connsiteY21" fmla="*/ 403695 h 914387"/>
                <a:gd name="connsiteX22" fmla="*/ 185337 w 297179"/>
                <a:gd name="connsiteY22" fmla="*/ 477984 h 914387"/>
                <a:gd name="connsiteX23" fmla="*/ 222384 w 297179"/>
                <a:gd name="connsiteY23" fmla="*/ 855637 h 914387"/>
                <a:gd name="connsiteX24" fmla="*/ 172535 w 297179"/>
                <a:gd name="connsiteY24" fmla="*/ 914216 h 914387"/>
                <a:gd name="connsiteX25" fmla="*/ 115315 w 297179"/>
                <a:gd name="connsiteY25" fmla="*/ 914216 h 914387"/>
                <a:gd name="connsiteX26" fmla="*/ 73806 w 297179"/>
                <a:gd name="connsiteY26" fmla="*/ 865918 h 914387"/>
                <a:gd name="connsiteX27" fmla="*/ 105228 w 297179"/>
                <a:gd name="connsiteY27" fmla="*/ 668265 h 914387"/>
                <a:gd name="connsiteX28" fmla="*/ 109496 w 297179"/>
                <a:gd name="connsiteY28" fmla="*/ 459557 h 914387"/>
                <a:gd name="connsiteX29" fmla="*/ 82728 w 297179"/>
                <a:gd name="connsiteY29" fmla="*/ 411259 h 914387"/>
                <a:gd name="connsiteX30" fmla="*/ 46068 w 297179"/>
                <a:gd name="connsiteY30" fmla="*/ 383716 h 914387"/>
                <a:gd name="connsiteX31" fmla="*/ 292 w 297179"/>
                <a:gd name="connsiteY31" fmla="*/ 284017 h 914387"/>
                <a:gd name="connsiteX32" fmla="*/ 16779 w 297179"/>
                <a:gd name="connsiteY32" fmla="*/ 50093 h 914387"/>
                <a:gd name="connsiteX33" fmla="*/ 37146 w 297179"/>
                <a:gd name="connsiteY33" fmla="*/ 27205 h 914387"/>
                <a:gd name="connsiteX34" fmla="*/ 64495 w 297179"/>
                <a:gd name="connsiteY34" fmla="*/ 52420 h 914387"/>
                <a:gd name="connsiteX35" fmla="*/ 66047 w 297179"/>
                <a:gd name="connsiteY35" fmla="*/ 204102 h 914387"/>
                <a:gd name="connsiteX36" fmla="*/ 76521 w 297179"/>
                <a:gd name="connsiteY36" fmla="*/ 250073 h 91438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97179" h="914387">
                  <a:moveTo>
                    <a:pt x="76327" y="250461"/>
                  </a:moveTo>
                  <a:cubicBezTo>
                    <a:pt x="90099" y="238823"/>
                    <a:pt x="86801" y="225633"/>
                    <a:pt x="87189" y="213801"/>
                  </a:cubicBezTo>
                  <a:cubicBezTo>
                    <a:pt x="88935" y="161430"/>
                    <a:pt x="90099" y="109059"/>
                    <a:pt x="91651" y="56494"/>
                  </a:cubicBezTo>
                  <a:cubicBezTo>
                    <a:pt x="92039" y="45050"/>
                    <a:pt x="91651" y="32830"/>
                    <a:pt x="107168" y="30114"/>
                  </a:cubicBezTo>
                  <a:cubicBezTo>
                    <a:pt x="127922" y="26817"/>
                    <a:pt x="133935" y="37291"/>
                    <a:pt x="134323" y="56106"/>
                  </a:cubicBezTo>
                  <a:cubicBezTo>
                    <a:pt x="135487" y="109447"/>
                    <a:pt x="137233" y="162788"/>
                    <a:pt x="139366" y="216128"/>
                  </a:cubicBezTo>
                  <a:cubicBezTo>
                    <a:pt x="139754" y="226603"/>
                    <a:pt x="135487" y="239210"/>
                    <a:pt x="149065" y="248133"/>
                  </a:cubicBezTo>
                  <a:cubicBezTo>
                    <a:pt x="160121" y="236495"/>
                    <a:pt x="159539" y="222141"/>
                    <a:pt x="159733" y="208176"/>
                  </a:cubicBezTo>
                  <a:cubicBezTo>
                    <a:pt x="160315" y="160460"/>
                    <a:pt x="160703" y="112744"/>
                    <a:pt x="161091" y="65028"/>
                  </a:cubicBezTo>
                  <a:cubicBezTo>
                    <a:pt x="161091" y="57463"/>
                    <a:pt x="161479" y="49705"/>
                    <a:pt x="161867" y="42140"/>
                  </a:cubicBezTo>
                  <a:cubicBezTo>
                    <a:pt x="162643" y="24101"/>
                    <a:pt x="175832" y="20804"/>
                    <a:pt x="189798" y="20416"/>
                  </a:cubicBezTo>
                  <a:cubicBezTo>
                    <a:pt x="205509" y="19834"/>
                    <a:pt x="204927" y="33218"/>
                    <a:pt x="205121" y="42916"/>
                  </a:cubicBezTo>
                  <a:cubicBezTo>
                    <a:pt x="206673" y="100136"/>
                    <a:pt x="207255" y="157356"/>
                    <a:pt x="208613" y="214577"/>
                  </a:cubicBezTo>
                  <a:cubicBezTo>
                    <a:pt x="209001" y="226021"/>
                    <a:pt x="204733" y="245805"/>
                    <a:pt x="218699" y="245805"/>
                  </a:cubicBezTo>
                  <a:cubicBezTo>
                    <a:pt x="233440" y="245805"/>
                    <a:pt x="228591" y="226215"/>
                    <a:pt x="229173" y="214965"/>
                  </a:cubicBezTo>
                  <a:cubicBezTo>
                    <a:pt x="231501" y="155805"/>
                    <a:pt x="232859" y="96839"/>
                    <a:pt x="234604" y="37679"/>
                  </a:cubicBezTo>
                  <a:cubicBezTo>
                    <a:pt x="234604" y="32054"/>
                    <a:pt x="234604" y="26041"/>
                    <a:pt x="235574" y="20610"/>
                  </a:cubicBezTo>
                  <a:cubicBezTo>
                    <a:pt x="238872" y="3929"/>
                    <a:pt x="252837" y="1019"/>
                    <a:pt x="266027" y="49"/>
                  </a:cubicBezTo>
                  <a:cubicBezTo>
                    <a:pt x="280574" y="-921"/>
                    <a:pt x="278635" y="12657"/>
                    <a:pt x="279217" y="20998"/>
                  </a:cubicBezTo>
                  <a:cubicBezTo>
                    <a:pt x="285036" y="104597"/>
                    <a:pt x="288915" y="188585"/>
                    <a:pt x="296480" y="271991"/>
                  </a:cubicBezTo>
                  <a:cubicBezTo>
                    <a:pt x="300941" y="321840"/>
                    <a:pt x="284066" y="359470"/>
                    <a:pt x="245660" y="388953"/>
                  </a:cubicBezTo>
                  <a:cubicBezTo>
                    <a:pt x="238872" y="394190"/>
                    <a:pt x="231695" y="399039"/>
                    <a:pt x="224518" y="403695"/>
                  </a:cubicBezTo>
                  <a:cubicBezTo>
                    <a:pt x="197363" y="421151"/>
                    <a:pt x="186694" y="445397"/>
                    <a:pt x="185337" y="477984"/>
                  </a:cubicBezTo>
                  <a:cubicBezTo>
                    <a:pt x="179906" y="605808"/>
                    <a:pt x="198332" y="730917"/>
                    <a:pt x="222384" y="855637"/>
                  </a:cubicBezTo>
                  <a:cubicBezTo>
                    <a:pt x="231307" y="901995"/>
                    <a:pt x="220445" y="914022"/>
                    <a:pt x="172535" y="914216"/>
                  </a:cubicBezTo>
                  <a:cubicBezTo>
                    <a:pt x="153526" y="914216"/>
                    <a:pt x="134323" y="914603"/>
                    <a:pt x="115315" y="914216"/>
                  </a:cubicBezTo>
                  <a:cubicBezTo>
                    <a:pt x="80207" y="913440"/>
                    <a:pt x="68569" y="900444"/>
                    <a:pt x="73806" y="865918"/>
                  </a:cubicBezTo>
                  <a:cubicBezTo>
                    <a:pt x="83892" y="799969"/>
                    <a:pt x="96112" y="734408"/>
                    <a:pt x="105228" y="668265"/>
                  </a:cubicBezTo>
                  <a:cubicBezTo>
                    <a:pt x="114733" y="599019"/>
                    <a:pt x="109883" y="529191"/>
                    <a:pt x="109496" y="459557"/>
                  </a:cubicBezTo>
                  <a:cubicBezTo>
                    <a:pt x="109496" y="439578"/>
                    <a:pt x="99603" y="423091"/>
                    <a:pt x="82728" y="411259"/>
                  </a:cubicBezTo>
                  <a:cubicBezTo>
                    <a:pt x="70314" y="402531"/>
                    <a:pt x="58094" y="393220"/>
                    <a:pt x="46068" y="383716"/>
                  </a:cubicBezTo>
                  <a:cubicBezTo>
                    <a:pt x="13870" y="358306"/>
                    <a:pt x="-2423" y="325332"/>
                    <a:pt x="292" y="284017"/>
                  </a:cubicBezTo>
                  <a:cubicBezTo>
                    <a:pt x="5529" y="206042"/>
                    <a:pt x="11348" y="128067"/>
                    <a:pt x="16779" y="50093"/>
                  </a:cubicBezTo>
                  <a:cubicBezTo>
                    <a:pt x="17749" y="36903"/>
                    <a:pt x="18137" y="25265"/>
                    <a:pt x="37146" y="27205"/>
                  </a:cubicBezTo>
                  <a:cubicBezTo>
                    <a:pt x="53633" y="28950"/>
                    <a:pt x="64301" y="33412"/>
                    <a:pt x="64495" y="52420"/>
                  </a:cubicBezTo>
                  <a:cubicBezTo>
                    <a:pt x="64495" y="103046"/>
                    <a:pt x="65465" y="153477"/>
                    <a:pt x="66047" y="204102"/>
                  </a:cubicBezTo>
                  <a:cubicBezTo>
                    <a:pt x="66047" y="219038"/>
                    <a:pt x="65465" y="234361"/>
                    <a:pt x="76521" y="250073"/>
                  </a:cubicBezTo>
                  <a:close/>
                </a:path>
              </a:pathLst>
            </a:custGeom>
            <a:solidFill>
              <a:schemeClr val="bg1">
                <a:lumMod val="65000"/>
              </a:schemeClr>
            </a:solidFill>
            <a:ln w="19266" cap="flat">
              <a:noFill/>
              <a:prstDash val="solid"/>
              <a:miter/>
            </a:ln>
          </p:spPr>
          <p:txBody>
            <a:bodyPr rtlCol="0" anchor="ctr"/>
            <a:lstStyle/>
            <a:p>
              <a:endParaRPr lang="es-PE"/>
            </a:p>
          </p:txBody>
        </p:sp>
      </p:grpSp>
      <p:pic>
        <p:nvPicPr>
          <p:cNvPr id="38" name="Imagen 37">
            <a:extLst>
              <a:ext uri="{FF2B5EF4-FFF2-40B4-BE49-F238E27FC236}">
                <a16:creationId xmlns:a16="http://schemas.microsoft.com/office/drawing/2014/main" id="{56E86D1A-051A-1948-9F1B-52A2DDA5FA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17134" y="3491481"/>
            <a:ext cx="1384685" cy="1384685"/>
          </a:xfrm>
          <a:prstGeom prst="rect">
            <a:avLst/>
          </a:prstGeom>
        </p:spPr>
      </p:pic>
    </p:spTree>
    <p:extLst>
      <p:ext uri="{BB962C8B-B14F-4D97-AF65-F5344CB8AC3E}">
        <p14:creationId xmlns:p14="http://schemas.microsoft.com/office/powerpoint/2010/main" val="65443657"/>
      </p:ext>
    </p:extLst>
  </p:cSld>
  <p:clrMapOvr>
    <a:masterClrMapping/>
  </p:clrMapOvr>
  <p:transition/>
  <p:timing/>
</p:sld>
</file>

<file path=ppt/slides/slide14.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pic>
        <p:nvPicPr>
          <p:cNvPr id="6146" name="Picture 2" descr="Chef cocinando en la cocina mientras lleva ropa profesional">
            <a:extLst>
              <a:ext uri="{FF2B5EF4-FFF2-40B4-BE49-F238E27FC236}">
                <a16:creationId xmlns:a16="http://schemas.microsoft.com/office/drawing/2014/main" id="{18FFCCB8-FF8A-2D6B-1EC0-B7AB8A18A600}"/>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595075" y="1"/>
            <a:ext cx="4649929" cy="6858000"/>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C48D808B-27F2-6A4F-9F15-FD5B8BCE5ADC}"/>
              </a:ext>
            </a:extLst>
          </p:cNvPr>
          <p:cNvSpPr/>
          <p:nvPr/>
        </p:nvSpPr>
        <p:spPr>
          <a:xfrm>
            <a:off x="0" y="2083795"/>
            <a:ext cx="9465220" cy="3395215"/>
          </a:xfrm>
          <a:prstGeom prst="rect">
            <a:avLst/>
          </a:prstGeom>
          <a:gradFill>
            <a:gsLst>
              <a:gs pos="0">
                <a:schemeClr val="tx1">
                  <a:lumMod val="75000"/>
                  <a:lumOff val="25000"/>
                  <a:alpha val="55000"/>
                </a:schemeClr>
              </a:gs>
              <a:gs pos="100000">
                <a:schemeClr val="tx1">
                  <a:lumMod val="95000"/>
                  <a:lumOff val="5000"/>
                  <a:alpha val="26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Rounded Rectangle 17">
            <a:extLst>
              <a:ext uri="{FF2B5EF4-FFF2-40B4-BE49-F238E27FC236}">
                <a16:creationId xmlns:a16="http://schemas.microsoft.com/office/drawing/2014/main" id="{F028263A-FBDB-6247-A6CD-F8B94016805C}"/>
              </a:ext>
            </a:extLst>
          </p:cNvPr>
          <p:cNvSpPr/>
          <p:nvPr/>
        </p:nvSpPr>
        <p:spPr>
          <a:xfrm>
            <a:off x="533400" y="4845634"/>
            <a:ext cx="7929282" cy="633376"/>
          </a:xfrm>
          <a:prstGeom prst="roundRect">
            <a:avLst>
              <a:gd name="adj" fmla="val 24169"/>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Text Placeholder 20">
            <a:extLst>
              <a:ext uri="{FF2B5EF4-FFF2-40B4-BE49-F238E27FC236}">
                <a16:creationId xmlns:a16="http://schemas.microsoft.com/office/drawing/2014/main" id="{E3D5474B-3E47-473E-9A60-840E80D94B06}"/>
              </a:ext>
            </a:extLst>
          </p:cNvPr>
          <p:cNvSpPr>
            <a:spLocks noGrp="1"/>
          </p:cNvSpPr>
          <p:nvPr>
            <p:ph type="body" sz="quarter" idx="4294967295"/>
          </p:nvPr>
        </p:nvSpPr>
        <p:spPr>
          <a:xfrm>
            <a:off x="9863568" y="6462295"/>
            <a:ext cx="1241788" cy="150812"/>
          </a:xfrm>
        </p:spPr>
        <p:txBody>
          <a:bodyPr>
            <a:normAutofit fontScale="25000" lnSpcReduction="20000"/>
          </a:bodyPr>
          <a:lstStyle/>
          <a:p>
            <a:endParaRPr lang="en-ID"/>
          </a:p>
        </p:txBody>
      </p:sp>
      <p:graphicFrame>
        <p:nvGraphicFramePr>
          <p:cNvPr id="3" name="Chart 2">
            <a:extLst>
              <a:ext uri="{FF2B5EF4-FFF2-40B4-BE49-F238E27FC236}">
                <a16:creationId xmlns:a16="http://schemas.microsoft.com/office/drawing/2014/main" id="{1F035596-D77F-DD4C-87D8-C3B8EFAE8A9F}"/>
              </a:ext>
            </a:extLst>
          </p:cNvPr>
          <p:cNvGraphicFramePr/>
          <p:nvPr>
            <p:extLst>
              <p:ext uri="{D42A27DB-BD31-4B8C-83A1-F6EECF244321}">
                <p14:modId xmlns:p14="http://schemas.microsoft.com/office/powerpoint/2010/main" val="2650698232"/>
              </p:ext>
            </p:extLst>
          </p:nvPr>
        </p:nvGraphicFramePr>
        <p:xfrm>
          <a:off x="6615134" y="2028190"/>
          <a:ext cx="5146738" cy="4363364"/>
        </p:xfrm>
        <a:graphic>
          <a:graphicData uri="http://schemas.openxmlformats.org/drawingml/2006/chart">
            <c:chart xmlns:c="http://schemas.openxmlformats.org/drawingml/2006/chart" r:id="rId4"/>
          </a:graphicData>
        </a:graphic>
      </p:graphicFrame>
      <p:sp>
        <p:nvSpPr>
          <p:cNvPr id="17" name="Rectangle 16">
            <a:extLst>
              <a:ext uri="{FF2B5EF4-FFF2-40B4-BE49-F238E27FC236}">
                <a16:creationId xmlns:a16="http://schemas.microsoft.com/office/drawing/2014/main" id="{75369FBD-7B45-F945-BA83-5DC6387D370A}"/>
              </a:ext>
            </a:extLst>
          </p:cNvPr>
          <p:cNvSpPr/>
          <p:nvPr/>
        </p:nvSpPr>
        <p:spPr>
          <a:xfrm>
            <a:off x="839755" y="3358136"/>
            <a:ext cx="5542384" cy="1231106"/>
          </a:xfrm>
          <a:prstGeom prst="rect">
            <a:avLst/>
          </a:prstGeom>
        </p:spPr>
        <p:txBody>
          <a:bodyPr wrap="square" lIns="0" tIns="0" rIns="0" bIns="0">
            <a:spAutoFit/>
          </a:bodyPr>
          <a:lstStyle/>
          <a:p>
            <a:r>
              <a:rPr lang="en-ID" sz="1600">
                <a:solidFill>
                  <a:schemeClr val="bg1"/>
                </a:solidFill>
                <a:latin typeface="Segoe UI Light" panose="020b0502040204020203" pitchFamily="34"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a:t>
            </a:r>
            <a:endParaRPr lang="en-US" sz="1600">
              <a:solidFill>
                <a:schemeClr val="bg1"/>
              </a:solidFill>
              <a:latin typeface="Segoe UI Light" panose="020b0502040204020203" pitchFamily="34" charset="0"/>
            </a:endParaRPr>
          </a:p>
        </p:txBody>
      </p:sp>
      <p:sp>
        <p:nvSpPr>
          <p:cNvPr id="19" name="Oval 18">
            <a:extLst>
              <a:ext uri="{FF2B5EF4-FFF2-40B4-BE49-F238E27FC236}">
                <a16:creationId xmlns:a16="http://schemas.microsoft.com/office/drawing/2014/main" id="{DAD49DF2-A3AC-F24B-80A6-F92C657B1BDD}"/>
              </a:ext>
            </a:extLst>
          </p:cNvPr>
          <p:cNvSpPr/>
          <p:nvPr/>
        </p:nvSpPr>
        <p:spPr>
          <a:xfrm>
            <a:off x="839755" y="5074200"/>
            <a:ext cx="176245" cy="176245"/>
          </a:xfrm>
          <a:prstGeom prst="ellipse">
            <a:avLst/>
          </a:pr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DCC54193-14C1-6844-82A9-3F5F457B5FF8}"/>
              </a:ext>
            </a:extLst>
          </p:cNvPr>
          <p:cNvSpPr/>
          <p:nvPr/>
        </p:nvSpPr>
        <p:spPr>
          <a:xfrm>
            <a:off x="1125871" y="5054600"/>
            <a:ext cx="1107578" cy="215444"/>
          </a:xfrm>
          <a:prstGeom prst="rect">
            <a:avLst/>
          </a:prstGeom>
        </p:spPr>
        <p:txBody>
          <a:bodyPr wrap="square" lIns="0" tIns="0" rIns="0" bIns="0">
            <a:spAutoFit/>
          </a:bodyPr>
          <a:lstStyle/>
          <a:p>
            <a:r>
              <a:rPr lang="en-ID" sz="1400">
                <a:latin typeface="Segoe UI Light" panose="020b0502040204020203" pitchFamily="34" charset="0"/>
              </a:rPr>
              <a:t>Lorem Ipsum</a:t>
            </a:r>
            <a:endParaRPr lang="en-US" sz="1400">
              <a:latin typeface="Segoe UI Light" panose="020b0502040204020203" pitchFamily="34" charset="0"/>
            </a:endParaRPr>
          </a:p>
        </p:txBody>
      </p:sp>
      <p:sp>
        <p:nvSpPr>
          <p:cNvPr id="23" name="Oval 22">
            <a:extLst>
              <a:ext uri="{FF2B5EF4-FFF2-40B4-BE49-F238E27FC236}">
                <a16:creationId xmlns:a16="http://schemas.microsoft.com/office/drawing/2014/main" id="{E58134D2-32DA-D74E-8391-E56349CD2AD5}"/>
              </a:ext>
            </a:extLst>
          </p:cNvPr>
          <p:cNvSpPr/>
          <p:nvPr/>
        </p:nvSpPr>
        <p:spPr>
          <a:xfrm>
            <a:off x="2397510" y="5074200"/>
            <a:ext cx="176245" cy="176245"/>
          </a:xfrm>
          <a:prstGeom prst="ellipse">
            <a:avLst/>
          </a:prstGeom>
          <a:solidFill>
            <a:srgbClr val="00AB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BB98A97B-6F9B-5B4D-AD9A-45FD60A0FD42}"/>
              </a:ext>
            </a:extLst>
          </p:cNvPr>
          <p:cNvSpPr/>
          <p:nvPr/>
        </p:nvSpPr>
        <p:spPr>
          <a:xfrm>
            <a:off x="2683626" y="5054600"/>
            <a:ext cx="1107578" cy="215444"/>
          </a:xfrm>
          <a:prstGeom prst="rect">
            <a:avLst/>
          </a:prstGeom>
        </p:spPr>
        <p:txBody>
          <a:bodyPr wrap="square" lIns="0" tIns="0" rIns="0" bIns="0">
            <a:spAutoFit/>
          </a:bodyPr>
          <a:lstStyle/>
          <a:p>
            <a:r>
              <a:rPr lang="en-ID" sz="1400">
                <a:latin typeface="Segoe UI Light" panose="020b0502040204020203" pitchFamily="34" charset="0"/>
              </a:rPr>
              <a:t>Lorem Ipsum</a:t>
            </a:r>
            <a:endParaRPr lang="en-US" sz="1400">
              <a:latin typeface="Segoe UI Light" panose="020b0502040204020203" pitchFamily="34" charset="0"/>
            </a:endParaRPr>
          </a:p>
        </p:txBody>
      </p:sp>
      <p:sp>
        <p:nvSpPr>
          <p:cNvPr id="26" name="Oval 25">
            <a:extLst>
              <a:ext uri="{FF2B5EF4-FFF2-40B4-BE49-F238E27FC236}">
                <a16:creationId xmlns:a16="http://schemas.microsoft.com/office/drawing/2014/main" id="{73D83ADF-619E-B746-BCE7-CD4B67ABE67F}"/>
              </a:ext>
            </a:extLst>
          </p:cNvPr>
          <p:cNvSpPr/>
          <p:nvPr/>
        </p:nvSpPr>
        <p:spPr>
          <a:xfrm>
            <a:off x="3955265" y="5074200"/>
            <a:ext cx="176245" cy="176245"/>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585F2CDA-2484-A94C-BE0A-0D597B14A683}"/>
              </a:ext>
            </a:extLst>
          </p:cNvPr>
          <p:cNvSpPr/>
          <p:nvPr/>
        </p:nvSpPr>
        <p:spPr>
          <a:xfrm>
            <a:off x="4241381" y="5054600"/>
            <a:ext cx="1107578" cy="215444"/>
          </a:xfrm>
          <a:prstGeom prst="rect">
            <a:avLst/>
          </a:prstGeom>
        </p:spPr>
        <p:txBody>
          <a:bodyPr wrap="square" lIns="0" tIns="0" rIns="0" bIns="0">
            <a:spAutoFit/>
          </a:bodyPr>
          <a:lstStyle/>
          <a:p>
            <a:r>
              <a:rPr lang="en-ID" sz="1400">
                <a:latin typeface="Segoe UI Light" panose="020b0502040204020203" pitchFamily="34" charset="0"/>
              </a:rPr>
              <a:t>Lorem Ipsum</a:t>
            </a:r>
            <a:endParaRPr lang="en-US" sz="1400">
              <a:latin typeface="Segoe UI Light" panose="020b0502040204020203" pitchFamily="34" charset="0"/>
            </a:endParaRPr>
          </a:p>
        </p:txBody>
      </p:sp>
      <p:sp>
        <p:nvSpPr>
          <p:cNvPr id="29" name="Oval 28">
            <a:extLst>
              <a:ext uri="{FF2B5EF4-FFF2-40B4-BE49-F238E27FC236}">
                <a16:creationId xmlns:a16="http://schemas.microsoft.com/office/drawing/2014/main" id="{A8198E86-E18E-BD45-AFC8-9DEB09FFCBB5}"/>
              </a:ext>
            </a:extLst>
          </p:cNvPr>
          <p:cNvSpPr/>
          <p:nvPr/>
        </p:nvSpPr>
        <p:spPr>
          <a:xfrm>
            <a:off x="5513020" y="5074200"/>
            <a:ext cx="176245" cy="176245"/>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47AAAB06-4D86-4348-AE91-DE771D285EE7}"/>
              </a:ext>
            </a:extLst>
          </p:cNvPr>
          <p:cNvSpPr/>
          <p:nvPr/>
        </p:nvSpPr>
        <p:spPr>
          <a:xfrm>
            <a:off x="5799136" y="5054600"/>
            <a:ext cx="1107578" cy="215444"/>
          </a:xfrm>
          <a:prstGeom prst="rect">
            <a:avLst/>
          </a:prstGeom>
        </p:spPr>
        <p:txBody>
          <a:bodyPr wrap="square" lIns="0" tIns="0" rIns="0" bIns="0">
            <a:spAutoFit/>
          </a:bodyPr>
          <a:lstStyle/>
          <a:p>
            <a:r>
              <a:rPr lang="en-ID" sz="1400">
                <a:latin typeface="Segoe UI Light" panose="020b0502040204020203" pitchFamily="34" charset="0"/>
              </a:rPr>
              <a:t>Lorem Ipsum</a:t>
            </a:r>
            <a:endParaRPr lang="en-US" sz="1400">
              <a:latin typeface="Segoe UI Light" panose="020b0502040204020203" pitchFamily="34" charset="0"/>
            </a:endParaRPr>
          </a:p>
        </p:txBody>
      </p:sp>
      <p:sp>
        <p:nvSpPr>
          <p:cNvPr id="31" name="Rectangle 30">
            <a:extLst>
              <a:ext uri="{FF2B5EF4-FFF2-40B4-BE49-F238E27FC236}">
                <a16:creationId xmlns:a16="http://schemas.microsoft.com/office/drawing/2014/main" id="{F8AE5BEE-55F9-904E-BE8D-2973403EDEC2}"/>
              </a:ext>
            </a:extLst>
          </p:cNvPr>
          <p:cNvSpPr/>
          <p:nvPr/>
        </p:nvSpPr>
        <p:spPr>
          <a:xfrm>
            <a:off x="2110253" y="2477439"/>
            <a:ext cx="4271886" cy="369332"/>
          </a:xfrm>
          <a:prstGeom prst="rect">
            <a:avLst/>
          </a:prstGeom>
        </p:spPr>
        <p:txBody>
          <a:bodyPr wrap="square" lIns="0" tIns="0" rIns="0" bIns="0" anchor="t">
            <a:spAutoFit/>
          </a:bodyPr>
          <a:lstStyle/>
          <a:p>
            <a:pPr>
              <a:spcAft>
                <a:spcPts val="600"/>
              </a:spcAft>
            </a:pPr>
            <a:r>
              <a:rPr lang="en-US" sz="2400" b="1">
                <a:solidFill>
                  <a:schemeClr val="bg1"/>
                </a:solidFill>
                <a:latin typeface="Segoe UI" panose="020b0502040204020203" pitchFamily="34" charset="0"/>
                <a:cs typeface="Segoe UI" panose="020b0502040204020203" pitchFamily="34" charset="0"/>
              </a:rPr>
              <a:t>Lorem Ipsum Dolor Sir Amet</a:t>
            </a:r>
          </a:p>
        </p:txBody>
      </p:sp>
      <p:sp>
        <p:nvSpPr>
          <p:cNvPr id="34" name="Freeform 33">
            <a:extLst>
              <a:ext uri="{FF2B5EF4-FFF2-40B4-BE49-F238E27FC236}">
                <a16:creationId xmlns:a16="http://schemas.microsoft.com/office/drawing/2014/main" id="{11A79E26-6D12-DE43-94E1-B69A301195D6}"/>
              </a:ext>
            </a:extLst>
          </p:cNvPr>
          <p:cNvSpPr/>
          <p:nvPr/>
        </p:nvSpPr>
        <p:spPr>
          <a:xfrm>
            <a:off x="839755" y="2085340"/>
            <a:ext cx="848659" cy="1033961"/>
          </a:xfrm>
          <a:custGeom>
            <a:gdLst>
              <a:gd name="connsiteX0" fmla="*/ 0 w 848659"/>
              <a:gd name="connsiteY0" fmla="*/ 0 h 1033961"/>
              <a:gd name="connsiteX1" fmla="*/ 848659 w 848659"/>
              <a:gd name="connsiteY1" fmla="*/ 0 h 1033961"/>
              <a:gd name="connsiteX2" fmla="*/ 848659 w 848659"/>
              <a:gd name="connsiteY2" fmla="*/ 892515 h 1033961"/>
              <a:gd name="connsiteX3" fmla="*/ 707213 w 848659"/>
              <a:gd name="connsiteY3" fmla="*/ 1033961 h 1033961"/>
              <a:gd name="connsiteX4" fmla="*/ 141446 w 848659"/>
              <a:gd name="connsiteY4" fmla="*/ 1033961 h 1033961"/>
              <a:gd name="connsiteX5" fmla="*/ 0 w 848659"/>
              <a:gd name="connsiteY5" fmla="*/ 892515 h 1033961"/>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8658" h="1033961">
                <a:moveTo>
                  <a:pt x="0" y="0"/>
                </a:moveTo>
                <a:lnTo>
                  <a:pt x="848659" y="0"/>
                </a:lnTo>
                <a:lnTo>
                  <a:pt x="848659" y="892515"/>
                </a:lnTo>
                <a:cubicBezTo>
                  <a:pt x="848659" y="970633"/>
                  <a:pt x="785331" y="1033961"/>
                  <a:pt x="707213" y="1033961"/>
                </a:cubicBezTo>
                <a:lnTo>
                  <a:pt x="141446" y="1033961"/>
                </a:lnTo>
                <a:cubicBezTo>
                  <a:pt x="63328" y="1033961"/>
                  <a:pt x="0" y="970633"/>
                  <a:pt x="0" y="892515"/>
                </a:cubicBezTo>
                <a:close/>
              </a:path>
            </a:pathLst>
          </a:custGeom>
          <a:solidFill>
            <a:srgbClr val="00ABF7"/>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35" name="Group 34">
            <a:extLst>
              <a:ext uri="{FF2B5EF4-FFF2-40B4-BE49-F238E27FC236}">
                <a16:creationId xmlns:a16="http://schemas.microsoft.com/office/drawing/2014/main" id="{AE7205C2-8705-014C-B669-481449310EC7}"/>
              </a:ext>
            </a:extLst>
          </p:cNvPr>
          <p:cNvGrpSpPr/>
          <p:nvPr/>
        </p:nvGrpSpPr>
        <p:grpSpPr>
          <a:xfrm>
            <a:off x="1083648" y="2375132"/>
            <a:ext cx="360873" cy="508808"/>
            <a:chOff x="7778750" y="2887663"/>
            <a:chExt cx="255588" cy="360363"/>
          </a:xfrm>
          <a:solidFill>
            <a:schemeClr val="bg1"/>
          </a:solidFill>
        </p:grpSpPr>
        <p:sp>
          <p:nvSpPr>
            <p:cNvPr id="36" name="Freeform 1306">
              <a:extLst>
                <a:ext uri="{FF2B5EF4-FFF2-40B4-BE49-F238E27FC236}">
                  <a16:creationId xmlns:a16="http://schemas.microsoft.com/office/drawing/2014/main" id="{52EE5CCD-CCAE-4B47-8DA3-D073E019679C}"/>
                </a:ext>
              </a:extLst>
            </p:cNvPr>
            <p:cNvSpPr>
              <a:spLocks noEditPoints="1"/>
            </p:cNvSpPr>
            <p:nvPr/>
          </p:nvSpPr>
          <p:spPr bwMode="auto">
            <a:xfrm>
              <a:off x="7778750" y="2887663"/>
              <a:ext cx="255588" cy="360363"/>
            </a:xfrm>
            <a:custGeom>
              <a:gdLst>
                <a:gd name="T0" fmla="*/ 62 w 68"/>
                <a:gd name="T1" fmla="*/ 96 h 96"/>
                <a:gd name="T2" fmla="*/ 6 w 68"/>
                <a:gd name="T3" fmla="*/ 96 h 96"/>
                <a:gd name="T4" fmla="*/ 0 w 68"/>
                <a:gd name="T5" fmla="*/ 90 h 96"/>
                <a:gd name="T6" fmla="*/ 0 w 68"/>
                <a:gd name="T7" fmla="*/ 6 h 96"/>
                <a:gd name="T8" fmla="*/ 6 w 68"/>
                <a:gd name="T9" fmla="*/ 0 h 96"/>
                <a:gd name="T10" fmla="*/ 62 w 68"/>
                <a:gd name="T11" fmla="*/ 0 h 96"/>
                <a:gd name="T12" fmla="*/ 68 w 68"/>
                <a:gd name="T13" fmla="*/ 6 h 96"/>
                <a:gd name="T14" fmla="*/ 68 w 68"/>
                <a:gd name="T15" fmla="*/ 90 h 96"/>
                <a:gd name="T16" fmla="*/ 62 w 68"/>
                <a:gd name="T17" fmla="*/ 96 h 96"/>
                <a:gd name="T18" fmla="*/ 6 w 68"/>
                <a:gd name="T19" fmla="*/ 4 h 96"/>
                <a:gd name="T20" fmla="*/ 4 w 68"/>
                <a:gd name="T21" fmla="*/ 6 h 96"/>
                <a:gd name="T22" fmla="*/ 4 w 68"/>
                <a:gd name="T23" fmla="*/ 90 h 96"/>
                <a:gd name="T24" fmla="*/ 6 w 68"/>
                <a:gd name="T25" fmla="*/ 92 h 96"/>
                <a:gd name="T26" fmla="*/ 62 w 68"/>
                <a:gd name="T27" fmla="*/ 92 h 96"/>
                <a:gd name="T28" fmla="*/ 64 w 68"/>
                <a:gd name="T29" fmla="*/ 90 h 96"/>
                <a:gd name="T30" fmla="*/ 64 w 68"/>
                <a:gd name="T31" fmla="*/ 6 h 96"/>
                <a:gd name="T32" fmla="*/ 62 w 68"/>
                <a:gd name="T33" fmla="*/ 4 h 96"/>
                <a:gd name="T34" fmla="*/ 6 w 68"/>
                <a:gd name="T35" fmla="*/ 4 h 9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8" h="96">
                  <a:moveTo>
                    <a:pt x="62" y="96"/>
                  </a:moveTo>
                  <a:cubicBezTo>
                    <a:pt x="6" y="96"/>
                    <a:pt x="6" y="96"/>
                    <a:pt x="6" y="96"/>
                  </a:cubicBezTo>
                  <a:cubicBezTo>
                    <a:pt x="3" y="96"/>
                    <a:pt x="0" y="93"/>
                    <a:pt x="0" y="90"/>
                  </a:cubicBezTo>
                  <a:cubicBezTo>
                    <a:pt x="0" y="6"/>
                    <a:pt x="0" y="6"/>
                    <a:pt x="0" y="6"/>
                  </a:cubicBezTo>
                  <a:cubicBezTo>
                    <a:pt x="0" y="3"/>
                    <a:pt x="3" y="0"/>
                    <a:pt x="6" y="0"/>
                  </a:cubicBezTo>
                  <a:cubicBezTo>
                    <a:pt x="62" y="0"/>
                    <a:pt x="62" y="0"/>
                    <a:pt x="62" y="0"/>
                  </a:cubicBezTo>
                  <a:cubicBezTo>
                    <a:pt x="65" y="0"/>
                    <a:pt x="68" y="3"/>
                    <a:pt x="68" y="6"/>
                  </a:cubicBezTo>
                  <a:cubicBezTo>
                    <a:pt x="68" y="90"/>
                    <a:pt x="68" y="90"/>
                    <a:pt x="68" y="90"/>
                  </a:cubicBezTo>
                  <a:cubicBezTo>
                    <a:pt x="68" y="93"/>
                    <a:pt x="65" y="96"/>
                    <a:pt x="62" y="96"/>
                  </a:cubicBezTo>
                  <a:close/>
                  <a:moveTo>
                    <a:pt x="6" y="4"/>
                  </a:moveTo>
                  <a:cubicBezTo>
                    <a:pt x="5" y="4"/>
                    <a:pt x="4" y="5"/>
                    <a:pt x="4" y="6"/>
                  </a:cubicBezTo>
                  <a:cubicBezTo>
                    <a:pt x="4" y="90"/>
                    <a:pt x="4" y="90"/>
                    <a:pt x="4" y="90"/>
                  </a:cubicBezTo>
                  <a:cubicBezTo>
                    <a:pt x="4" y="91"/>
                    <a:pt x="5" y="92"/>
                    <a:pt x="6" y="92"/>
                  </a:cubicBezTo>
                  <a:cubicBezTo>
                    <a:pt x="62" y="92"/>
                    <a:pt x="62" y="92"/>
                    <a:pt x="62" y="92"/>
                  </a:cubicBezTo>
                  <a:cubicBezTo>
                    <a:pt x="63" y="92"/>
                    <a:pt x="64" y="91"/>
                    <a:pt x="64" y="90"/>
                  </a:cubicBezTo>
                  <a:cubicBezTo>
                    <a:pt x="64" y="6"/>
                    <a:pt x="64" y="6"/>
                    <a:pt x="64" y="6"/>
                  </a:cubicBezTo>
                  <a:cubicBezTo>
                    <a:pt x="64" y="5"/>
                    <a:pt x="63" y="4"/>
                    <a:pt x="62" y="4"/>
                  </a:cubicBezTo>
                  <a:lnTo>
                    <a:pt x="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1307">
              <a:extLst>
                <a:ext uri="{FF2B5EF4-FFF2-40B4-BE49-F238E27FC236}">
                  <a16:creationId xmlns:a16="http://schemas.microsoft.com/office/drawing/2014/main" id="{7B34C96E-B87B-5943-8404-EAD30A1417BF}"/>
                </a:ext>
              </a:extLst>
            </p:cNvPr>
            <p:cNvSpPr>
              <a:spLocks noEditPoints="1"/>
            </p:cNvSpPr>
            <p:nvPr/>
          </p:nvSpPr>
          <p:spPr bwMode="auto">
            <a:xfrm>
              <a:off x="7808913" y="2917825"/>
              <a:ext cx="195263" cy="90488"/>
            </a:xfrm>
            <a:custGeom>
              <a:gdLst>
                <a:gd name="T0" fmla="*/ 50 w 52"/>
                <a:gd name="T1" fmla="*/ 24 h 24"/>
                <a:gd name="T2" fmla="*/ 2 w 52"/>
                <a:gd name="T3" fmla="*/ 24 h 24"/>
                <a:gd name="T4" fmla="*/ 0 w 52"/>
                <a:gd name="T5" fmla="*/ 22 h 24"/>
                <a:gd name="T6" fmla="*/ 0 w 52"/>
                <a:gd name="T7" fmla="*/ 2 h 24"/>
                <a:gd name="T8" fmla="*/ 2 w 52"/>
                <a:gd name="T9" fmla="*/ 0 h 24"/>
                <a:gd name="T10" fmla="*/ 50 w 52"/>
                <a:gd name="T11" fmla="*/ 0 h 24"/>
                <a:gd name="T12" fmla="*/ 52 w 52"/>
                <a:gd name="T13" fmla="*/ 2 h 24"/>
                <a:gd name="T14" fmla="*/ 52 w 52"/>
                <a:gd name="T15" fmla="*/ 22 h 24"/>
                <a:gd name="T16" fmla="*/ 50 w 52"/>
                <a:gd name="T17" fmla="*/ 24 h 24"/>
                <a:gd name="T18" fmla="*/ 4 w 52"/>
                <a:gd name="T19" fmla="*/ 20 h 24"/>
                <a:gd name="T20" fmla="*/ 48 w 52"/>
                <a:gd name="T21" fmla="*/ 20 h 24"/>
                <a:gd name="T22" fmla="*/ 48 w 52"/>
                <a:gd name="T23" fmla="*/ 4 h 24"/>
                <a:gd name="T24" fmla="*/ 4 w 52"/>
                <a:gd name="T25" fmla="*/ 4 h 24"/>
                <a:gd name="T26" fmla="*/ 4 w 52"/>
                <a:gd name="T27" fmla="*/ 20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24">
                  <a:moveTo>
                    <a:pt x="50" y="24"/>
                  </a:moveTo>
                  <a:cubicBezTo>
                    <a:pt x="2" y="24"/>
                    <a:pt x="2" y="24"/>
                    <a:pt x="2" y="24"/>
                  </a:cubicBezTo>
                  <a:cubicBezTo>
                    <a:pt x="1" y="24"/>
                    <a:pt x="0" y="23"/>
                    <a:pt x="0" y="22"/>
                  </a:cubicBezTo>
                  <a:cubicBezTo>
                    <a:pt x="0" y="2"/>
                    <a:pt x="0" y="2"/>
                    <a:pt x="0" y="2"/>
                  </a:cubicBezTo>
                  <a:cubicBezTo>
                    <a:pt x="0" y="1"/>
                    <a:pt x="1" y="0"/>
                    <a:pt x="2" y="0"/>
                  </a:cubicBezTo>
                  <a:cubicBezTo>
                    <a:pt x="50" y="0"/>
                    <a:pt x="50" y="0"/>
                    <a:pt x="50" y="0"/>
                  </a:cubicBezTo>
                  <a:cubicBezTo>
                    <a:pt x="51" y="0"/>
                    <a:pt x="52" y="1"/>
                    <a:pt x="52" y="2"/>
                  </a:cubicBezTo>
                  <a:cubicBezTo>
                    <a:pt x="52" y="22"/>
                    <a:pt x="52" y="22"/>
                    <a:pt x="52" y="22"/>
                  </a:cubicBezTo>
                  <a:cubicBezTo>
                    <a:pt x="52" y="23"/>
                    <a:pt x="51" y="24"/>
                    <a:pt x="50" y="24"/>
                  </a:cubicBezTo>
                  <a:close/>
                  <a:moveTo>
                    <a:pt x="4" y="20"/>
                  </a:moveTo>
                  <a:cubicBezTo>
                    <a:pt x="48" y="20"/>
                    <a:pt x="48" y="20"/>
                    <a:pt x="48" y="20"/>
                  </a:cubicBezTo>
                  <a:cubicBezTo>
                    <a:pt x="48" y="4"/>
                    <a:pt x="48" y="4"/>
                    <a:pt x="48" y="4"/>
                  </a:cubicBezTo>
                  <a:cubicBezTo>
                    <a:pt x="4" y="4"/>
                    <a:pt x="4" y="4"/>
                    <a:pt x="4" y="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1308">
              <a:extLst>
                <a:ext uri="{FF2B5EF4-FFF2-40B4-BE49-F238E27FC236}">
                  <a16:creationId xmlns:a16="http://schemas.microsoft.com/office/drawing/2014/main" id="{71140449-BAD3-1C40-85F8-6DB8B86B1E9B}"/>
                </a:ext>
              </a:extLst>
            </p:cNvPr>
            <p:cNvSpPr/>
            <p:nvPr/>
          </p:nvSpPr>
          <p:spPr bwMode="auto">
            <a:xfrm>
              <a:off x="7959725" y="2947988"/>
              <a:ext cx="14288" cy="30163"/>
            </a:xfrm>
            <a:custGeom>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1309">
              <a:extLst>
                <a:ext uri="{FF2B5EF4-FFF2-40B4-BE49-F238E27FC236}">
                  <a16:creationId xmlns:a16="http://schemas.microsoft.com/office/drawing/2014/main" id="{6675F2CB-DAF0-9A41-95CA-2CEB903A5D17}"/>
                </a:ext>
              </a:extLst>
            </p:cNvPr>
            <p:cNvSpPr/>
            <p:nvPr/>
          </p:nvSpPr>
          <p:spPr bwMode="auto">
            <a:xfrm>
              <a:off x="7824788" y="3052763"/>
              <a:ext cx="28575" cy="15875"/>
            </a:xfrm>
            <a:custGeom>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1310">
              <a:extLst>
                <a:ext uri="{FF2B5EF4-FFF2-40B4-BE49-F238E27FC236}">
                  <a16:creationId xmlns:a16="http://schemas.microsoft.com/office/drawing/2014/main" id="{2943100E-3200-BB40-B1A3-6A9661B33672}"/>
                </a:ext>
              </a:extLst>
            </p:cNvPr>
            <p:cNvSpPr/>
            <p:nvPr/>
          </p:nvSpPr>
          <p:spPr bwMode="auto">
            <a:xfrm>
              <a:off x="7869238" y="3052763"/>
              <a:ext cx="30163" cy="15875"/>
            </a:xfrm>
            <a:custGeom>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1" name="Freeform 1311">
              <a:extLst>
                <a:ext uri="{FF2B5EF4-FFF2-40B4-BE49-F238E27FC236}">
                  <a16:creationId xmlns:a16="http://schemas.microsoft.com/office/drawing/2014/main" id="{CEDFEDD6-C993-D547-942A-5850F2A52050}"/>
                </a:ext>
              </a:extLst>
            </p:cNvPr>
            <p:cNvSpPr/>
            <p:nvPr/>
          </p:nvSpPr>
          <p:spPr bwMode="auto">
            <a:xfrm>
              <a:off x="7913688" y="3052763"/>
              <a:ext cx="30163" cy="15875"/>
            </a:xfrm>
            <a:custGeom>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Freeform 1312">
              <a:extLst>
                <a:ext uri="{FF2B5EF4-FFF2-40B4-BE49-F238E27FC236}">
                  <a16:creationId xmlns:a16="http://schemas.microsoft.com/office/drawing/2014/main" id="{36393326-8577-014B-9E31-02C3CE7B76DF}"/>
                </a:ext>
              </a:extLst>
            </p:cNvPr>
            <p:cNvSpPr/>
            <p:nvPr/>
          </p:nvSpPr>
          <p:spPr bwMode="auto">
            <a:xfrm>
              <a:off x="7959725" y="3052763"/>
              <a:ext cx="30163" cy="15875"/>
            </a:xfrm>
            <a:custGeom>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1313">
              <a:extLst>
                <a:ext uri="{FF2B5EF4-FFF2-40B4-BE49-F238E27FC236}">
                  <a16:creationId xmlns:a16="http://schemas.microsoft.com/office/drawing/2014/main" id="{F5955039-3AD8-4147-BD78-F7A02A55ECFC}"/>
                </a:ext>
              </a:extLst>
            </p:cNvPr>
            <p:cNvSpPr/>
            <p:nvPr/>
          </p:nvSpPr>
          <p:spPr bwMode="auto">
            <a:xfrm>
              <a:off x="7824788" y="3098800"/>
              <a:ext cx="28575" cy="14288"/>
            </a:xfrm>
            <a:custGeom>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4" name="Freeform 1314">
              <a:extLst>
                <a:ext uri="{FF2B5EF4-FFF2-40B4-BE49-F238E27FC236}">
                  <a16:creationId xmlns:a16="http://schemas.microsoft.com/office/drawing/2014/main" id="{6DD86E5F-45D9-854F-B68A-C2242BD3268D}"/>
                </a:ext>
              </a:extLst>
            </p:cNvPr>
            <p:cNvSpPr/>
            <p:nvPr/>
          </p:nvSpPr>
          <p:spPr bwMode="auto">
            <a:xfrm>
              <a:off x="7869238" y="3098800"/>
              <a:ext cx="30163" cy="14288"/>
            </a:xfrm>
            <a:custGeom>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5" name="Freeform 1315">
              <a:extLst>
                <a:ext uri="{FF2B5EF4-FFF2-40B4-BE49-F238E27FC236}">
                  <a16:creationId xmlns:a16="http://schemas.microsoft.com/office/drawing/2014/main" id="{6A8724A4-8509-7345-8A90-8451D82E23E3}"/>
                </a:ext>
              </a:extLst>
            </p:cNvPr>
            <p:cNvSpPr/>
            <p:nvPr/>
          </p:nvSpPr>
          <p:spPr bwMode="auto">
            <a:xfrm>
              <a:off x="7913688" y="3098800"/>
              <a:ext cx="30163" cy="14288"/>
            </a:xfrm>
            <a:custGeom>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 name="Freeform 1316">
              <a:extLst>
                <a:ext uri="{FF2B5EF4-FFF2-40B4-BE49-F238E27FC236}">
                  <a16:creationId xmlns:a16="http://schemas.microsoft.com/office/drawing/2014/main" id="{AF1EC607-F4D9-A74A-BF53-A121BC290998}"/>
                </a:ext>
              </a:extLst>
            </p:cNvPr>
            <p:cNvSpPr/>
            <p:nvPr/>
          </p:nvSpPr>
          <p:spPr bwMode="auto">
            <a:xfrm>
              <a:off x="7959725" y="3098800"/>
              <a:ext cx="30163" cy="14288"/>
            </a:xfrm>
            <a:custGeom>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 name="Freeform 1317">
              <a:extLst>
                <a:ext uri="{FF2B5EF4-FFF2-40B4-BE49-F238E27FC236}">
                  <a16:creationId xmlns:a16="http://schemas.microsoft.com/office/drawing/2014/main" id="{77D5FC99-BF25-2D44-BB00-2643AD23E9F0}"/>
                </a:ext>
              </a:extLst>
            </p:cNvPr>
            <p:cNvSpPr/>
            <p:nvPr/>
          </p:nvSpPr>
          <p:spPr bwMode="auto">
            <a:xfrm>
              <a:off x="7824788" y="3143250"/>
              <a:ext cx="28575" cy="15875"/>
            </a:xfrm>
            <a:custGeom>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8" name="Freeform 1318">
              <a:extLst>
                <a:ext uri="{FF2B5EF4-FFF2-40B4-BE49-F238E27FC236}">
                  <a16:creationId xmlns:a16="http://schemas.microsoft.com/office/drawing/2014/main" id="{3407DD70-A0C0-3B4D-AB05-9FE405BD92A3}"/>
                </a:ext>
              </a:extLst>
            </p:cNvPr>
            <p:cNvSpPr/>
            <p:nvPr/>
          </p:nvSpPr>
          <p:spPr bwMode="auto">
            <a:xfrm>
              <a:off x="7869238" y="3143250"/>
              <a:ext cx="30163" cy="15875"/>
            </a:xfrm>
            <a:custGeom>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9" name="Freeform 1319">
              <a:extLst>
                <a:ext uri="{FF2B5EF4-FFF2-40B4-BE49-F238E27FC236}">
                  <a16:creationId xmlns:a16="http://schemas.microsoft.com/office/drawing/2014/main" id="{418C40D1-5F9E-5C4E-81F2-9206269A86DA}"/>
                </a:ext>
              </a:extLst>
            </p:cNvPr>
            <p:cNvSpPr/>
            <p:nvPr/>
          </p:nvSpPr>
          <p:spPr bwMode="auto">
            <a:xfrm>
              <a:off x="7913688" y="3143250"/>
              <a:ext cx="30163" cy="15875"/>
            </a:xfrm>
            <a:custGeom>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0" name="Freeform 1320">
              <a:extLst>
                <a:ext uri="{FF2B5EF4-FFF2-40B4-BE49-F238E27FC236}">
                  <a16:creationId xmlns:a16="http://schemas.microsoft.com/office/drawing/2014/main" id="{53801EA4-4783-3E4B-B4DE-1AC1AF373B86}"/>
                </a:ext>
              </a:extLst>
            </p:cNvPr>
            <p:cNvSpPr/>
            <p:nvPr/>
          </p:nvSpPr>
          <p:spPr bwMode="auto">
            <a:xfrm>
              <a:off x="7959725" y="3143250"/>
              <a:ext cx="30163" cy="15875"/>
            </a:xfrm>
            <a:custGeom>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1" name="Freeform 1321">
              <a:extLst>
                <a:ext uri="{FF2B5EF4-FFF2-40B4-BE49-F238E27FC236}">
                  <a16:creationId xmlns:a16="http://schemas.microsoft.com/office/drawing/2014/main" id="{B2D86A9B-D111-914E-938B-E0E49611D00C}"/>
                </a:ext>
              </a:extLst>
            </p:cNvPr>
            <p:cNvSpPr/>
            <p:nvPr/>
          </p:nvSpPr>
          <p:spPr bwMode="auto">
            <a:xfrm>
              <a:off x="7824788" y="3189288"/>
              <a:ext cx="28575" cy="14288"/>
            </a:xfrm>
            <a:custGeom>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2" name="Freeform 1322">
              <a:extLst>
                <a:ext uri="{FF2B5EF4-FFF2-40B4-BE49-F238E27FC236}">
                  <a16:creationId xmlns:a16="http://schemas.microsoft.com/office/drawing/2014/main" id="{42139672-7FAF-8D48-BBAB-E5EC687D6CE2}"/>
                </a:ext>
              </a:extLst>
            </p:cNvPr>
            <p:cNvSpPr/>
            <p:nvPr/>
          </p:nvSpPr>
          <p:spPr bwMode="auto">
            <a:xfrm>
              <a:off x="7869238" y="3189288"/>
              <a:ext cx="30163" cy="14288"/>
            </a:xfrm>
            <a:custGeom>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3" name="Freeform 1323">
              <a:extLst>
                <a:ext uri="{FF2B5EF4-FFF2-40B4-BE49-F238E27FC236}">
                  <a16:creationId xmlns:a16="http://schemas.microsoft.com/office/drawing/2014/main" id="{26AC7CEA-DACB-EB4C-8CE0-243B02DC5D05}"/>
                </a:ext>
              </a:extLst>
            </p:cNvPr>
            <p:cNvSpPr/>
            <p:nvPr/>
          </p:nvSpPr>
          <p:spPr bwMode="auto">
            <a:xfrm>
              <a:off x="7913688" y="3189288"/>
              <a:ext cx="76200" cy="14288"/>
            </a:xfrm>
            <a:custGeom>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6" name="TextBox 9">
            <a:extLst>
              <a:ext uri="{FF2B5EF4-FFF2-40B4-BE49-F238E27FC236}">
                <a16:creationId xmlns:a16="http://schemas.microsoft.com/office/drawing/2014/main" id="{A1FE43C2-EE30-85EC-8FB1-DA6F2658408D}"/>
              </a:ext>
            </a:extLst>
          </p:cNvPr>
          <p:cNvSpPr txBox="1"/>
          <p:nvPr/>
        </p:nvSpPr>
        <p:spPr>
          <a:xfrm>
            <a:off x="1381760" y="321623"/>
            <a:ext cx="3876061" cy="923330"/>
          </a:xfrm>
          <a:prstGeom prst="rect">
            <a:avLst/>
          </a:prstGeom>
          <a:noFill/>
        </p:spPr>
        <p:txBody>
          <a:bodyPr wrap="none" lIns="0" tIns="0" rIns="0" bIns="0" rtlCol="0">
            <a:spAutoFit/>
          </a:bodyPr>
          <a:lstStyle/>
          <a:p>
            <a:r>
              <a:rPr lang="en-US" sz="6000" b="1">
                <a:solidFill>
                  <a:schemeClr val="tx1">
                    <a:lumMod val="65000"/>
                    <a:lumOff val="35000"/>
                  </a:schemeClr>
                </a:solidFill>
                <a:latin typeface="Segoe UI" panose="020b0502040204020203" pitchFamily="34" charset="0"/>
                <a:cs typeface="Segoe UI" panose="020b0502040204020203" pitchFamily="34" charset="0"/>
              </a:rPr>
              <a:t>BAHAMAS</a:t>
            </a:r>
          </a:p>
        </p:txBody>
      </p:sp>
      <p:sp>
        <p:nvSpPr>
          <p:cNvPr id="7" name="TextBox 9">
            <a:extLst>
              <a:ext uri="{FF2B5EF4-FFF2-40B4-BE49-F238E27FC236}">
                <a16:creationId xmlns:a16="http://schemas.microsoft.com/office/drawing/2014/main" id="{BFCFCBC7-F6C0-8306-3C5E-3D5ACD4F0158}"/>
              </a:ext>
            </a:extLst>
          </p:cNvPr>
          <p:cNvSpPr txBox="1"/>
          <p:nvPr/>
        </p:nvSpPr>
        <p:spPr>
          <a:xfrm>
            <a:off x="1381760" y="1089833"/>
            <a:ext cx="2068067" cy="430887"/>
          </a:xfrm>
          <a:prstGeom prst="rect">
            <a:avLst/>
          </a:prstGeom>
          <a:noFill/>
        </p:spPr>
        <p:txBody>
          <a:bodyPr wrap="none" lIns="0" tIns="0" rIns="0" bIns="0" rtlCol="0">
            <a:spAutoFit/>
          </a:bodyPr>
          <a:lstStyle/>
          <a:p>
            <a:pPr algn="ctr"/>
            <a:r>
              <a:rPr lang="en-US" sz="2800" b="1">
                <a:solidFill>
                  <a:srgbClr val="02BAC8"/>
                </a:solidFill>
                <a:latin typeface="Segoe UI" panose="020b0502040204020203" pitchFamily="34" charset="0"/>
                <a:cs typeface="Segoe UI" panose="020b0502040204020203" pitchFamily="34" charset="0"/>
              </a:rPr>
              <a:t>Gastronomy</a:t>
            </a:r>
          </a:p>
        </p:txBody>
      </p:sp>
      <p:grpSp>
        <p:nvGrpSpPr>
          <p:cNvPr id="8" name="Grupo 7">
            <a:extLst>
              <a:ext uri="{FF2B5EF4-FFF2-40B4-BE49-F238E27FC236}">
                <a16:creationId xmlns:a16="http://schemas.microsoft.com/office/drawing/2014/main" id="{D098DD62-1969-F8EC-C0E1-D07946E731FA}"/>
              </a:ext>
            </a:extLst>
          </p:cNvPr>
          <p:cNvGrpSpPr/>
          <p:nvPr/>
        </p:nvGrpSpPr>
        <p:grpSpPr>
          <a:xfrm>
            <a:off x="687651" y="175541"/>
            <a:ext cx="792527" cy="1306401"/>
            <a:chOff x="283851" y="5461857"/>
            <a:chExt cx="846969" cy="1396143"/>
          </a:xfrm>
          <a:solidFill>
            <a:srgbClr val="06DBE7"/>
          </a:solidFill>
        </p:grpSpPr>
        <p:sp>
          <p:nvSpPr>
            <p:cNvPr id="9" name="Forma libre: forma 8">
              <a:extLst>
                <a:ext uri="{FF2B5EF4-FFF2-40B4-BE49-F238E27FC236}">
                  <a16:creationId xmlns:a16="http://schemas.microsoft.com/office/drawing/2014/main" id="{B182B2FD-FCC9-0D9C-846C-81A50519F00E}"/>
                </a:ext>
              </a:extLst>
            </p:cNvPr>
            <p:cNvSpPr/>
            <p:nvPr/>
          </p:nvSpPr>
          <p:spPr>
            <a:xfrm>
              <a:off x="283851" y="5461857"/>
              <a:ext cx="846969" cy="468186"/>
            </a:xfrm>
            <a:custGeom>
              <a:gdLst>
                <a:gd name="connsiteX0" fmla="*/ 585515 w 846969"/>
                <a:gd name="connsiteY0" fmla="*/ 123160 h 468186"/>
                <a:gd name="connsiteX1" fmla="*/ 374091 w 846969"/>
                <a:gd name="connsiteY1" fmla="*/ 150510 h 468186"/>
                <a:gd name="connsiteX2" fmla="*/ 58700 w 846969"/>
                <a:gd name="connsiteY2" fmla="*/ 260683 h 468186"/>
                <a:gd name="connsiteX3" fmla="*/ 7105 w 846969"/>
                <a:gd name="connsiteY3" fmla="*/ 260683 h 468186"/>
                <a:gd name="connsiteX4" fmla="*/ 14476 w 846969"/>
                <a:gd name="connsiteY4" fmla="*/ 205208 h 468186"/>
                <a:gd name="connsiteX5" fmla="*/ 215232 w 846969"/>
                <a:gd name="connsiteY5" fmla="*/ 41694 h 468186"/>
                <a:gd name="connsiteX6" fmla="*/ 547303 w 846969"/>
                <a:gd name="connsiteY6" fmla="*/ 4259 h 468186"/>
                <a:gd name="connsiteX7" fmla="*/ 805280 w 846969"/>
                <a:gd name="connsiteY7" fmla="*/ 54302 h 468186"/>
                <a:gd name="connsiteX8" fmla="*/ 846788 w 846969"/>
                <a:gd name="connsiteY8" fmla="*/ 87470 h 468186"/>
                <a:gd name="connsiteX9" fmla="*/ 815366 w 846969"/>
                <a:gd name="connsiteY9" fmla="*/ 131307 h 468186"/>
                <a:gd name="connsiteX10" fmla="*/ 705968 w 846969"/>
                <a:gd name="connsiteY10" fmla="*/ 242644 h 468186"/>
                <a:gd name="connsiteX11" fmla="*/ 376612 w 846969"/>
                <a:gd name="connsiteY11" fmla="*/ 464348 h 468186"/>
                <a:gd name="connsiteX12" fmla="*/ 89735 w 846969"/>
                <a:gd name="connsiteY12" fmla="*/ 417990 h 468186"/>
                <a:gd name="connsiteX13" fmla="*/ 60058 w 846969"/>
                <a:gd name="connsiteY13" fmla="*/ 386762 h 468186"/>
                <a:gd name="connsiteX14" fmla="*/ 86826 w 846969"/>
                <a:gd name="connsiteY14" fmla="*/ 349326 h 468186"/>
                <a:gd name="connsiteX15" fmla="*/ 550407 w 846969"/>
                <a:gd name="connsiteY15" fmla="*/ 135186 h 468186"/>
                <a:gd name="connsiteX16" fmla="*/ 585321 w 846969"/>
                <a:gd name="connsiteY16" fmla="*/ 123160 h 46818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46969" h="468186">
                  <a:moveTo>
                    <a:pt x="585515" y="123160"/>
                  </a:moveTo>
                  <a:cubicBezTo>
                    <a:pt x="513747" y="122191"/>
                    <a:pt x="443531" y="133829"/>
                    <a:pt x="374091" y="150510"/>
                  </a:cubicBezTo>
                  <a:cubicBezTo>
                    <a:pt x="265275" y="176501"/>
                    <a:pt x="159757" y="212385"/>
                    <a:pt x="58700" y="260683"/>
                  </a:cubicBezTo>
                  <a:cubicBezTo>
                    <a:pt x="41631" y="268830"/>
                    <a:pt x="22816" y="281050"/>
                    <a:pt x="7105" y="260683"/>
                  </a:cubicBezTo>
                  <a:cubicBezTo>
                    <a:pt x="-7636" y="241480"/>
                    <a:pt x="3420" y="222278"/>
                    <a:pt x="14476" y="205208"/>
                  </a:cubicBezTo>
                  <a:cubicBezTo>
                    <a:pt x="63162" y="128591"/>
                    <a:pt x="132990" y="77578"/>
                    <a:pt x="215232" y="41694"/>
                  </a:cubicBezTo>
                  <a:cubicBezTo>
                    <a:pt x="322108" y="-5052"/>
                    <a:pt x="434802" y="-3694"/>
                    <a:pt x="547303" y="4259"/>
                  </a:cubicBezTo>
                  <a:cubicBezTo>
                    <a:pt x="634977" y="10660"/>
                    <a:pt x="720710" y="30638"/>
                    <a:pt x="805280" y="54302"/>
                  </a:cubicBezTo>
                  <a:cubicBezTo>
                    <a:pt x="823706" y="59345"/>
                    <a:pt x="844655" y="64000"/>
                    <a:pt x="846788" y="87470"/>
                  </a:cubicBezTo>
                  <a:cubicBezTo>
                    <a:pt x="848922" y="109583"/>
                    <a:pt x="831853" y="120639"/>
                    <a:pt x="815366" y="131307"/>
                  </a:cubicBezTo>
                  <a:cubicBezTo>
                    <a:pt x="770753" y="160402"/>
                    <a:pt x="734094" y="197450"/>
                    <a:pt x="705968" y="242644"/>
                  </a:cubicBezTo>
                  <a:cubicBezTo>
                    <a:pt x="629351" y="366007"/>
                    <a:pt x="524415" y="447279"/>
                    <a:pt x="376612" y="464348"/>
                  </a:cubicBezTo>
                  <a:cubicBezTo>
                    <a:pt x="276913" y="475792"/>
                    <a:pt x="180706" y="462021"/>
                    <a:pt x="89735" y="417990"/>
                  </a:cubicBezTo>
                  <a:cubicBezTo>
                    <a:pt x="75769" y="411201"/>
                    <a:pt x="60640" y="405188"/>
                    <a:pt x="60058" y="386762"/>
                  </a:cubicBezTo>
                  <a:cubicBezTo>
                    <a:pt x="59476" y="368141"/>
                    <a:pt x="72278" y="358248"/>
                    <a:pt x="86826" y="349326"/>
                  </a:cubicBezTo>
                  <a:cubicBezTo>
                    <a:pt x="232689" y="258937"/>
                    <a:pt x="387281" y="187945"/>
                    <a:pt x="550407" y="135186"/>
                  </a:cubicBezTo>
                  <a:cubicBezTo>
                    <a:pt x="562045" y="131501"/>
                    <a:pt x="573683" y="127234"/>
                    <a:pt x="585321" y="123160"/>
                  </a:cubicBezTo>
                  <a:close/>
                </a:path>
              </a:pathLst>
            </a:custGeom>
            <a:solidFill>
              <a:srgbClr val="00ABF7"/>
            </a:solidFill>
            <a:ln w="19266" cap="flat">
              <a:noFill/>
              <a:prstDash val="solid"/>
              <a:miter/>
            </a:ln>
          </p:spPr>
          <p:txBody>
            <a:bodyPr rtlCol="0" anchor="ctr"/>
            <a:lstStyle/>
            <a:p>
              <a:endParaRPr lang="es-PE"/>
            </a:p>
          </p:txBody>
        </p:sp>
        <p:sp>
          <p:nvSpPr>
            <p:cNvPr id="10" name="Forma libre: forma 9">
              <a:extLst>
                <a:ext uri="{FF2B5EF4-FFF2-40B4-BE49-F238E27FC236}">
                  <a16:creationId xmlns:a16="http://schemas.microsoft.com/office/drawing/2014/main" id="{8EADB6E0-6E2E-6BAE-FFC2-0DCBFA1DD00B}"/>
                </a:ext>
              </a:extLst>
            </p:cNvPr>
            <p:cNvSpPr/>
            <p:nvPr/>
          </p:nvSpPr>
          <p:spPr>
            <a:xfrm>
              <a:off x="507131" y="5943613"/>
              <a:ext cx="297179" cy="914387"/>
            </a:xfrm>
            <a:custGeom>
              <a:gdLst>
                <a:gd name="connsiteX0" fmla="*/ 76327 w 297179"/>
                <a:gd name="connsiteY0" fmla="*/ 250461 h 914387"/>
                <a:gd name="connsiteX1" fmla="*/ 87189 w 297179"/>
                <a:gd name="connsiteY1" fmla="*/ 213801 h 914387"/>
                <a:gd name="connsiteX2" fmla="*/ 91651 w 297179"/>
                <a:gd name="connsiteY2" fmla="*/ 56494 h 914387"/>
                <a:gd name="connsiteX3" fmla="*/ 107168 w 297179"/>
                <a:gd name="connsiteY3" fmla="*/ 30114 h 914387"/>
                <a:gd name="connsiteX4" fmla="*/ 134323 w 297179"/>
                <a:gd name="connsiteY4" fmla="*/ 56106 h 914387"/>
                <a:gd name="connsiteX5" fmla="*/ 139366 w 297179"/>
                <a:gd name="connsiteY5" fmla="*/ 216128 h 914387"/>
                <a:gd name="connsiteX6" fmla="*/ 149065 w 297179"/>
                <a:gd name="connsiteY6" fmla="*/ 248133 h 914387"/>
                <a:gd name="connsiteX7" fmla="*/ 159733 w 297179"/>
                <a:gd name="connsiteY7" fmla="*/ 208176 h 914387"/>
                <a:gd name="connsiteX8" fmla="*/ 161091 w 297179"/>
                <a:gd name="connsiteY8" fmla="*/ 65028 h 914387"/>
                <a:gd name="connsiteX9" fmla="*/ 161867 w 297179"/>
                <a:gd name="connsiteY9" fmla="*/ 42140 h 914387"/>
                <a:gd name="connsiteX10" fmla="*/ 189798 w 297179"/>
                <a:gd name="connsiteY10" fmla="*/ 20416 h 914387"/>
                <a:gd name="connsiteX11" fmla="*/ 205121 w 297179"/>
                <a:gd name="connsiteY11" fmla="*/ 42916 h 914387"/>
                <a:gd name="connsiteX12" fmla="*/ 208613 w 297179"/>
                <a:gd name="connsiteY12" fmla="*/ 214577 h 914387"/>
                <a:gd name="connsiteX13" fmla="*/ 218699 w 297179"/>
                <a:gd name="connsiteY13" fmla="*/ 245805 h 914387"/>
                <a:gd name="connsiteX14" fmla="*/ 229173 w 297179"/>
                <a:gd name="connsiteY14" fmla="*/ 214965 h 914387"/>
                <a:gd name="connsiteX15" fmla="*/ 234604 w 297179"/>
                <a:gd name="connsiteY15" fmla="*/ 37679 h 914387"/>
                <a:gd name="connsiteX16" fmla="*/ 235574 w 297179"/>
                <a:gd name="connsiteY16" fmla="*/ 20610 h 914387"/>
                <a:gd name="connsiteX17" fmla="*/ 266027 w 297179"/>
                <a:gd name="connsiteY17" fmla="*/ 49 h 914387"/>
                <a:gd name="connsiteX18" fmla="*/ 279217 w 297179"/>
                <a:gd name="connsiteY18" fmla="*/ 20998 h 914387"/>
                <a:gd name="connsiteX19" fmla="*/ 296480 w 297179"/>
                <a:gd name="connsiteY19" fmla="*/ 271991 h 914387"/>
                <a:gd name="connsiteX20" fmla="*/ 245660 w 297179"/>
                <a:gd name="connsiteY20" fmla="*/ 388953 h 914387"/>
                <a:gd name="connsiteX21" fmla="*/ 224518 w 297179"/>
                <a:gd name="connsiteY21" fmla="*/ 403695 h 914387"/>
                <a:gd name="connsiteX22" fmla="*/ 185337 w 297179"/>
                <a:gd name="connsiteY22" fmla="*/ 477984 h 914387"/>
                <a:gd name="connsiteX23" fmla="*/ 222384 w 297179"/>
                <a:gd name="connsiteY23" fmla="*/ 855637 h 914387"/>
                <a:gd name="connsiteX24" fmla="*/ 172535 w 297179"/>
                <a:gd name="connsiteY24" fmla="*/ 914216 h 914387"/>
                <a:gd name="connsiteX25" fmla="*/ 115315 w 297179"/>
                <a:gd name="connsiteY25" fmla="*/ 914216 h 914387"/>
                <a:gd name="connsiteX26" fmla="*/ 73806 w 297179"/>
                <a:gd name="connsiteY26" fmla="*/ 865918 h 914387"/>
                <a:gd name="connsiteX27" fmla="*/ 105228 w 297179"/>
                <a:gd name="connsiteY27" fmla="*/ 668265 h 914387"/>
                <a:gd name="connsiteX28" fmla="*/ 109496 w 297179"/>
                <a:gd name="connsiteY28" fmla="*/ 459557 h 914387"/>
                <a:gd name="connsiteX29" fmla="*/ 82728 w 297179"/>
                <a:gd name="connsiteY29" fmla="*/ 411259 h 914387"/>
                <a:gd name="connsiteX30" fmla="*/ 46068 w 297179"/>
                <a:gd name="connsiteY30" fmla="*/ 383716 h 914387"/>
                <a:gd name="connsiteX31" fmla="*/ 292 w 297179"/>
                <a:gd name="connsiteY31" fmla="*/ 284017 h 914387"/>
                <a:gd name="connsiteX32" fmla="*/ 16779 w 297179"/>
                <a:gd name="connsiteY32" fmla="*/ 50093 h 914387"/>
                <a:gd name="connsiteX33" fmla="*/ 37146 w 297179"/>
                <a:gd name="connsiteY33" fmla="*/ 27205 h 914387"/>
                <a:gd name="connsiteX34" fmla="*/ 64495 w 297179"/>
                <a:gd name="connsiteY34" fmla="*/ 52420 h 914387"/>
                <a:gd name="connsiteX35" fmla="*/ 66047 w 297179"/>
                <a:gd name="connsiteY35" fmla="*/ 204102 h 914387"/>
                <a:gd name="connsiteX36" fmla="*/ 76521 w 297179"/>
                <a:gd name="connsiteY36" fmla="*/ 250073 h 91438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97179" h="914387">
                  <a:moveTo>
                    <a:pt x="76327" y="250461"/>
                  </a:moveTo>
                  <a:cubicBezTo>
                    <a:pt x="90099" y="238823"/>
                    <a:pt x="86801" y="225633"/>
                    <a:pt x="87189" y="213801"/>
                  </a:cubicBezTo>
                  <a:cubicBezTo>
                    <a:pt x="88935" y="161430"/>
                    <a:pt x="90099" y="109059"/>
                    <a:pt x="91651" y="56494"/>
                  </a:cubicBezTo>
                  <a:cubicBezTo>
                    <a:pt x="92039" y="45050"/>
                    <a:pt x="91651" y="32830"/>
                    <a:pt x="107168" y="30114"/>
                  </a:cubicBezTo>
                  <a:cubicBezTo>
                    <a:pt x="127922" y="26817"/>
                    <a:pt x="133935" y="37291"/>
                    <a:pt x="134323" y="56106"/>
                  </a:cubicBezTo>
                  <a:cubicBezTo>
                    <a:pt x="135487" y="109447"/>
                    <a:pt x="137233" y="162788"/>
                    <a:pt x="139366" y="216128"/>
                  </a:cubicBezTo>
                  <a:cubicBezTo>
                    <a:pt x="139754" y="226603"/>
                    <a:pt x="135487" y="239210"/>
                    <a:pt x="149065" y="248133"/>
                  </a:cubicBezTo>
                  <a:cubicBezTo>
                    <a:pt x="160121" y="236495"/>
                    <a:pt x="159539" y="222141"/>
                    <a:pt x="159733" y="208176"/>
                  </a:cubicBezTo>
                  <a:cubicBezTo>
                    <a:pt x="160315" y="160460"/>
                    <a:pt x="160703" y="112744"/>
                    <a:pt x="161091" y="65028"/>
                  </a:cubicBezTo>
                  <a:cubicBezTo>
                    <a:pt x="161091" y="57463"/>
                    <a:pt x="161479" y="49705"/>
                    <a:pt x="161867" y="42140"/>
                  </a:cubicBezTo>
                  <a:cubicBezTo>
                    <a:pt x="162643" y="24101"/>
                    <a:pt x="175832" y="20804"/>
                    <a:pt x="189798" y="20416"/>
                  </a:cubicBezTo>
                  <a:cubicBezTo>
                    <a:pt x="205509" y="19834"/>
                    <a:pt x="204927" y="33218"/>
                    <a:pt x="205121" y="42916"/>
                  </a:cubicBezTo>
                  <a:cubicBezTo>
                    <a:pt x="206673" y="100136"/>
                    <a:pt x="207255" y="157356"/>
                    <a:pt x="208613" y="214577"/>
                  </a:cubicBezTo>
                  <a:cubicBezTo>
                    <a:pt x="209001" y="226021"/>
                    <a:pt x="204733" y="245805"/>
                    <a:pt x="218699" y="245805"/>
                  </a:cubicBezTo>
                  <a:cubicBezTo>
                    <a:pt x="233440" y="245805"/>
                    <a:pt x="228591" y="226215"/>
                    <a:pt x="229173" y="214965"/>
                  </a:cubicBezTo>
                  <a:cubicBezTo>
                    <a:pt x="231501" y="155805"/>
                    <a:pt x="232859" y="96839"/>
                    <a:pt x="234604" y="37679"/>
                  </a:cubicBezTo>
                  <a:cubicBezTo>
                    <a:pt x="234604" y="32054"/>
                    <a:pt x="234604" y="26041"/>
                    <a:pt x="235574" y="20610"/>
                  </a:cubicBezTo>
                  <a:cubicBezTo>
                    <a:pt x="238872" y="3929"/>
                    <a:pt x="252837" y="1019"/>
                    <a:pt x="266027" y="49"/>
                  </a:cubicBezTo>
                  <a:cubicBezTo>
                    <a:pt x="280574" y="-921"/>
                    <a:pt x="278635" y="12657"/>
                    <a:pt x="279217" y="20998"/>
                  </a:cubicBezTo>
                  <a:cubicBezTo>
                    <a:pt x="285036" y="104597"/>
                    <a:pt x="288915" y="188585"/>
                    <a:pt x="296480" y="271991"/>
                  </a:cubicBezTo>
                  <a:cubicBezTo>
                    <a:pt x="300941" y="321840"/>
                    <a:pt x="284066" y="359470"/>
                    <a:pt x="245660" y="388953"/>
                  </a:cubicBezTo>
                  <a:cubicBezTo>
                    <a:pt x="238872" y="394190"/>
                    <a:pt x="231695" y="399039"/>
                    <a:pt x="224518" y="403695"/>
                  </a:cubicBezTo>
                  <a:cubicBezTo>
                    <a:pt x="197363" y="421151"/>
                    <a:pt x="186694" y="445397"/>
                    <a:pt x="185337" y="477984"/>
                  </a:cubicBezTo>
                  <a:cubicBezTo>
                    <a:pt x="179906" y="605808"/>
                    <a:pt x="198332" y="730917"/>
                    <a:pt x="222384" y="855637"/>
                  </a:cubicBezTo>
                  <a:cubicBezTo>
                    <a:pt x="231307" y="901995"/>
                    <a:pt x="220445" y="914022"/>
                    <a:pt x="172535" y="914216"/>
                  </a:cubicBezTo>
                  <a:cubicBezTo>
                    <a:pt x="153526" y="914216"/>
                    <a:pt x="134323" y="914603"/>
                    <a:pt x="115315" y="914216"/>
                  </a:cubicBezTo>
                  <a:cubicBezTo>
                    <a:pt x="80207" y="913440"/>
                    <a:pt x="68569" y="900444"/>
                    <a:pt x="73806" y="865918"/>
                  </a:cubicBezTo>
                  <a:cubicBezTo>
                    <a:pt x="83892" y="799969"/>
                    <a:pt x="96112" y="734408"/>
                    <a:pt x="105228" y="668265"/>
                  </a:cubicBezTo>
                  <a:cubicBezTo>
                    <a:pt x="114733" y="599019"/>
                    <a:pt x="109883" y="529191"/>
                    <a:pt x="109496" y="459557"/>
                  </a:cubicBezTo>
                  <a:cubicBezTo>
                    <a:pt x="109496" y="439578"/>
                    <a:pt x="99603" y="423091"/>
                    <a:pt x="82728" y="411259"/>
                  </a:cubicBezTo>
                  <a:cubicBezTo>
                    <a:pt x="70314" y="402531"/>
                    <a:pt x="58094" y="393220"/>
                    <a:pt x="46068" y="383716"/>
                  </a:cubicBezTo>
                  <a:cubicBezTo>
                    <a:pt x="13870" y="358306"/>
                    <a:pt x="-2423" y="325332"/>
                    <a:pt x="292" y="284017"/>
                  </a:cubicBezTo>
                  <a:cubicBezTo>
                    <a:pt x="5529" y="206042"/>
                    <a:pt x="11348" y="128067"/>
                    <a:pt x="16779" y="50093"/>
                  </a:cubicBezTo>
                  <a:cubicBezTo>
                    <a:pt x="17749" y="36903"/>
                    <a:pt x="18137" y="25265"/>
                    <a:pt x="37146" y="27205"/>
                  </a:cubicBezTo>
                  <a:cubicBezTo>
                    <a:pt x="53633" y="28950"/>
                    <a:pt x="64301" y="33412"/>
                    <a:pt x="64495" y="52420"/>
                  </a:cubicBezTo>
                  <a:cubicBezTo>
                    <a:pt x="64495" y="103046"/>
                    <a:pt x="65465" y="153477"/>
                    <a:pt x="66047" y="204102"/>
                  </a:cubicBezTo>
                  <a:cubicBezTo>
                    <a:pt x="66047" y="219038"/>
                    <a:pt x="65465" y="234361"/>
                    <a:pt x="76521" y="250073"/>
                  </a:cubicBezTo>
                  <a:close/>
                </a:path>
              </a:pathLst>
            </a:custGeom>
            <a:solidFill>
              <a:schemeClr val="bg1">
                <a:lumMod val="65000"/>
              </a:schemeClr>
            </a:solidFill>
            <a:ln w="19266" cap="flat">
              <a:noFill/>
              <a:prstDash val="solid"/>
              <a:miter/>
            </a:ln>
          </p:spPr>
          <p:txBody>
            <a:bodyPr rtlCol="0" anchor="ctr"/>
            <a:lstStyle/>
            <a:p>
              <a:endParaRPr lang="es-PE"/>
            </a:p>
          </p:txBody>
        </p:sp>
      </p:grpSp>
      <p:pic>
        <p:nvPicPr>
          <p:cNvPr id="11" name="Imagen 10">
            <a:extLst>
              <a:ext uri="{FF2B5EF4-FFF2-40B4-BE49-F238E27FC236}">
                <a16:creationId xmlns:a16="http://schemas.microsoft.com/office/drawing/2014/main" id="{6BCDA482-45C0-732B-392E-51CEFF0D73E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78883" y="3460949"/>
            <a:ext cx="1384685" cy="1384685"/>
          </a:xfrm>
          <a:prstGeom prst="rect">
            <a:avLst/>
          </a:prstGeom>
        </p:spPr>
      </p:pic>
    </p:spTree>
    <p:extLst>
      <p:ext uri="{BB962C8B-B14F-4D97-AF65-F5344CB8AC3E}">
        <p14:creationId xmlns:p14="http://schemas.microsoft.com/office/powerpoint/2010/main" val="1595303056"/>
      </p:ext>
    </p:extLst>
  </p:cSld>
  <p:clrMapOvr>
    <a:masterClrMapping/>
  </p:clrMapOvr>
  <p:transition/>
  <p:timing/>
</p:sld>
</file>

<file path=ppt/slides/slide15.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144" name="Freeform 143">
            <a:extLst>
              <a:ext uri="{FF2B5EF4-FFF2-40B4-BE49-F238E27FC236}">
                <a16:creationId xmlns:a16="http://schemas.microsoft.com/office/drawing/2014/main" id="{AC7AAE83-A535-874B-8657-BFB366EEA425}"/>
              </a:ext>
            </a:extLst>
          </p:cNvPr>
          <p:cNvSpPr/>
          <p:nvPr/>
        </p:nvSpPr>
        <p:spPr>
          <a:xfrm>
            <a:off x="354564" y="1733550"/>
            <a:ext cx="3860114" cy="4152900"/>
          </a:xfrm>
          <a:custGeom>
            <a:gdLst>
              <a:gd name="connsiteX0" fmla="*/ 0 w 3860114"/>
              <a:gd name="connsiteY0" fmla="*/ 0 h 4152900"/>
              <a:gd name="connsiteX1" fmla="*/ 3529412 w 3860114"/>
              <a:gd name="connsiteY1" fmla="*/ 0 h 4152900"/>
              <a:gd name="connsiteX2" fmla="*/ 3860114 w 3860114"/>
              <a:gd name="connsiteY2" fmla="*/ 316243 h 4152900"/>
              <a:gd name="connsiteX3" fmla="*/ 3860114 w 3860114"/>
              <a:gd name="connsiteY3" fmla="*/ 3836657 h 4152900"/>
              <a:gd name="connsiteX4" fmla="*/ 3529412 w 3860114"/>
              <a:gd name="connsiteY4" fmla="*/ 4152900 h 4152900"/>
              <a:gd name="connsiteX5" fmla="*/ 0 w 3860114"/>
              <a:gd name="connsiteY5" fmla="*/ 4152900 h 41529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60114" h="4152900">
                <a:moveTo>
                  <a:pt x="0" y="0"/>
                </a:moveTo>
                <a:lnTo>
                  <a:pt x="3529412" y="0"/>
                </a:lnTo>
                <a:cubicBezTo>
                  <a:pt x="3712054" y="0"/>
                  <a:pt x="3860114" y="141587"/>
                  <a:pt x="3860114" y="316243"/>
                </a:cubicBezTo>
                <a:lnTo>
                  <a:pt x="3860114" y="3836657"/>
                </a:lnTo>
                <a:cubicBezTo>
                  <a:pt x="3860114" y="4011313"/>
                  <a:pt x="3712054" y="4152900"/>
                  <a:pt x="3529412" y="4152900"/>
                </a:cubicBezTo>
                <a:lnTo>
                  <a:pt x="0" y="4152900"/>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ext Placeholder 2">
            <a:extLst>
              <a:ext uri="{FF2B5EF4-FFF2-40B4-BE49-F238E27FC236}">
                <a16:creationId xmlns:a16="http://schemas.microsoft.com/office/drawing/2014/main" id="{9C2B5DF9-5EAB-4007-91D2-75AB7F86790A}"/>
              </a:ext>
            </a:extLst>
          </p:cNvPr>
          <p:cNvSpPr>
            <a:spLocks noGrp="1"/>
          </p:cNvSpPr>
          <p:nvPr>
            <p:ph type="body" sz="quarter" idx="4294967295"/>
          </p:nvPr>
        </p:nvSpPr>
        <p:spPr>
          <a:xfrm>
            <a:off x="9863568" y="6462295"/>
            <a:ext cx="1241788" cy="150812"/>
          </a:xfrm>
        </p:spPr>
        <p:txBody>
          <a:bodyPr>
            <a:normAutofit fontScale="25000" lnSpcReduction="20000"/>
          </a:bodyPr>
          <a:lstStyle/>
          <a:p>
            <a:endParaRPr lang="en-ID"/>
          </a:p>
        </p:txBody>
      </p:sp>
      <p:grpSp>
        <p:nvGrpSpPr>
          <p:cNvPr id="100" name="Group 99">
            <a:extLst>
              <a:ext uri="{FF2B5EF4-FFF2-40B4-BE49-F238E27FC236}">
                <a16:creationId xmlns:a16="http://schemas.microsoft.com/office/drawing/2014/main" id="{23BA1545-6540-7141-9892-84A7DD01E3DE}"/>
              </a:ext>
            </a:extLst>
          </p:cNvPr>
          <p:cNvGrpSpPr/>
          <p:nvPr/>
        </p:nvGrpSpPr>
        <p:grpSpPr>
          <a:xfrm>
            <a:off x="4369509" y="1733550"/>
            <a:ext cx="3452982" cy="889000"/>
            <a:chOff x="4202633" y="1877895"/>
            <a:chExt cx="3452982" cy="889000"/>
          </a:xfrm>
        </p:grpSpPr>
        <p:sp>
          <p:nvSpPr>
            <p:cNvPr id="29" name="Rounded Rectangle 28">
              <a:extLst>
                <a:ext uri="{FF2B5EF4-FFF2-40B4-BE49-F238E27FC236}">
                  <a16:creationId xmlns:a16="http://schemas.microsoft.com/office/drawing/2014/main" id="{C2C36747-EA9B-C140-A5AB-8484FD59BA13}"/>
                </a:ext>
              </a:extLst>
            </p:cNvPr>
            <p:cNvSpPr/>
            <p:nvPr/>
          </p:nvSpPr>
          <p:spPr>
            <a:xfrm>
              <a:off x="4383422" y="1877895"/>
              <a:ext cx="3272193" cy="889000"/>
            </a:xfrm>
            <a:prstGeom prst="roundRect">
              <a:avLst>
                <a:gd name="adj" fmla="val 18519"/>
              </a:avLst>
            </a:prstGeom>
            <a:solidFill>
              <a:srgbClr val="00677F"/>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562A84F9-18D2-D549-B0A2-21B83459B011}"/>
                </a:ext>
              </a:extLst>
            </p:cNvPr>
            <p:cNvGrpSpPr/>
            <p:nvPr/>
          </p:nvGrpSpPr>
          <p:grpSpPr>
            <a:xfrm>
              <a:off x="4202633" y="2141606"/>
              <a:ext cx="361578" cy="361578"/>
              <a:chOff x="533400" y="3133272"/>
              <a:chExt cx="361950" cy="361950"/>
            </a:xfrm>
          </p:grpSpPr>
          <p:sp>
            <p:nvSpPr>
              <p:cNvPr id="5" name="Oval 4">
                <a:extLst>
                  <a:ext uri="{FF2B5EF4-FFF2-40B4-BE49-F238E27FC236}">
                    <a16:creationId xmlns:a16="http://schemas.microsoft.com/office/drawing/2014/main" id="{B16659AD-1AFA-F146-9023-6A2357E42348}"/>
                  </a:ext>
                </a:extLst>
              </p:cNvPr>
              <p:cNvSpPr/>
              <p:nvPr/>
            </p:nvSpPr>
            <p:spPr>
              <a:xfrm>
                <a:off x="533400" y="3133272"/>
                <a:ext cx="361950" cy="361950"/>
              </a:xfrm>
              <a:prstGeom prst="ellipse">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Freeform 26">
                <a:extLst>
                  <a:ext uri="{FF2B5EF4-FFF2-40B4-BE49-F238E27FC236}">
                    <a16:creationId xmlns:a16="http://schemas.microsoft.com/office/drawing/2014/main" id="{FEB1C763-1D9C-684F-BCF6-FD1449C21C53}"/>
                  </a:ext>
                </a:extLst>
              </p:cNvPr>
              <p:cNvSpPr/>
              <p:nvPr/>
            </p:nvSpPr>
            <p:spPr bwMode="auto">
              <a:xfrm>
                <a:off x="643079" y="3232561"/>
                <a:ext cx="142593" cy="163373"/>
              </a:xfrm>
              <a:custGeom>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rgbClr val="00677F"/>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7" name="Rectangle 6">
              <a:extLst>
                <a:ext uri="{FF2B5EF4-FFF2-40B4-BE49-F238E27FC236}">
                  <a16:creationId xmlns:a16="http://schemas.microsoft.com/office/drawing/2014/main" id="{230B93C6-97B9-5947-AA79-76D707C6577E}"/>
                </a:ext>
              </a:extLst>
            </p:cNvPr>
            <p:cNvSpPr/>
            <p:nvPr/>
          </p:nvSpPr>
          <p:spPr>
            <a:xfrm>
              <a:off x="4899831" y="2106952"/>
              <a:ext cx="2464235" cy="430887"/>
            </a:xfrm>
            <a:prstGeom prst="rect">
              <a:avLst/>
            </a:prstGeom>
          </p:spPr>
          <p:txBody>
            <a:bodyPr wrap="square" lIns="0" tIns="0" rIns="0" bIns="0" anchor="ctr">
              <a:spAutoFit/>
            </a:bodyPr>
            <a:lstStyle/>
            <a:p>
              <a:r>
                <a:rPr lang="en-ID" sz="1400">
                  <a:solidFill>
                    <a:schemeClr val="bg1"/>
                  </a:solidFill>
                  <a:latin typeface="Segoe UI Light" panose="020b0502040204020203" pitchFamily="34" charset="0"/>
                  <a:cs typeface="Segoe UI" panose="020b0502040204020203" pitchFamily="34" charset="0"/>
                </a:rPr>
                <a:t>Lorem ipsum dolor sit amet, consectetur adipiscing elit</a:t>
              </a:r>
              <a:endParaRPr lang="en-US" sz="1400">
                <a:solidFill>
                  <a:schemeClr val="bg1"/>
                </a:solidFill>
                <a:latin typeface="Segoe UI Light" panose="020b0502040204020203" pitchFamily="34" charset="0"/>
                <a:cs typeface="Segoe UI" panose="020b0502040204020203" pitchFamily="34" charset="0"/>
              </a:endParaRPr>
            </a:p>
          </p:txBody>
        </p:sp>
      </p:grpSp>
      <p:grpSp>
        <p:nvGrpSpPr>
          <p:cNvPr id="101" name="Group 100">
            <a:extLst>
              <a:ext uri="{FF2B5EF4-FFF2-40B4-BE49-F238E27FC236}">
                <a16:creationId xmlns:a16="http://schemas.microsoft.com/office/drawing/2014/main" id="{15195824-7F6D-1442-B2D0-821877DCA3CE}"/>
              </a:ext>
            </a:extLst>
          </p:cNvPr>
          <p:cNvGrpSpPr/>
          <p:nvPr/>
        </p:nvGrpSpPr>
        <p:grpSpPr>
          <a:xfrm>
            <a:off x="4369509" y="2821517"/>
            <a:ext cx="3452982" cy="889000"/>
            <a:chOff x="4202633" y="1877895"/>
            <a:chExt cx="3452982" cy="889000"/>
          </a:xfrm>
        </p:grpSpPr>
        <p:sp>
          <p:nvSpPr>
            <p:cNvPr id="102" name="Rounded Rectangle 101">
              <a:extLst>
                <a:ext uri="{FF2B5EF4-FFF2-40B4-BE49-F238E27FC236}">
                  <a16:creationId xmlns:a16="http://schemas.microsoft.com/office/drawing/2014/main" id="{4A2BACF9-62BD-7444-97C7-9261861E98C0}"/>
                </a:ext>
              </a:extLst>
            </p:cNvPr>
            <p:cNvSpPr/>
            <p:nvPr/>
          </p:nvSpPr>
          <p:spPr>
            <a:xfrm>
              <a:off x="4383422" y="1877895"/>
              <a:ext cx="3272193" cy="889000"/>
            </a:xfrm>
            <a:prstGeom prst="roundRect">
              <a:avLst>
                <a:gd name="adj" fmla="val 18519"/>
              </a:avLst>
            </a:prstGeom>
            <a:solidFill>
              <a:srgbClr val="00ABF7"/>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3" name="Group 102">
              <a:extLst>
                <a:ext uri="{FF2B5EF4-FFF2-40B4-BE49-F238E27FC236}">
                  <a16:creationId xmlns:a16="http://schemas.microsoft.com/office/drawing/2014/main" id="{07870473-D443-DE4F-BE74-9346E734E6B5}"/>
                </a:ext>
              </a:extLst>
            </p:cNvPr>
            <p:cNvGrpSpPr/>
            <p:nvPr/>
          </p:nvGrpSpPr>
          <p:grpSpPr>
            <a:xfrm>
              <a:off x="4202633" y="2141606"/>
              <a:ext cx="361578" cy="361578"/>
              <a:chOff x="533400" y="3133272"/>
              <a:chExt cx="361950" cy="361950"/>
            </a:xfrm>
          </p:grpSpPr>
          <p:sp>
            <p:nvSpPr>
              <p:cNvPr id="105" name="Oval 104">
                <a:extLst>
                  <a:ext uri="{FF2B5EF4-FFF2-40B4-BE49-F238E27FC236}">
                    <a16:creationId xmlns:a16="http://schemas.microsoft.com/office/drawing/2014/main" id="{6F95BFDF-7845-E842-B6DF-250A8E0F13F2}"/>
                  </a:ext>
                </a:extLst>
              </p:cNvPr>
              <p:cNvSpPr/>
              <p:nvPr/>
            </p:nvSpPr>
            <p:spPr>
              <a:xfrm>
                <a:off x="533400" y="3133272"/>
                <a:ext cx="361950" cy="361950"/>
              </a:xfrm>
              <a:prstGeom prst="ellipse">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6" name="Freeform 26">
                <a:extLst>
                  <a:ext uri="{FF2B5EF4-FFF2-40B4-BE49-F238E27FC236}">
                    <a16:creationId xmlns:a16="http://schemas.microsoft.com/office/drawing/2014/main" id="{7047908A-5E8C-CB46-AB5E-89247B289A4D}"/>
                  </a:ext>
                </a:extLst>
              </p:cNvPr>
              <p:cNvSpPr/>
              <p:nvPr/>
            </p:nvSpPr>
            <p:spPr bwMode="auto">
              <a:xfrm>
                <a:off x="643079" y="3232561"/>
                <a:ext cx="142593" cy="163373"/>
              </a:xfrm>
              <a:custGeom>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rgbClr val="00677F"/>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104" name="Rectangle 103">
              <a:extLst>
                <a:ext uri="{FF2B5EF4-FFF2-40B4-BE49-F238E27FC236}">
                  <a16:creationId xmlns:a16="http://schemas.microsoft.com/office/drawing/2014/main" id="{DE61BB42-5327-184E-BAB6-801FD72966D7}"/>
                </a:ext>
              </a:extLst>
            </p:cNvPr>
            <p:cNvSpPr/>
            <p:nvPr/>
          </p:nvSpPr>
          <p:spPr>
            <a:xfrm>
              <a:off x="4899831" y="2106952"/>
              <a:ext cx="2464235" cy="430887"/>
            </a:xfrm>
            <a:prstGeom prst="rect">
              <a:avLst/>
            </a:prstGeom>
          </p:spPr>
          <p:txBody>
            <a:bodyPr wrap="square" lIns="0" tIns="0" rIns="0" bIns="0" anchor="ctr">
              <a:spAutoFit/>
            </a:bodyPr>
            <a:lstStyle/>
            <a:p>
              <a:r>
                <a:rPr lang="en-ID" sz="1400">
                  <a:solidFill>
                    <a:schemeClr val="bg1"/>
                  </a:solidFill>
                  <a:latin typeface="Segoe UI Light" panose="020b0502040204020203" pitchFamily="34" charset="0"/>
                  <a:cs typeface="Segoe UI" panose="020b0502040204020203" pitchFamily="34" charset="0"/>
                </a:rPr>
                <a:t>Lorem ipsum dolor sit amet, consectetur adipiscing elit</a:t>
              </a:r>
              <a:endParaRPr lang="en-US" sz="1400">
                <a:solidFill>
                  <a:schemeClr val="bg1"/>
                </a:solidFill>
                <a:latin typeface="Segoe UI Light" panose="020b0502040204020203" pitchFamily="34" charset="0"/>
                <a:cs typeface="Segoe UI" panose="020b0502040204020203" pitchFamily="34" charset="0"/>
              </a:endParaRPr>
            </a:p>
          </p:txBody>
        </p:sp>
      </p:grpSp>
      <p:grpSp>
        <p:nvGrpSpPr>
          <p:cNvPr id="107" name="Group 106">
            <a:extLst>
              <a:ext uri="{FF2B5EF4-FFF2-40B4-BE49-F238E27FC236}">
                <a16:creationId xmlns:a16="http://schemas.microsoft.com/office/drawing/2014/main" id="{9A72A667-0F9B-154E-95BC-042E7DDF229A}"/>
              </a:ext>
            </a:extLst>
          </p:cNvPr>
          <p:cNvGrpSpPr/>
          <p:nvPr/>
        </p:nvGrpSpPr>
        <p:grpSpPr>
          <a:xfrm>
            <a:off x="4369509" y="3909484"/>
            <a:ext cx="3452982" cy="889000"/>
            <a:chOff x="4202633" y="1877895"/>
            <a:chExt cx="3452982" cy="889000"/>
          </a:xfrm>
        </p:grpSpPr>
        <p:sp>
          <p:nvSpPr>
            <p:cNvPr id="108" name="Rounded Rectangle 107">
              <a:extLst>
                <a:ext uri="{FF2B5EF4-FFF2-40B4-BE49-F238E27FC236}">
                  <a16:creationId xmlns:a16="http://schemas.microsoft.com/office/drawing/2014/main" id="{9C63FE99-D765-E741-853D-8F1EAFEE6384}"/>
                </a:ext>
              </a:extLst>
            </p:cNvPr>
            <p:cNvSpPr/>
            <p:nvPr/>
          </p:nvSpPr>
          <p:spPr>
            <a:xfrm>
              <a:off x="4383422" y="1877895"/>
              <a:ext cx="3272193" cy="889000"/>
            </a:xfrm>
            <a:prstGeom prst="roundRect">
              <a:avLst>
                <a:gd name="adj" fmla="val 18519"/>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9" name="Group 108">
              <a:extLst>
                <a:ext uri="{FF2B5EF4-FFF2-40B4-BE49-F238E27FC236}">
                  <a16:creationId xmlns:a16="http://schemas.microsoft.com/office/drawing/2014/main" id="{ABB0E678-6917-2D47-B872-CA77A97CFE91}"/>
                </a:ext>
              </a:extLst>
            </p:cNvPr>
            <p:cNvGrpSpPr/>
            <p:nvPr/>
          </p:nvGrpSpPr>
          <p:grpSpPr>
            <a:xfrm>
              <a:off x="4202633" y="2141606"/>
              <a:ext cx="361578" cy="361578"/>
              <a:chOff x="533400" y="3133272"/>
              <a:chExt cx="361950" cy="361950"/>
            </a:xfrm>
          </p:grpSpPr>
          <p:sp>
            <p:nvSpPr>
              <p:cNvPr id="111" name="Oval 110">
                <a:extLst>
                  <a:ext uri="{FF2B5EF4-FFF2-40B4-BE49-F238E27FC236}">
                    <a16:creationId xmlns:a16="http://schemas.microsoft.com/office/drawing/2014/main" id="{A2FD13DB-9E75-5A49-B5AE-980227C9FDBC}"/>
                  </a:ext>
                </a:extLst>
              </p:cNvPr>
              <p:cNvSpPr/>
              <p:nvPr/>
            </p:nvSpPr>
            <p:spPr>
              <a:xfrm>
                <a:off x="533400" y="3133272"/>
                <a:ext cx="361950" cy="361950"/>
              </a:xfrm>
              <a:prstGeom prst="ellipse">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2" name="Freeform 26">
                <a:extLst>
                  <a:ext uri="{FF2B5EF4-FFF2-40B4-BE49-F238E27FC236}">
                    <a16:creationId xmlns:a16="http://schemas.microsoft.com/office/drawing/2014/main" id="{723B5622-A7D2-6D42-BCB7-DEBBA220E14E}"/>
                  </a:ext>
                </a:extLst>
              </p:cNvPr>
              <p:cNvSpPr/>
              <p:nvPr/>
            </p:nvSpPr>
            <p:spPr bwMode="auto">
              <a:xfrm>
                <a:off x="643079" y="3232561"/>
                <a:ext cx="142593" cy="163373"/>
              </a:xfrm>
              <a:custGeom>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rgbClr val="00677F"/>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110" name="Rectangle 109">
              <a:extLst>
                <a:ext uri="{FF2B5EF4-FFF2-40B4-BE49-F238E27FC236}">
                  <a16:creationId xmlns:a16="http://schemas.microsoft.com/office/drawing/2014/main" id="{21DCB13A-DBD9-F241-AB7A-E54FA405FC01}"/>
                </a:ext>
              </a:extLst>
            </p:cNvPr>
            <p:cNvSpPr/>
            <p:nvPr/>
          </p:nvSpPr>
          <p:spPr>
            <a:xfrm>
              <a:off x="4899831" y="2106952"/>
              <a:ext cx="2464235" cy="430887"/>
            </a:xfrm>
            <a:prstGeom prst="rect">
              <a:avLst/>
            </a:prstGeom>
          </p:spPr>
          <p:txBody>
            <a:bodyPr wrap="square" lIns="0" tIns="0" rIns="0" bIns="0" anchor="ctr">
              <a:spAutoFit/>
            </a:bodyPr>
            <a:lstStyle/>
            <a:p>
              <a:r>
                <a:rPr lang="en-ID" sz="1400">
                  <a:solidFill>
                    <a:schemeClr val="tx1">
                      <a:lumMod val="85000"/>
                      <a:lumOff val="15000"/>
                    </a:schemeClr>
                  </a:solidFill>
                  <a:latin typeface="Segoe UI Light" panose="020b0502040204020203" pitchFamily="34" charset="0"/>
                  <a:cs typeface="Segoe UI" panose="020b0502040204020203" pitchFamily="34" charset="0"/>
                </a:rPr>
                <a:t>Lorem ipsum dolor sit amet, consectetur adipiscing elit</a:t>
              </a:r>
              <a:endParaRPr lang="en-US" sz="1400">
                <a:solidFill>
                  <a:schemeClr val="tx1">
                    <a:lumMod val="85000"/>
                    <a:lumOff val="15000"/>
                  </a:schemeClr>
                </a:solidFill>
                <a:latin typeface="Segoe UI Light" panose="020b0502040204020203" pitchFamily="34" charset="0"/>
                <a:cs typeface="Segoe UI" panose="020b0502040204020203" pitchFamily="34" charset="0"/>
              </a:endParaRPr>
            </a:p>
          </p:txBody>
        </p:sp>
      </p:grpSp>
      <p:grpSp>
        <p:nvGrpSpPr>
          <p:cNvPr id="113" name="Group 112">
            <a:extLst>
              <a:ext uri="{FF2B5EF4-FFF2-40B4-BE49-F238E27FC236}">
                <a16:creationId xmlns:a16="http://schemas.microsoft.com/office/drawing/2014/main" id="{A3BBF54E-5037-BD43-9DEC-02EDA6C18CF3}"/>
              </a:ext>
            </a:extLst>
          </p:cNvPr>
          <p:cNvGrpSpPr/>
          <p:nvPr/>
        </p:nvGrpSpPr>
        <p:grpSpPr>
          <a:xfrm>
            <a:off x="4369509" y="4997450"/>
            <a:ext cx="3452982" cy="889000"/>
            <a:chOff x="4202633" y="1877895"/>
            <a:chExt cx="3452982" cy="889000"/>
          </a:xfrm>
        </p:grpSpPr>
        <p:sp>
          <p:nvSpPr>
            <p:cNvPr id="114" name="Rounded Rectangle 113">
              <a:extLst>
                <a:ext uri="{FF2B5EF4-FFF2-40B4-BE49-F238E27FC236}">
                  <a16:creationId xmlns:a16="http://schemas.microsoft.com/office/drawing/2014/main" id="{76035C97-F812-9240-AA81-65C53609C9B4}"/>
                </a:ext>
              </a:extLst>
            </p:cNvPr>
            <p:cNvSpPr/>
            <p:nvPr/>
          </p:nvSpPr>
          <p:spPr>
            <a:xfrm>
              <a:off x="4383422" y="1877895"/>
              <a:ext cx="3272193" cy="889000"/>
            </a:xfrm>
            <a:prstGeom prst="roundRect">
              <a:avLst>
                <a:gd name="adj" fmla="val 18519"/>
              </a:avLst>
            </a:prstGeom>
            <a:solidFill>
              <a:srgbClr val="00ABF7"/>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5" name="Group 114">
              <a:extLst>
                <a:ext uri="{FF2B5EF4-FFF2-40B4-BE49-F238E27FC236}">
                  <a16:creationId xmlns:a16="http://schemas.microsoft.com/office/drawing/2014/main" id="{3B583AAE-B786-6B4C-98A4-E0404292910C}"/>
                </a:ext>
              </a:extLst>
            </p:cNvPr>
            <p:cNvGrpSpPr/>
            <p:nvPr/>
          </p:nvGrpSpPr>
          <p:grpSpPr>
            <a:xfrm>
              <a:off x="4202633" y="2141606"/>
              <a:ext cx="361578" cy="361578"/>
              <a:chOff x="533400" y="3133272"/>
              <a:chExt cx="361950" cy="361950"/>
            </a:xfrm>
          </p:grpSpPr>
          <p:sp>
            <p:nvSpPr>
              <p:cNvPr id="117" name="Oval 116">
                <a:extLst>
                  <a:ext uri="{FF2B5EF4-FFF2-40B4-BE49-F238E27FC236}">
                    <a16:creationId xmlns:a16="http://schemas.microsoft.com/office/drawing/2014/main" id="{97DC5548-DFA9-A348-B154-C00EC7B6470C}"/>
                  </a:ext>
                </a:extLst>
              </p:cNvPr>
              <p:cNvSpPr/>
              <p:nvPr/>
            </p:nvSpPr>
            <p:spPr>
              <a:xfrm>
                <a:off x="533400" y="3133272"/>
                <a:ext cx="361950" cy="361950"/>
              </a:xfrm>
              <a:prstGeom prst="ellipse">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8" name="Freeform 26">
                <a:extLst>
                  <a:ext uri="{FF2B5EF4-FFF2-40B4-BE49-F238E27FC236}">
                    <a16:creationId xmlns:a16="http://schemas.microsoft.com/office/drawing/2014/main" id="{6A75EE35-79CD-7D4C-B727-22D2329FA8EB}"/>
                  </a:ext>
                </a:extLst>
              </p:cNvPr>
              <p:cNvSpPr/>
              <p:nvPr/>
            </p:nvSpPr>
            <p:spPr bwMode="auto">
              <a:xfrm>
                <a:off x="643079" y="3232561"/>
                <a:ext cx="142593" cy="163373"/>
              </a:xfrm>
              <a:custGeom>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rgbClr val="00677F"/>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116" name="Rectangle 115">
              <a:extLst>
                <a:ext uri="{FF2B5EF4-FFF2-40B4-BE49-F238E27FC236}">
                  <a16:creationId xmlns:a16="http://schemas.microsoft.com/office/drawing/2014/main" id="{278C6902-93EC-7A45-9AAB-ABA59F55BE23}"/>
                </a:ext>
              </a:extLst>
            </p:cNvPr>
            <p:cNvSpPr/>
            <p:nvPr/>
          </p:nvSpPr>
          <p:spPr>
            <a:xfrm>
              <a:off x="4899831" y="2106952"/>
              <a:ext cx="2464235" cy="430887"/>
            </a:xfrm>
            <a:prstGeom prst="rect">
              <a:avLst/>
            </a:prstGeom>
          </p:spPr>
          <p:txBody>
            <a:bodyPr wrap="square" lIns="0" tIns="0" rIns="0" bIns="0" anchor="ctr">
              <a:spAutoFit/>
            </a:bodyPr>
            <a:lstStyle/>
            <a:p>
              <a:r>
                <a:rPr lang="en-ID" sz="1400">
                  <a:solidFill>
                    <a:schemeClr val="bg1"/>
                  </a:solidFill>
                  <a:latin typeface="Segoe UI Light" panose="020b0502040204020203" pitchFamily="34" charset="0"/>
                  <a:cs typeface="Segoe UI" panose="020b0502040204020203" pitchFamily="34" charset="0"/>
                </a:rPr>
                <a:t>Lorem ipsum dolor sit amet, consectetur adipiscing elit</a:t>
              </a:r>
              <a:endParaRPr lang="en-US" sz="1400">
                <a:solidFill>
                  <a:schemeClr val="bg1"/>
                </a:solidFill>
                <a:latin typeface="Segoe UI Light" panose="020b0502040204020203" pitchFamily="34" charset="0"/>
                <a:cs typeface="Segoe UI" panose="020b0502040204020203" pitchFamily="34" charset="0"/>
              </a:endParaRPr>
            </a:p>
          </p:txBody>
        </p:sp>
      </p:grpSp>
      <p:grpSp>
        <p:nvGrpSpPr>
          <p:cNvPr id="119" name="Group 118">
            <a:extLst>
              <a:ext uri="{FF2B5EF4-FFF2-40B4-BE49-F238E27FC236}">
                <a16:creationId xmlns:a16="http://schemas.microsoft.com/office/drawing/2014/main" id="{29272D31-448D-1C4B-B5F7-2BCC705F869D}"/>
              </a:ext>
            </a:extLst>
          </p:cNvPr>
          <p:cNvGrpSpPr/>
          <p:nvPr/>
        </p:nvGrpSpPr>
        <p:grpSpPr>
          <a:xfrm>
            <a:off x="8151096" y="1733550"/>
            <a:ext cx="3452982" cy="889000"/>
            <a:chOff x="4202633" y="1877895"/>
            <a:chExt cx="3452982" cy="889000"/>
          </a:xfrm>
        </p:grpSpPr>
        <p:sp>
          <p:nvSpPr>
            <p:cNvPr id="120" name="Rounded Rectangle 119">
              <a:extLst>
                <a:ext uri="{FF2B5EF4-FFF2-40B4-BE49-F238E27FC236}">
                  <a16:creationId xmlns:a16="http://schemas.microsoft.com/office/drawing/2014/main" id="{72677B58-8291-894B-9CD6-3D5B5D2DCB1A}"/>
                </a:ext>
              </a:extLst>
            </p:cNvPr>
            <p:cNvSpPr/>
            <p:nvPr/>
          </p:nvSpPr>
          <p:spPr>
            <a:xfrm>
              <a:off x="4383422" y="1877895"/>
              <a:ext cx="3272193" cy="889000"/>
            </a:xfrm>
            <a:prstGeom prst="roundRect">
              <a:avLst>
                <a:gd name="adj" fmla="val 18519"/>
              </a:avLst>
            </a:prstGeom>
            <a:solidFill>
              <a:srgbClr val="00ABF7"/>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1" name="Group 120">
              <a:extLst>
                <a:ext uri="{FF2B5EF4-FFF2-40B4-BE49-F238E27FC236}">
                  <a16:creationId xmlns:a16="http://schemas.microsoft.com/office/drawing/2014/main" id="{E1133F85-20C9-BF47-96B0-25AF97E887EB}"/>
                </a:ext>
              </a:extLst>
            </p:cNvPr>
            <p:cNvGrpSpPr/>
            <p:nvPr/>
          </p:nvGrpSpPr>
          <p:grpSpPr>
            <a:xfrm>
              <a:off x="4202633" y="2141606"/>
              <a:ext cx="361578" cy="361578"/>
              <a:chOff x="533400" y="3133272"/>
              <a:chExt cx="361950" cy="361950"/>
            </a:xfrm>
          </p:grpSpPr>
          <p:sp>
            <p:nvSpPr>
              <p:cNvPr id="123" name="Oval 122">
                <a:extLst>
                  <a:ext uri="{FF2B5EF4-FFF2-40B4-BE49-F238E27FC236}">
                    <a16:creationId xmlns:a16="http://schemas.microsoft.com/office/drawing/2014/main" id="{806B080B-4E25-DF4C-BD51-DB3CB29CE981}"/>
                  </a:ext>
                </a:extLst>
              </p:cNvPr>
              <p:cNvSpPr/>
              <p:nvPr/>
            </p:nvSpPr>
            <p:spPr>
              <a:xfrm>
                <a:off x="533400" y="3133272"/>
                <a:ext cx="361950" cy="361950"/>
              </a:xfrm>
              <a:prstGeom prst="ellipse">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4" name="Freeform 26">
                <a:extLst>
                  <a:ext uri="{FF2B5EF4-FFF2-40B4-BE49-F238E27FC236}">
                    <a16:creationId xmlns:a16="http://schemas.microsoft.com/office/drawing/2014/main" id="{637780C1-18DE-674E-9B98-1714A9DA2738}"/>
                  </a:ext>
                </a:extLst>
              </p:cNvPr>
              <p:cNvSpPr/>
              <p:nvPr/>
            </p:nvSpPr>
            <p:spPr bwMode="auto">
              <a:xfrm>
                <a:off x="643079" y="3232561"/>
                <a:ext cx="142593" cy="163373"/>
              </a:xfrm>
              <a:custGeom>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rgbClr val="00677F"/>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122" name="Rectangle 121">
              <a:extLst>
                <a:ext uri="{FF2B5EF4-FFF2-40B4-BE49-F238E27FC236}">
                  <a16:creationId xmlns:a16="http://schemas.microsoft.com/office/drawing/2014/main" id="{1F62E19B-EAB8-FD45-AA04-8BCB959666A4}"/>
                </a:ext>
              </a:extLst>
            </p:cNvPr>
            <p:cNvSpPr/>
            <p:nvPr/>
          </p:nvSpPr>
          <p:spPr>
            <a:xfrm>
              <a:off x="4899831" y="2106952"/>
              <a:ext cx="2464235" cy="430887"/>
            </a:xfrm>
            <a:prstGeom prst="rect">
              <a:avLst/>
            </a:prstGeom>
          </p:spPr>
          <p:txBody>
            <a:bodyPr wrap="square" lIns="0" tIns="0" rIns="0" bIns="0" anchor="ctr">
              <a:spAutoFit/>
            </a:bodyPr>
            <a:lstStyle/>
            <a:p>
              <a:r>
                <a:rPr lang="en-ID" sz="1400">
                  <a:solidFill>
                    <a:schemeClr val="bg1"/>
                  </a:solidFill>
                  <a:latin typeface="Segoe UI Light" panose="020b0502040204020203" pitchFamily="34" charset="0"/>
                  <a:cs typeface="Segoe UI" panose="020b0502040204020203" pitchFamily="34" charset="0"/>
                </a:rPr>
                <a:t>Lorem ipsum dolor sit amet, consectetur adipiscing elit</a:t>
              </a:r>
              <a:endParaRPr lang="en-US" sz="1400">
                <a:solidFill>
                  <a:schemeClr val="bg1"/>
                </a:solidFill>
                <a:latin typeface="Segoe UI Light" panose="020b0502040204020203" pitchFamily="34" charset="0"/>
                <a:cs typeface="Segoe UI" panose="020b0502040204020203" pitchFamily="34" charset="0"/>
              </a:endParaRPr>
            </a:p>
          </p:txBody>
        </p:sp>
      </p:grpSp>
      <p:grpSp>
        <p:nvGrpSpPr>
          <p:cNvPr id="125" name="Group 124">
            <a:extLst>
              <a:ext uri="{FF2B5EF4-FFF2-40B4-BE49-F238E27FC236}">
                <a16:creationId xmlns:a16="http://schemas.microsoft.com/office/drawing/2014/main" id="{B473D06C-206C-CD4F-B324-942043E9E097}"/>
              </a:ext>
            </a:extLst>
          </p:cNvPr>
          <p:cNvGrpSpPr/>
          <p:nvPr/>
        </p:nvGrpSpPr>
        <p:grpSpPr>
          <a:xfrm>
            <a:off x="8151096" y="2821517"/>
            <a:ext cx="3452982" cy="889000"/>
            <a:chOff x="4202633" y="1877895"/>
            <a:chExt cx="3452982" cy="889000"/>
          </a:xfrm>
        </p:grpSpPr>
        <p:sp>
          <p:nvSpPr>
            <p:cNvPr id="126" name="Rounded Rectangle 125">
              <a:extLst>
                <a:ext uri="{FF2B5EF4-FFF2-40B4-BE49-F238E27FC236}">
                  <a16:creationId xmlns:a16="http://schemas.microsoft.com/office/drawing/2014/main" id="{88939BA9-BD28-C445-B589-1D8010079C07}"/>
                </a:ext>
              </a:extLst>
            </p:cNvPr>
            <p:cNvSpPr/>
            <p:nvPr/>
          </p:nvSpPr>
          <p:spPr>
            <a:xfrm>
              <a:off x="4383422" y="1877895"/>
              <a:ext cx="3272193" cy="889000"/>
            </a:xfrm>
            <a:prstGeom prst="roundRect">
              <a:avLst>
                <a:gd name="adj" fmla="val 18519"/>
              </a:avLst>
            </a:prstGeom>
            <a:solidFill>
              <a:srgbClr val="00677F"/>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7" name="Group 126">
              <a:extLst>
                <a:ext uri="{FF2B5EF4-FFF2-40B4-BE49-F238E27FC236}">
                  <a16:creationId xmlns:a16="http://schemas.microsoft.com/office/drawing/2014/main" id="{5D918CFF-0A73-C14A-A286-A3A9BDE0ED43}"/>
                </a:ext>
              </a:extLst>
            </p:cNvPr>
            <p:cNvGrpSpPr/>
            <p:nvPr/>
          </p:nvGrpSpPr>
          <p:grpSpPr>
            <a:xfrm>
              <a:off x="4202633" y="2141606"/>
              <a:ext cx="361578" cy="361578"/>
              <a:chOff x="533400" y="3133272"/>
              <a:chExt cx="361950" cy="361950"/>
            </a:xfrm>
          </p:grpSpPr>
          <p:sp>
            <p:nvSpPr>
              <p:cNvPr id="129" name="Oval 128">
                <a:extLst>
                  <a:ext uri="{FF2B5EF4-FFF2-40B4-BE49-F238E27FC236}">
                    <a16:creationId xmlns:a16="http://schemas.microsoft.com/office/drawing/2014/main" id="{C461FA4A-8C9B-EE44-9A0B-8473516A93FA}"/>
                  </a:ext>
                </a:extLst>
              </p:cNvPr>
              <p:cNvSpPr/>
              <p:nvPr/>
            </p:nvSpPr>
            <p:spPr>
              <a:xfrm>
                <a:off x="533400" y="3133272"/>
                <a:ext cx="361950" cy="361950"/>
              </a:xfrm>
              <a:prstGeom prst="ellipse">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0" name="Freeform 26">
                <a:extLst>
                  <a:ext uri="{FF2B5EF4-FFF2-40B4-BE49-F238E27FC236}">
                    <a16:creationId xmlns:a16="http://schemas.microsoft.com/office/drawing/2014/main" id="{86B07A13-8CDC-544F-8E06-CCDE5C235058}"/>
                  </a:ext>
                </a:extLst>
              </p:cNvPr>
              <p:cNvSpPr/>
              <p:nvPr/>
            </p:nvSpPr>
            <p:spPr bwMode="auto">
              <a:xfrm>
                <a:off x="643079" y="3232561"/>
                <a:ext cx="142593" cy="163373"/>
              </a:xfrm>
              <a:custGeom>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rgbClr val="00677F"/>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128" name="Rectangle 127">
              <a:extLst>
                <a:ext uri="{FF2B5EF4-FFF2-40B4-BE49-F238E27FC236}">
                  <a16:creationId xmlns:a16="http://schemas.microsoft.com/office/drawing/2014/main" id="{38434E7F-A847-3148-8ADB-A313A8306D43}"/>
                </a:ext>
              </a:extLst>
            </p:cNvPr>
            <p:cNvSpPr/>
            <p:nvPr/>
          </p:nvSpPr>
          <p:spPr>
            <a:xfrm>
              <a:off x="4899831" y="2106952"/>
              <a:ext cx="2464235" cy="430887"/>
            </a:xfrm>
            <a:prstGeom prst="rect">
              <a:avLst/>
            </a:prstGeom>
          </p:spPr>
          <p:txBody>
            <a:bodyPr wrap="square" lIns="0" tIns="0" rIns="0" bIns="0" anchor="ctr">
              <a:spAutoFit/>
            </a:bodyPr>
            <a:lstStyle/>
            <a:p>
              <a:r>
                <a:rPr lang="en-ID" sz="1400">
                  <a:solidFill>
                    <a:schemeClr val="bg1"/>
                  </a:solidFill>
                  <a:latin typeface="Segoe UI Light" panose="020b0502040204020203" pitchFamily="34" charset="0"/>
                  <a:cs typeface="Segoe UI" panose="020b0502040204020203" pitchFamily="34" charset="0"/>
                </a:rPr>
                <a:t>Lorem ipsum dolor sit amet, consectetur adipiscing elit</a:t>
              </a:r>
              <a:endParaRPr lang="en-US" sz="1400">
                <a:solidFill>
                  <a:schemeClr val="bg1"/>
                </a:solidFill>
                <a:latin typeface="Segoe UI Light" panose="020b0502040204020203" pitchFamily="34" charset="0"/>
                <a:cs typeface="Segoe UI" panose="020b0502040204020203" pitchFamily="34" charset="0"/>
              </a:endParaRPr>
            </a:p>
          </p:txBody>
        </p:sp>
      </p:grpSp>
      <p:grpSp>
        <p:nvGrpSpPr>
          <p:cNvPr id="131" name="Group 130">
            <a:extLst>
              <a:ext uri="{FF2B5EF4-FFF2-40B4-BE49-F238E27FC236}">
                <a16:creationId xmlns:a16="http://schemas.microsoft.com/office/drawing/2014/main" id="{8A43B289-89C2-DD40-A288-7D48A7B909B3}"/>
              </a:ext>
            </a:extLst>
          </p:cNvPr>
          <p:cNvGrpSpPr/>
          <p:nvPr/>
        </p:nvGrpSpPr>
        <p:grpSpPr>
          <a:xfrm>
            <a:off x="8151096" y="3909484"/>
            <a:ext cx="3452982" cy="889000"/>
            <a:chOff x="4202633" y="1877895"/>
            <a:chExt cx="3452982" cy="889000"/>
          </a:xfrm>
        </p:grpSpPr>
        <p:sp>
          <p:nvSpPr>
            <p:cNvPr id="132" name="Rounded Rectangle 131">
              <a:extLst>
                <a:ext uri="{FF2B5EF4-FFF2-40B4-BE49-F238E27FC236}">
                  <a16:creationId xmlns:a16="http://schemas.microsoft.com/office/drawing/2014/main" id="{6BEDBF89-B905-8C46-8463-19042FC9D1F3}"/>
                </a:ext>
              </a:extLst>
            </p:cNvPr>
            <p:cNvSpPr/>
            <p:nvPr/>
          </p:nvSpPr>
          <p:spPr>
            <a:xfrm>
              <a:off x="4383422" y="1877895"/>
              <a:ext cx="3272193" cy="889000"/>
            </a:xfrm>
            <a:prstGeom prst="roundRect">
              <a:avLst>
                <a:gd name="adj" fmla="val 18519"/>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3" name="Group 132">
              <a:extLst>
                <a:ext uri="{FF2B5EF4-FFF2-40B4-BE49-F238E27FC236}">
                  <a16:creationId xmlns:a16="http://schemas.microsoft.com/office/drawing/2014/main" id="{6189C26C-8BEC-6847-866B-CCE55EBE7282}"/>
                </a:ext>
              </a:extLst>
            </p:cNvPr>
            <p:cNvGrpSpPr/>
            <p:nvPr/>
          </p:nvGrpSpPr>
          <p:grpSpPr>
            <a:xfrm>
              <a:off x="4202633" y="2141606"/>
              <a:ext cx="361578" cy="361578"/>
              <a:chOff x="533400" y="3133272"/>
              <a:chExt cx="361950" cy="361950"/>
            </a:xfrm>
          </p:grpSpPr>
          <p:sp>
            <p:nvSpPr>
              <p:cNvPr id="135" name="Oval 134">
                <a:extLst>
                  <a:ext uri="{FF2B5EF4-FFF2-40B4-BE49-F238E27FC236}">
                    <a16:creationId xmlns:a16="http://schemas.microsoft.com/office/drawing/2014/main" id="{E74165CA-2CDC-C84B-B757-F17D3D6BC3A2}"/>
                  </a:ext>
                </a:extLst>
              </p:cNvPr>
              <p:cNvSpPr/>
              <p:nvPr/>
            </p:nvSpPr>
            <p:spPr>
              <a:xfrm>
                <a:off x="533400" y="3133272"/>
                <a:ext cx="361950" cy="361950"/>
              </a:xfrm>
              <a:prstGeom prst="ellipse">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6" name="Freeform 26">
                <a:extLst>
                  <a:ext uri="{FF2B5EF4-FFF2-40B4-BE49-F238E27FC236}">
                    <a16:creationId xmlns:a16="http://schemas.microsoft.com/office/drawing/2014/main" id="{57BDF903-7EFB-EF4C-8E29-CC2370566476}"/>
                  </a:ext>
                </a:extLst>
              </p:cNvPr>
              <p:cNvSpPr/>
              <p:nvPr/>
            </p:nvSpPr>
            <p:spPr bwMode="auto">
              <a:xfrm>
                <a:off x="643079" y="3232561"/>
                <a:ext cx="142593" cy="163373"/>
              </a:xfrm>
              <a:custGeom>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rgbClr val="00677F"/>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134" name="Rectangle 133">
              <a:extLst>
                <a:ext uri="{FF2B5EF4-FFF2-40B4-BE49-F238E27FC236}">
                  <a16:creationId xmlns:a16="http://schemas.microsoft.com/office/drawing/2014/main" id="{14F67042-8ADB-5549-A019-95B7BA2E63F8}"/>
                </a:ext>
              </a:extLst>
            </p:cNvPr>
            <p:cNvSpPr/>
            <p:nvPr/>
          </p:nvSpPr>
          <p:spPr>
            <a:xfrm>
              <a:off x="4899831" y="2106952"/>
              <a:ext cx="2464235" cy="430887"/>
            </a:xfrm>
            <a:prstGeom prst="rect">
              <a:avLst/>
            </a:prstGeom>
          </p:spPr>
          <p:txBody>
            <a:bodyPr wrap="square" lIns="0" tIns="0" rIns="0" bIns="0" anchor="ctr">
              <a:spAutoFit/>
            </a:bodyPr>
            <a:lstStyle/>
            <a:p>
              <a:r>
                <a:rPr lang="en-ID" sz="1400">
                  <a:solidFill>
                    <a:schemeClr val="tx1">
                      <a:lumMod val="85000"/>
                      <a:lumOff val="15000"/>
                    </a:schemeClr>
                  </a:solidFill>
                  <a:latin typeface="Segoe UI Light" panose="020b0502040204020203" pitchFamily="34" charset="0"/>
                  <a:cs typeface="Segoe UI" panose="020b0502040204020203" pitchFamily="34" charset="0"/>
                </a:rPr>
                <a:t>Lorem ipsum dolor sit amet, consectetur adipiscing elit</a:t>
              </a:r>
              <a:endParaRPr lang="en-US" sz="1400">
                <a:solidFill>
                  <a:schemeClr val="tx1">
                    <a:lumMod val="85000"/>
                    <a:lumOff val="15000"/>
                  </a:schemeClr>
                </a:solidFill>
                <a:latin typeface="Segoe UI Light" panose="020b0502040204020203" pitchFamily="34" charset="0"/>
                <a:cs typeface="Segoe UI" panose="020b0502040204020203" pitchFamily="34" charset="0"/>
              </a:endParaRPr>
            </a:p>
          </p:txBody>
        </p:sp>
      </p:grpSp>
      <p:grpSp>
        <p:nvGrpSpPr>
          <p:cNvPr id="137" name="Group 136">
            <a:extLst>
              <a:ext uri="{FF2B5EF4-FFF2-40B4-BE49-F238E27FC236}">
                <a16:creationId xmlns:a16="http://schemas.microsoft.com/office/drawing/2014/main" id="{BD773421-6575-264D-BF8B-F8F59D0F9FB4}"/>
              </a:ext>
            </a:extLst>
          </p:cNvPr>
          <p:cNvGrpSpPr/>
          <p:nvPr/>
        </p:nvGrpSpPr>
        <p:grpSpPr>
          <a:xfrm>
            <a:off x="8151096" y="4997450"/>
            <a:ext cx="3452982" cy="889000"/>
            <a:chOff x="4202633" y="1877895"/>
            <a:chExt cx="3452982" cy="889000"/>
          </a:xfrm>
        </p:grpSpPr>
        <p:sp>
          <p:nvSpPr>
            <p:cNvPr id="138" name="Rounded Rectangle 137">
              <a:extLst>
                <a:ext uri="{FF2B5EF4-FFF2-40B4-BE49-F238E27FC236}">
                  <a16:creationId xmlns:a16="http://schemas.microsoft.com/office/drawing/2014/main" id="{CD084EDD-12FE-CE47-9BAE-32D335DC0BEC}"/>
                </a:ext>
              </a:extLst>
            </p:cNvPr>
            <p:cNvSpPr/>
            <p:nvPr/>
          </p:nvSpPr>
          <p:spPr>
            <a:xfrm>
              <a:off x="4383422" y="1877895"/>
              <a:ext cx="3272193" cy="889000"/>
            </a:xfrm>
            <a:prstGeom prst="roundRect">
              <a:avLst>
                <a:gd name="adj" fmla="val 18519"/>
              </a:avLst>
            </a:prstGeom>
            <a:solidFill>
              <a:srgbClr val="00677F"/>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9" name="Group 138">
              <a:extLst>
                <a:ext uri="{FF2B5EF4-FFF2-40B4-BE49-F238E27FC236}">
                  <a16:creationId xmlns:a16="http://schemas.microsoft.com/office/drawing/2014/main" id="{6E850937-4A3A-5343-9276-18DD54DD7E9F}"/>
                </a:ext>
              </a:extLst>
            </p:cNvPr>
            <p:cNvGrpSpPr/>
            <p:nvPr/>
          </p:nvGrpSpPr>
          <p:grpSpPr>
            <a:xfrm>
              <a:off x="4202633" y="2141606"/>
              <a:ext cx="361578" cy="361578"/>
              <a:chOff x="533400" y="3133272"/>
              <a:chExt cx="361950" cy="361950"/>
            </a:xfrm>
          </p:grpSpPr>
          <p:sp>
            <p:nvSpPr>
              <p:cNvPr id="141" name="Oval 140">
                <a:extLst>
                  <a:ext uri="{FF2B5EF4-FFF2-40B4-BE49-F238E27FC236}">
                    <a16:creationId xmlns:a16="http://schemas.microsoft.com/office/drawing/2014/main" id="{D74EF0D9-82DD-6D4D-A2F5-C2181D72A8D9}"/>
                  </a:ext>
                </a:extLst>
              </p:cNvPr>
              <p:cNvSpPr/>
              <p:nvPr/>
            </p:nvSpPr>
            <p:spPr>
              <a:xfrm>
                <a:off x="533400" y="3133272"/>
                <a:ext cx="361950" cy="361950"/>
              </a:xfrm>
              <a:prstGeom prst="ellipse">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2" name="Freeform 26">
                <a:extLst>
                  <a:ext uri="{FF2B5EF4-FFF2-40B4-BE49-F238E27FC236}">
                    <a16:creationId xmlns:a16="http://schemas.microsoft.com/office/drawing/2014/main" id="{4EA1607B-D757-5543-AB82-451EE581DFE7}"/>
                  </a:ext>
                </a:extLst>
              </p:cNvPr>
              <p:cNvSpPr/>
              <p:nvPr/>
            </p:nvSpPr>
            <p:spPr bwMode="auto">
              <a:xfrm>
                <a:off x="643079" y="3232561"/>
                <a:ext cx="142593" cy="163373"/>
              </a:xfrm>
              <a:custGeom>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rgbClr val="00677F"/>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140" name="Rectangle 139">
              <a:extLst>
                <a:ext uri="{FF2B5EF4-FFF2-40B4-BE49-F238E27FC236}">
                  <a16:creationId xmlns:a16="http://schemas.microsoft.com/office/drawing/2014/main" id="{9ACBDF57-7AC4-7847-BD6E-8BF3CEFC3D53}"/>
                </a:ext>
              </a:extLst>
            </p:cNvPr>
            <p:cNvSpPr/>
            <p:nvPr/>
          </p:nvSpPr>
          <p:spPr>
            <a:xfrm>
              <a:off x="4899831" y="2106952"/>
              <a:ext cx="2464235" cy="430887"/>
            </a:xfrm>
            <a:prstGeom prst="rect">
              <a:avLst/>
            </a:prstGeom>
          </p:spPr>
          <p:txBody>
            <a:bodyPr wrap="square" lIns="0" tIns="0" rIns="0" bIns="0" anchor="ctr">
              <a:spAutoFit/>
            </a:bodyPr>
            <a:lstStyle/>
            <a:p>
              <a:r>
                <a:rPr lang="en-ID" sz="1400">
                  <a:solidFill>
                    <a:schemeClr val="bg1"/>
                  </a:solidFill>
                  <a:latin typeface="Segoe UI Light" panose="020b0502040204020203" pitchFamily="34" charset="0"/>
                  <a:cs typeface="Segoe UI" panose="020b0502040204020203" pitchFamily="34" charset="0"/>
                </a:rPr>
                <a:t>Lorem ipsum dolor sit amet, consectetur adipiscing elit</a:t>
              </a:r>
              <a:endParaRPr lang="en-US" sz="1400">
                <a:solidFill>
                  <a:schemeClr val="bg1"/>
                </a:solidFill>
                <a:latin typeface="Segoe UI Light" panose="020b0502040204020203" pitchFamily="34" charset="0"/>
                <a:cs typeface="Segoe UI" panose="020b0502040204020203" pitchFamily="34" charset="0"/>
              </a:endParaRPr>
            </a:p>
          </p:txBody>
        </p:sp>
      </p:grpSp>
      <p:grpSp>
        <p:nvGrpSpPr>
          <p:cNvPr id="149" name="Group 148">
            <a:extLst>
              <a:ext uri="{FF2B5EF4-FFF2-40B4-BE49-F238E27FC236}">
                <a16:creationId xmlns:a16="http://schemas.microsoft.com/office/drawing/2014/main" id="{FF5F0A18-5E7D-3148-9283-6A3D474E164D}"/>
              </a:ext>
            </a:extLst>
          </p:cNvPr>
          <p:cNvGrpSpPr/>
          <p:nvPr/>
        </p:nvGrpSpPr>
        <p:grpSpPr>
          <a:xfrm>
            <a:off x="1401393" y="3184414"/>
            <a:ext cx="1057328" cy="1251174"/>
            <a:chOff x="3013075" y="3624263"/>
            <a:chExt cx="285750" cy="338137"/>
          </a:xfrm>
        </p:grpSpPr>
        <p:sp>
          <p:nvSpPr>
            <p:cNvPr id="150" name="Freeform 338">
              <a:extLst>
                <a:ext uri="{FF2B5EF4-FFF2-40B4-BE49-F238E27FC236}">
                  <a16:creationId xmlns:a16="http://schemas.microsoft.com/office/drawing/2014/main" id="{C3FD1431-8ACA-644D-BCF0-7A25C7C65675}"/>
                </a:ext>
              </a:extLst>
            </p:cNvPr>
            <p:cNvSpPr/>
            <p:nvPr/>
          </p:nvSpPr>
          <p:spPr bwMode="auto">
            <a:xfrm>
              <a:off x="3073400" y="3797300"/>
              <a:ext cx="165100" cy="104775"/>
            </a:xfrm>
            <a:custGeom>
              <a:gdLst>
                <a:gd name="T0" fmla="*/ 43 w 44"/>
                <a:gd name="T1" fmla="*/ 0 h 28"/>
                <a:gd name="T2" fmla="*/ 44 w 44"/>
                <a:gd name="T3" fmla="*/ 6 h 28"/>
                <a:gd name="T4" fmla="*/ 22 w 44"/>
                <a:gd name="T5" fmla="*/ 28 h 28"/>
                <a:gd name="T6" fmla="*/ 0 w 44"/>
                <a:gd name="T7" fmla="*/ 6 h 28"/>
                <a:gd name="T8" fmla="*/ 1 w 44"/>
                <a:gd name="T9" fmla="*/ 0 h 28"/>
              </a:gdLst>
              <a:cxnLst>
                <a:cxn ang="0">
                  <a:pos x="T0" y="T1"/>
                </a:cxn>
                <a:cxn ang="0">
                  <a:pos x="T2" y="T3"/>
                </a:cxn>
                <a:cxn ang="0">
                  <a:pos x="T4" y="T5"/>
                </a:cxn>
                <a:cxn ang="0">
                  <a:pos x="T6" y="T7"/>
                </a:cxn>
                <a:cxn ang="0">
                  <a:pos x="T8" y="T9"/>
                </a:cxn>
              </a:cxnLst>
              <a:rect l="0" t="0" r="r" b="b"/>
              <a:pathLst>
                <a:path w="44" h="28">
                  <a:moveTo>
                    <a:pt x="43" y="0"/>
                  </a:moveTo>
                  <a:cubicBezTo>
                    <a:pt x="44" y="2"/>
                    <a:pt x="44" y="4"/>
                    <a:pt x="44" y="6"/>
                  </a:cubicBezTo>
                  <a:cubicBezTo>
                    <a:pt x="44" y="18"/>
                    <a:pt x="34" y="28"/>
                    <a:pt x="22" y="28"/>
                  </a:cubicBezTo>
                  <a:cubicBezTo>
                    <a:pt x="10" y="28"/>
                    <a:pt x="0" y="18"/>
                    <a:pt x="0" y="6"/>
                  </a:cubicBezTo>
                  <a:cubicBezTo>
                    <a:pt x="0" y="4"/>
                    <a:pt x="0" y="2"/>
                    <a:pt x="1" y="0"/>
                  </a:cubicBezTo>
                </a:path>
              </a:pathLst>
            </a:custGeom>
            <a:noFill/>
            <a:ln w="31750"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51" name="Freeform 339">
              <a:extLst>
                <a:ext uri="{FF2B5EF4-FFF2-40B4-BE49-F238E27FC236}">
                  <a16:creationId xmlns:a16="http://schemas.microsoft.com/office/drawing/2014/main" id="{61DF049D-CE16-AC45-B002-3C236C800F82}"/>
                </a:ext>
              </a:extLst>
            </p:cNvPr>
            <p:cNvSpPr/>
            <p:nvPr/>
          </p:nvSpPr>
          <p:spPr bwMode="auto">
            <a:xfrm>
              <a:off x="3013075" y="3714750"/>
              <a:ext cx="285750" cy="247650"/>
            </a:xfrm>
            <a:custGeom>
              <a:gdLst>
                <a:gd name="T0" fmla="*/ 64 w 76"/>
                <a:gd name="T1" fmla="*/ 0 h 66"/>
                <a:gd name="T2" fmla="*/ 76 w 76"/>
                <a:gd name="T3" fmla="*/ 28 h 66"/>
                <a:gd name="T4" fmla="*/ 38 w 76"/>
                <a:gd name="T5" fmla="*/ 66 h 66"/>
                <a:gd name="T6" fmla="*/ 0 w 76"/>
                <a:gd name="T7" fmla="*/ 28 h 66"/>
                <a:gd name="T8" fmla="*/ 12 w 76"/>
                <a:gd name="T9" fmla="*/ 0 h 66"/>
              </a:gdLst>
              <a:cxnLst>
                <a:cxn ang="0">
                  <a:pos x="T0" y="T1"/>
                </a:cxn>
                <a:cxn ang="0">
                  <a:pos x="T2" y="T3"/>
                </a:cxn>
                <a:cxn ang="0">
                  <a:pos x="T4" y="T5"/>
                </a:cxn>
                <a:cxn ang="0">
                  <a:pos x="T6" y="T7"/>
                </a:cxn>
                <a:cxn ang="0">
                  <a:pos x="T8" y="T9"/>
                </a:cxn>
              </a:cxnLst>
              <a:rect l="0" t="0" r="r" b="b"/>
              <a:pathLst>
                <a:path w="76" h="66">
                  <a:moveTo>
                    <a:pt x="64" y="0"/>
                  </a:moveTo>
                  <a:cubicBezTo>
                    <a:pt x="71" y="7"/>
                    <a:pt x="76" y="17"/>
                    <a:pt x="76" y="28"/>
                  </a:cubicBezTo>
                  <a:cubicBezTo>
                    <a:pt x="76" y="49"/>
                    <a:pt x="59" y="66"/>
                    <a:pt x="38" y="66"/>
                  </a:cubicBezTo>
                  <a:cubicBezTo>
                    <a:pt x="17" y="66"/>
                    <a:pt x="0" y="49"/>
                    <a:pt x="0" y="28"/>
                  </a:cubicBezTo>
                  <a:cubicBezTo>
                    <a:pt x="0" y="17"/>
                    <a:pt x="5" y="7"/>
                    <a:pt x="12" y="0"/>
                  </a:cubicBezTo>
                </a:path>
              </a:pathLst>
            </a:custGeom>
            <a:noFill/>
            <a:ln w="31750"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52" name="Freeform 340">
              <a:extLst>
                <a:ext uri="{FF2B5EF4-FFF2-40B4-BE49-F238E27FC236}">
                  <a16:creationId xmlns:a16="http://schemas.microsoft.com/office/drawing/2014/main" id="{C124C7FE-1FF5-5343-B3CC-C8BA3349113D}"/>
                </a:ext>
              </a:extLst>
            </p:cNvPr>
            <p:cNvSpPr/>
            <p:nvPr/>
          </p:nvSpPr>
          <p:spPr bwMode="auto">
            <a:xfrm>
              <a:off x="3081338" y="3624263"/>
              <a:ext cx="150813" cy="153988"/>
            </a:xfrm>
            <a:custGeom>
              <a:gdLst>
                <a:gd name="T0" fmla="*/ 47 w 95"/>
                <a:gd name="T1" fmla="*/ 0 h 97"/>
                <a:gd name="T2" fmla="*/ 61 w 95"/>
                <a:gd name="T3" fmla="*/ 33 h 97"/>
                <a:gd name="T4" fmla="*/ 95 w 95"/>
                <a:gd name="T5" fmla="*/ 33 h 97"/>
                <a:gd name="T6" fmla="*/ 69 w 95"/>
                <a:gd name="T7" fmla="*/ 57 h 97"/>
                <a:gd name="T8" fmla="*/ 78 w 95"/>
                <a:gd name="T9" fmla="*/ 95 h 97"/>
                <a:gd name="T10" fmla="*/ 47 w 95"/>
                <a:gd name="T11" fmla="*/ 73 h 97"/>
                <a:gd name="T12" fmla="*/ 17 w 95"/>
                <a:gd name="T13" fmla="*/ 97 h 97"/>
                <a:gd name="T14" fmla="*/ 26 w 95"/>
                <a:gd name="T15" fmla="*/ 57 h 97"/>
                <a:gd name="T16" fmla="*/ 0 w 95"/>
                <a:gd name="T17" fmla="*/ 33 h 97"/>
                <a:gd name="T18" fmla="*/ 33 w 95"/>
                <a:gd name="T19" fmla="*/ 33 h 97"/>
                <a:gd name="T20" fmla="*/ 47 w 95"/>
                <a:gd name="T21" fmla="*/ 0 h 9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97">
                  <a:moveTo>
                    <a:pt x="47" y="0"/>
                  </a:moveTo>
                  <a:lnTo>
                    <a:pt x="61" y="33"/>
                  </a:lnTo>
                  <a:lnTo>
                    <a:pt x="95" y="33"/>
                  </a:lnTo>
                  <a:lnTo>
                    <a:pt x="69" y="57"/>
                  </a:lnTo>
                  <a:lnTo>
                    <a:pt x="78" y="95"/>
                  </a:lnTo>
                  <a:lnTo>
                    <a:pt x="47" y="73"/>
                  </a:lnTo>
                  <a:lnTo>
                    <a:pt x="17" y="97"/>
                  </a:lnTo>
                  <a:lnTo>
                    <a:pt x="26" y="57"/>
                  </a:lnTo>
                  <a:lnTo>
                    <a:pt x="0" y="33"/>
                  </a:lnTo>
                  <a:lnTo>
                    <a:pt x="33" y="33"/>
                  </a:lnTo>
                  <a:lnTo>
                    <a:pt x="47" y="0"/>
                  </a:lnTo>
                  <a:close/>
                </a:path>
              </a:pathLst>
            </a:custGeom>
            <a:noFill/>
            <a:ln w="31750" cap="flat">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53" name="Line 341">
              <a:extLst>
                <a:ext uri="{FF2B5EF4-FFF2-40B4-BE49-F238E27FC236}">
                  <a16:creationId xmlns:a16="http://schemas.microsoft.com/office/drawing/2014/main" id="{B4D7B03E-0B95-6E4C-995D-B6102801F1F0}"/>
                </a:ext>
              </a:extLst>
            </p:cNvPr>
            <p:cNvSpPr>
              <a:spLocks noChangeShapeType="1"/>
            </p:cNvSpPr>
            <p:nvPr/>
          </p:nvSpPr>
          <p:spPr bwMode="auto">
            <a:xfrm flipH="1">
              <a:off x="3119438" y="3740150"/>
              <a:ext cx="36513" cy="101600"/>
            </a:xfrm>
            <a:prstGeom prst="line">
              <a:avLst/>
            </a:prstGeom>
            <a:noFill/>
            <a:ln w="31750"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54" name="Line 342">
              <a:extLst>
                <a:ext uri="{FF2B5EF4-FFF2-40B4-BE49-F238E27FC236}">
                  <a16:creationId xmlns:a16="http://schemas.microsoft.com/office/drawing/2014/main" id="{C5FBB3ED-15AA-2246-9146-BDBB0CCD1C4A}"/>
                </a:ext>
              </a:extLst>
            </p:cNvPr>
            <p:cNvSpPr>
              <a:spLocks noChangeShapeType="1"/>
            </p:cNvSpPr>
            <p:nvPr/>
          </p:nvSpPr>
          <p:spPr bwMode="auto">
            <a:xfrm>
              <a:off x="3155950" y="3740150"/>
              <a:ext cx="38100" cy="101600"/>
            </a:xfrm>
            <a:prstGeom prst="line">
              <a:avLst/>
            </a:prstGeom>
            <a:noFill/>
            <a:ln w="31750"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17" name="Rectángulo: esquinas redondeadas 16">
            <a:extLst>
              <a:ext uri="{FF2B5EF4-FFF2-40B4-BE49-F238E27FC236}">
                <a16:creationId xmlns:a16="http://schemas.microsoft.com/office/drawing/2014/main" id="{B1CF4013-AD77-CA91-A2A0-4F27C3437F1D}"/>
              </a:ext>
            </a:extLst>
          </p:cNvPr>
          <p:cNvSpPr/>
          <p:nvPr/>
        </p:nvSpPr>
        <p:spPr>
          <a:xfrm>
            <a:off x="9681210" y="-62824"/>
            <a:ext cx="2510790" cy="350967"/>
          </a:xfrm>
          <a:prstGeom prst="roundRect">
            <a:avLst/>
          </a:prstGeom>
          <a:solidFill>
            <a:srgbClr val="00AB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8" name="TextBox 9">
            <a:extLst>
              <a:ext uri="{FF2B5EF4-FFF2-40B4-BE49-F238E27FC236}">
                <a16:creationId xmlns:a16="http://schemas.microsoft.com/office/drawing/2014/main" id="{5EE6FFA5-6807-293B-693A-7DFB8332F8D7}"/>
              </a:ext>
            </a:extLst>
          </p:cNvPr>
          <p:cNvSpPr txBox="1"/>
          <p:nvPr/>
        </p:nvSpPr>
        <p:spPr>
          <a:xfrm>
            <a:off x="911835" y="170911"/>
            <a:ext cx="3876061" cy="923330"/>
          </a:xfrm>
          <a:prstGeom prst="rect">
            <a:avLst/>
          </a:prstGeom>
          <a:noFill/>
        </p:spPr>
        <p:txBody>
          <a:bodyPr wrap="none" lIns="0" tIns="0" rIns="0" bIns="0" rtlCol="0">
            <a:spAutoFit/>
          </a:bodyPr>
          <a:lstStyle/>
          <a:p>
            <a:r>
              <a:rPr lang="en-US" sz="6000" b="1">
                <a:solidFill>
                  <a:schemeClr val="tx1">
                    <a:lumMod val="65000"/>
                    <a:lumOff val="35000"/>
                  </a:schemeClr>
                </a:solidFill>
                <a:latin typeface="Segoe UI" panose="020b0502040204020203" pitchFamily="34" charset="0"/>
                <a:cs typeface="Segoe UI" panose="020b0502040204020203" pitchFamily="34" charset="0"/>
              </a:rPr>
              <a:t>BAHAMAS</a:t>
            </a:r>
          </a:p>
        </p:txBody>
      </p:sp>
      <p:sp>
        <p:nvSpPr>
          <p:cNvPr id="19" name="TextBox 9">
            <a:extLst>
              <a:ext uri="{FF2B5EF4-FFF2-40B4-BE49-F238E27FC236}">
                <a16:creationId xmlns:a16="http://schemas.microsoft.com/office/drawing/2014/main" id="{5934B12D-D4A3-1E13-A953-4E1579171204}"/>
              </a:ext>
            </a:extLst>
          </p:cNvPr>
          <p:cNvSpPr txBox="1"/>
          <p:nvPr/>
        </p:nvSpPr>
        <p:spPr>
          <a:xfrm>
            <a:off x="911835" y="939121"/>
            <a:ext cx="2068067" cy="430887"/>
          </a:xfrm>
          <a:prstGeom prst="rect">
            <a:avLst/>
          </a:prstGeom>
          <a:noFill/>
        </p:spPr>
        <p:txBody>
          <a:bodyPr wrap="none" lIns="0" tIns="0" rIns="0" bIns="0" rtlCol="0">
            <a:spAutoFit/>
          </a:bodyPr>
          <a:lstStyle/>
          <a:p>
            <a:pPr algn="ctr"/>
            <a:r>
              <a:rPr lang="en-US" sz="2800" b="1">
                <a:solidFill>
                  <a:srgbClr val="02BAC8"/>
                </a:solidFill>
                <a:latin typeface="Segoe UI" panose="020b0502040204020203" pitchFamily="34" charset="0"/>
                <a:cs typeface="Segoe UI" panose="020b0502040204020203" pitchFamily="34" charset="0"/>
              </a:rPr>
              <a:t>Gastronomy</a:t>
            </a:r>
          </a:p>
        </p:txBody>
      </p:sp>
      <p:grpSp>
        <p:nvGrpSpPr>
          <p:cNvPr id="20" name="Grupo 19">
            <a:extLst>
              <a:ext uri="{FF2B5EF4-FFF2-40B4-BE49-F238E27FC236}">
                <a16:creationId xmlns:a16="http://schemas.microsoft.com/office/drawing/2014/main" id="{432C9428-BB8E-155C-7615-30F439C0C451}"/>
              </a:ext>
            </a:extLst>
          </p:cNvPr>
          <p:cNvGrpSpPr/>
          <p:nvPr/>
        </p:nvGrpSpPr>
        <p:grpSpPr>
          <a:xfrm>
            <a:off x="217726" y="24829"/>
            <a:ext cx="792527" cy="1306401"/>
            <a:chOff x="283851" y="5461857"/>
            <a:chExt cx="846969" cy="1396143"/>
          </a:xfrm>
          <a:solidFill>
            <a:srgbClr val="06DBE7"/>
          </a:solidFill>
        </p:grpSpPr>
        <p:sp>
          <p:nvSpPr>
            <p:cNvPr id="21" name="Forma libre: forma 20">
              <a:extLst>
                <a:ext uri="{FF2B5EF4-FFF2-40B4-BE49-F238E27FC236}">
                  <a16:creationId xmlns:a16="http://schemas.microsoft.com/office/drawing/2014/main" id="{50C228EC-9518-E711-2216-D8577AAA7D24}"/>
                </a:ext>
              </a:extLst>
            </p:cNvPr>
            <p:cNvSpPr/>
            <p:nvPr/>
          </p:nvSpPr>
          <p:spPr>
            <a:xfrm>
              <a:off x="283851" y="5461857"/>
              <a:ext cx="846969" cy="468186"/>
            </a:xfrm>
            <a:custGeom>
              <a:gdLst>
                <a:gd name="connsiteX0" fmla="*/ 585515 w 846969"/>
                <a:gd name="connsiteY0" fmla="*/ 123160 h 468186"/>
                <a:gd name="connsiteX1" fmla="*/ 374091 w 846969"/>
                <a:gd name="connsiteY1" fmla="*/ 150510 h 468186"/>
                <a:gd name="connsiteX2" fmla="*/ 58700 w 846969"/>
                <a:gd name="connsiteY2" fmla="*/ 260683 h 468186"/>
                <a:gd name="connsiteX3" fmla="*/ 7105 w 846969"/>
                <a:gd name="connsiteY3" fmla="*/ 260683 h 468186"/>
                <a:gd name="connsiteX4" fmla="*/ 14476 w 846969"/>
                <a:gd name="connsiteY4" fmla="*/ 205208 h 468186"/>
                <a:gd name="connsiteX5" fmla="*/ 215232 w 846969"/>
                <a:gd name="connsiteY5" fmla="*/ 41694 h 468186"/>
                <a:gd name="connsiteX6" fmla="*/ 547303 w 846969"/>
                <a:gd name="connsiteY6" fmla="*/ 4259 h 468186"/>
                <a:gd name="connsiteX7" fmla="*/ 805280 w 846969"/>
                <a:gd name="connsiteY7" fmla="*/ 54302 h 468186"/>
                <a:gd name="connsiteX8" fmla="*/ 846788 w 846969"/>
                <a:gd name="connsiteY8" fmla="*/ 87470 h 468186"/>
                <a:gd name="connsiteX9" fmla="*/ 815366 w 846969"/>
                <a:gd name="connsiteY9" fmla="*/ 131307 h 468186"/>
                <a:gd name="connsiteX10" fmla="*/ 705968 w 846969"/>
                <a:gd name="connsiteY10" fmla="*/ 242644 h 468186"/>
                <a:gd name="connsiteX11" fmla="*/ 376612 w 846969"/>
                <a:gd name="connsiteY11" fmla="*/ 464348 h 468186"/>
                <a:gd name="connsiteX12" fmla="*/ 89735 w 846969"/>
                <a:gd name="connsiteY12" fmla="*/ 417990 h 468186"/>
                <a:gd name="connsiteX13" fmla="*/ 60058 w 846969"/>
                <a:gd name="connsiteY13" fmla="*/ 386762 h 468186"/>
                <a:gd name="connsiteX14" fmla="*/ 86826 w 846969"/>
                <a:gd name="connsiteY14" fmla="*/ 349326 h 468186"/>
                <a:gd name="connsiteX15" fmla="*/ 550407 w 846969"/>
                <a:gd name="connsiteY15" fmla="*/ 135186 h 468186"/>
                <a:gd name="connsiteX16" fmla="*/ 585321 w 846969"/>
                <a:gd name="connsiteY16" fmla="*/ 123160 h 46818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46969" h="468186">
                  <a:moveTo>
                    <a:pt x="585515" y="123160"/>
                  </a:moveTo>
                  <a:cubicBezTo>
                    <a:pt x="513747" y="122191"/>
                    <a:pt x="443531" y="133829"/>
                    <a:pt x="374091" y="150510"/>
                  </a:cubicBezTo>
                  <a:cubicBezTo>
                    <a:pt x="265275" y="176501"/>
                    <a:pt x="159757" y="212385"/>
                    <a:pt x="58700" y="260683"/>
                  </a:cubicBezTo>
                  <a:cubicBezTo>
                    <a:pt x="41631" y="268830"/>
                    <a:pt x="22816" y="281050"/>
                    <a:pt x="7105" y="260683"/>
                  </a:cubicBezTo>
                  <a:cubicBezTo>
                    <a:pt x="-7636" y="241480"/>
                    <a:pt x="3420" y="222278"/>
                    <a:pt x="14476" y="205208"/>
                  </a:cubicBezTo>
                  <a:cubicBezTo>
                    <a:pt x="63162" y="128591"/>
                    <a:pt x="132990" y="77578"/>
                    <a:pt x="215232" y="41694"/>
                  </a:cubicBezTo>
                  <a:cubicBezTo>
                    <a:pt x="322108" y="-5052"/>
                    <a:pt x="434802" y="-3694"/>
                    <a:pt x="547303" y="4259"/>
                  </a:cubicBezTo>
                  <a:cubicBezTo>
                    <a:pt x="634977" y="10660"/>
                    <a:pt x="720710" y="30638"/>
                    <a:pt x="805280" y="54302"/>
                  </a:cubicBezTo>
                  <a:cubicBezTo>
                    <a:pt x="823706" y="59345"/>
                    <a:pt x="844655" y="64000"/>
                    <a:pt x="846788" y="87470"/>
                  </a:cubicBezTo>
                  <a:cubicBezTo>
                    <a:pt x="848922" y="109583"/>
                    <a:pt x="831853" y="120639"/>
                    <a:pt x="815366" y="131307"/>
                  </a:cubicBezTo>
                  <a:cubicBezTo>
                    <a:pt x="770753" y="160402"/>
                    <a:pt x="734094" y="197450"/>
                    <a:pt x="705968" y="242644"/>
                  </a:cubicBezTo>
                  <a:cubicBezTo>
                    <a:pt x="629351" y="366007"/>
                    <a:pt x="524415" y="447279"/>
                    <a:pt x="376612" y="464348"/>
                  </a:cubicBezTo>
                  <a:cubicBezTo>
                    <a:pt x="276913" y="475792"/>
                    <a:pt x="180706" y="462021"/>
                    <a:pt x="89735" y="417990"/>
                  </a:cubicBezTo>
                  <a:cubicBezTo>
                    <a:pt x="75769" y="411201"/>
                    <a:pt x="60640" y="405188"/>
                    <a:pt x="60058" y="386762"/>
                  </a:cubicBezTo>
                  <a:cubicBezTo>
                    <a:pt x="59476" y="368141"/>
                    <a:pt x="72278" y="358248"/>
                    <a:pt x="86826" y="349326"/>
                  </a:cubicBezTo>
                  <a:cubicBezTo>
                    <a:pt x="232689" y="258937"/>
                    <a:pt x="387281" y="187945"/>
                    <a:pt x="550407" y="135186"/>
                  </a:cubicBezTo>
                  <a:cubicBezTo>
                    <a:pt x="562045" y="131501"/>
                    <a:pt x="573683" y="127234"/>
                    <a:pt x="585321" y="123160"/>
                  </a:cubicBezTo>
                  <a:close/>
                </a:path>
              </a:pathLst>
            </a:custGeom>
            <a:solidFill>
              <a:srgbClr val="00ABF7"/>
            </a:solidFill>
            <a:ln w="19266" cap="flat">
              <a:noFill/>
              <a:prstDash val="solid"/>
              <a:miter/>
            </a:ln>
          </p:spPr>
          <p:txBody>
            <a:bodyPr rtlCol="0" anchor="ctr"/>
            <a:lstStyle/>
            <a:p>
              <a:endParaRPr lang="es-PE"/>
            </a:p>
          </p:txBody>
        </p:sp>
        <p:sp>
          <p:nvSpPr>
            <p:cNvPr id="22" name="Forma libre: forma 21">
              <a:extLst>
                <a:ext uri="{FF2B5EF4-FFF2-40B4-BE49-F238E27FC236}">
                  <a16:creationId xmlns:a16="http://schemas.microsoft.com/office/drawing/2014/main" id="{97F661B3-35B1-23DA-DBBD-10665C48CFF5}"/>
                </a:ext>
              </a:extLst>
            </p:cNvPr>
            <p:cNvSpPr/>
            <p:nvPr/>
          </p:nvSpPr>
          <p:spPr>
            <a:xfrm>
              <a:off x="507131" y="5943613"/>
              <a:ext cx="297179" cy="914387"/>
            </a:xfrm>
            <a:custGeom>
              <a:gdLst>
                <a:gd name="connsiteX0" fmla="*/ 76327 w 297179"/>
                <a:gd name="connsiteY0" fmla="*/ 250461 h 914387"/>
                <a:gd name="connsiteX1" fmla="*/ 87189 w 297179"/>
                <a:gd name="connsiteY1" fmla="*/ 213801 h 914387"/>
                <a:gd name="connsiteX2" fmla="*/ 91651 w 297179"/>
                <a:gd name="connsiteY2" fmla="*/ 56494 h 914387"/>
                <a:gd name="connsiteX3" fmla="*/ 107168 w 297179"/>
                <a:gd name="connsiteY3" fmla="*/ 30114 h 914387"/>
                <a:gd name="connsiteX4" fmla="*/ 134323 w 297179"/>
                <a:gd name="connsiteY4" fmla="*/ 56106 h 914387"/>
                <a:gd name="connsiteX5" fmla="*/ 139366 w 297179"/>
                <a:gd name="connsiteY5" fmla="*/ 216128 h 914387"/>
                <a:gd name="connsiteX6" fmla="*/ 149065 w 297179"/>
                <a:gd name="connsiteY6" fmla="*/ 248133 h 914387"/>
                <a:gd name="connsiteX7" fmla="*/ 159733 w 297179"/>
                <a:gd name="connsiteY7" fmla="*/ 208176 h 914387"/>
                <a:gd name="connsiteX8" fmla="*/ 161091 w 297179"/>
                <a:gd name="connsiteY8" fmla="*/ 65028 h 914387"/>
                <a:gd name="connsiteX9" fmla="*/ 161867 w 297179"/>
                <a:gd name="connsiteY9" fmla="*/ 42140 h 914387"/>
                <a:gd name="connsiteX10" fmla="*/ 189798 w 297179"/>
                <a:gd name="connsiteY10" fmla="*/ 20416 h 914387"/>
                <a:gd name="connsiteX11" fmla="*/ 205121 w 297179"/>
                <a:gd name="connsiteY11" fmla="*/ 42916 h 914387"/>
                <a:gd name="connsiteX12" fmla="*/ 208613 w 297179"/>
                <a:gd name="connsiteY12" fmla="*/ 214577 h 914387"/>
                <a:gd name="connsiteX13" fmla="*/ 218699 w 297179"/>
                <a:gd name="connsiteY13" fmla="*/ 245805 h 914387"/>
                <a:gd name="connsiteX14" fmla="*/ 229173 w 297179"/>
                <a:gd name="connsiteY14" fmla="*/ 214965 h 914387"/>
                <a:gd name="connsiteX15" fmla="*/ 234604 w 297179"/>
                <a:gd name="connsiteY15" fmla="*/ 37679 h 914387"/>
                <a:gd name="connsiteX16" fmla="*/ 235574 w 297179"/>
                <a:gd name="connsiteY16" fmla="*/ 20610 h 914387"/>
                <a:gd name="connsiteX17" fmla="*/ 266027 w 297179"/>
                <a:gd name="connsiteY17" fmla="*/ 49 h 914387"/>
                <a:gd name="connsiteX18" fmla="*/ 279217 w 297179"/>
                <a:gd name="connsiteY18" fmla="*/ 20998 h 914387"/>
                <a:gd name="connsiteX19" fmla="*/ 296480 w 297179"/>
                <a:gd name="connsiteY19" fmla="*/ 271991 h 914387"/>
                <a:gd name="connsiteX20" fmla="*/ 245660 w 297179"/>
                <a:gd name="connsiteY20" fmla="*/ 388953 h 914387"/>
                <a:gd name="connsiteX21" fmla="*/ 224518 w 297179"/>
                <a:gd name="connsiteY21" fmla="*/ 403695 h 914387"/>
                <a:gd name="connsiteX22" fmla="*/ 185337 w 297179"/>
                <a:gd name="connsiteY22" fmla="*/ 477984 h 914387"/>
                <a:gd name="connsiteX23" fmla="*/ 222384 w 297179"/>
                <a:gd name="connsiteY23" fmla="*/ 855637 h 914387"/>
                <a:gd name="connsiteX24" fmla="*/ 172535 w 297179"/>
                <a:gd name="connsiteY24" fmla="*/ 914216 h 914387"/>
                <a:gd name="connsiteX25" fmla="*/ 115315 w 297179"/>
                <a:gd name="connsiteY25" fmla="*/ 914216 h 914387"/>
                <a:gd name="connsiteX26" fmla="*/ 73806 w 297179"/>
                <a:gd name="connsiteY26" fmla="*/ 865918 h 914387"/>
                <a:gd name="connsiteX27" fmla="*/ 105228 w 297179"/>
                <a:gd name="connsiteY27" fmla="*/ 668265 h 914387"/>
                <a:gd name="connsiteX28" fmla="*/ 109496 w 297179"/>
                <a:gd name="connsiteY28" fmla="*/ 459557 h 914387"/>
                <a:gd name="connsiteX29" fmla="*/ 82728 w 297179"/>
                <a:gd name="connsiteY29" fmla="*/ 411259 h 914387"/>
                <a:gd name="connsiteX30" fmla="*/ 46068 w 297179"/>
                <a:gd name="connsiteY30" fmla="*/ 383716 h 914387"/>
                <a:gd name="connsiteX31" fmla="*/ 292 w 297179"/>
                <a:gd name="connsiteY31" fmla="*/ 284017 h 914387"/>
                <a:gd name="connsiteX32" fmla="*/ 16779 w 297179"/>
                <a:gd name="connsiteY32" fmla="*/ 50093 h 914387"/>
                <a:gd name="connsiteX33" fmla="*/ 37146 w 297179"/>
                <a:gd name="connsiteY33" fmla="*/ 27205 h 914387"/>
                <a:gd name="connsiteX34" fmla="*/ 64495 w 297179"/>
                <a:gd name="connsiteY34" fmla="*/ 52420 h 914387"/>
                <a:gd name="connsiteX35" fmla="*/ 66047 w 297179"/>
                <a:gd name="connsiteY35" fmla="*/ 204102 h 914387"/>
                <a:gd name="connsiteX36" fmla="*/ 76521 w 297179"/>
                <a:gd name="connsiteY36" fmla="*/ 250073 h 91438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97179" h="914387">
                  <a:moveTo>
                    <a:pt x="76327" y="250461"/>
                  </a:moveTo>
                  <a:cubicBezTo>
                    <a:pt x="90099" y="238823"/>
                    <a:pt x="86801" y="225633"/>
                    <a:pt x="87189" y="213801"/>
                  </a:cubicBezTo>
                  <a:cubicBezTo>
                    <a:pt x="88935" y="161430"/>
                    <a:pt x="90099" y="109059"/>
                    <a:pt x="91651" y="56494"/>
                  </a:cubicBezTo>
                  <a:cubicBezTo>
                    <a:pt x="92039" y="45050"/>
                    <a:pt x="91651" y="32830"/>
                    <a:pt x="107168" y="30114"/>
                  </a:cubicBezTo>
                  <a:cubicBezTo>
                    <a:pt x="127922" y="26817"/>
                    <a:pt x="133935" y="37291"/>
                    <a:pt x="134323" y="56106"/>
                  </a:cubicBezTo>
                  <a:cubicBezTo>
                    <a:pt x="135487" y="109447"/>
                    <a:pt x="137233" y="162788"/>
                    <a:pt x="139366" y="216128"/>
                  </a:cubicBezTo>
                  <a:cubicBezTo>
                    <a:pt x="139754" y="226603"/>
                    <a:pt x="135487" y="239210"/>
                    <a:pt x="149065" y="248133"/>
                  </a:cubicBezTo>
                  <a:cubicBezTo>
                    <a:pt x="160121" y="236495"/>
                    <a:pt x="159539" y="222141"/>
                    <a:pt x="159733" y="208176"/>
                  </a:cubicBezTo>
                  <a:cubicBezTo>
                    <a:pt x="160315" y="160460"/>
                    <a:pt x="160703" y="112744"/>
                    <a:pt x="161091" y="65028"/>
                  </a:cubicBezTo>
                  <a:cubicBezTo>
                    <a:pt x="161091" y="57463"/>
                    <a:pt x="161479" y="49705"/>
                    <a:pt x="161867" y="42140"/>
                  </a:cubicBezTo>
                  <a:cubicBezTo>
                    <a:pt x="162643" y="24101"/>
                    <a:pt x="175832" y="20804"/>
                    <a:pt x="189798" y="20416"/>
                  </a:cubicBezTo>
                  <a:cubicBezTo>
                    <a:pt x="205509" y="19834"/>
                    <a:pt x="204927" y="33218"/>
                    <a:pt x="205121" y="42916"/>
                  </a:cubicBezTo>
                  <a:cubicBezTo>
                    <a:pt x="206673" y="100136"/>
                    <a:pt x="207255" y="157356"/>
                    <a:pt x="208613" y="214577"/>
                  </a:cubicBezTo>
                  <a:cubicBezTo>
                    <a:pt x="209001" y="226021"/>
                    <a:pt x="204733" y="245805"/>
                    <a:pt x="218699" y="245805"/>
                  </a:cubicBezTo>
                  <a:cubicBezTo>
                    <a:pt x="233440" y="245805"/>
                    <a:pt x="228591" y="226215"/>
                    <a:pt x="229173" y="214965"/>
                  </a:cubicBezTo>
                  <a:cubicBezTo>
                    <a:pt x="231501" y="155805"/>
                    <a:pt x="232859" y="96839"/>
                    <a:pt x="234604" y="37679"/>
                  </a:cubicBezTo>
                  <a:cubicBezTo>
                    <a:pt x="234604" y="32054"/>
                    <a:pt x="234604" y="26041"/>
                    <a:pt x="235574" y="20610"/>
                  </a:cubicBezTo>
                  <a:cubicBezTo>
                    <a:pt x="238872" y="3929"/>
                    <a:pt x="252837" y="1019"/>
                    <a:pt x="266027" y="49"/>
                  </a:cubicBezTo>
                  <a:cubicBezTo>
                    <a:pt x="280574" y="-921"/>
                    <a:pt x="278635" y="12657"/>
                    <a:pt x="279217" y="20998"/>
                  </a:cubicBezTo>
                  <a:cubicBezTo>
                    <a:pt x="285036" y="104597"/>
                    <a:pt x="288915" y="188585"/>
                    <a:pt x="296480" y="271991"/>
                  </a:cubicBezTo>
                  <a:cubicBezTo>
                    <a:pt x="300941" y="321840"/>
                    <a:pt x="284066" y="359470"/>
                    <a:pt x="245660" y="388953"/>
                  </a:cubicBezTo>
                  <a:cubicBezTo>
                    <a:pt x="238872" y="394190"/>
                    <a:pt x="231695" y="399039"/>
                    <a:pt x="224518" y="403695"/>
                  </a:cubicBezTo>
                  <a:cubicBezTo>
                    <a:pt x="197363" y="421151"/>
                    <a:pt x="186694" y="445397"/>
                    <a:pt x="185337" y="477984"/>
                  </a:cubicBezTo>
                  <a:cubicBezTo>
                    <a:pt x="179906" y="605808"/>
                    <a:pt x="198332" y="730917"/>
                    <a:pt x="222384" y="855637"/>
                  </a:cubicBezTo>
                  <a:cubicBezTo>
                    <a:pt x="231307" y="901995"/>
                    <a:pt x="220445" y="914022"/>
                    <a:pt x="172535" y="914216"/>
                  </a:cubicBezTo>
                  <a:cubicBezTo>
                    <a:pt x="153526" y="914216"/>
                    <a:pt x="134323" y="914603"/>
                    <a:pt x="115315" y="914216"/>
                  </a:cubicBezTo>
                  <a:cubicBezTo>
                    <a:pt x="80207" y="913440"/>
                    <a:pt x="68569" y="900444"/>
                    <a:pt x="73806" y="865918"/>
                  </a:cubicBezTo>
                  <a:cubicBezTo>
                    <a:pt x="83892" y="799969"/>
                    <a:pt x="96112" y="734408"/>
                    <a:pt x="105228" y="668265"/>
                  </a:cubicBezTo>
                  <a:cubicBezTo>
                    <a:pt x="114733" y="599019"/>
                    <a:pt x="109883" y="529191"/>
                    <a:pt x="109496" y="459557"/>
                  </a:cubicBezTo>
                  <a:cubicBezTo>
                    <a:pt x="109496" y="439578"/>
                    <a:pt x="99603" y="423091"/>
                    <a:pt x="82728" y="411259"/>
                  </a:cubicBezTo>
                  <a:cubicBezTo>
                    <a:pt x="70314" y="402531"/>
                    <a:pt x="58094" y="393220"/>
                    <a:pt x="46068" y="383716"/>
                  </a:cubicBezTo>
                  <a:cubicBezTo>
                    <a:pt x="13870" y="358306"/>
                    <a:pt x="-2423" y="325332"/>
                    <a:pt x="292" y="284017"/>
                  </a:cubicBezTo>
                  <a:cubicBezTo>
                    <a:pt x="5529" y="206042"/>
                    <a:pt x="11348" y="128067"/>
                    <a:pt x="16779" y="50093"/>
                  </a:cubicBezTo>
                  <a:cubicBezTo>
                    <a:pt x="17749" y="36903"/>
                    <a:pt x="18137" y="25265"/>
                    <a:pt x="37146" y="27205"/>
                  </a:cubicBezTo>
                  <a:cubicBezTo>
                    <a:pt x="53633" y="28950"/>
                    <a:pt x="64301" y="33412"/>
                    <a:pt x="64495" y="52420"/>
                  </a:cubicBezTo>
                  <a:cubicBezTo>
                    <a:pt x="64495" y="103046"/>
                    <a:pt x="65465" y="153477"/>
                    <a:pt x="66047" y="204102"/>
                  </a:cubicBezTo>
                  <a:cubicBezTo>
                    <a:pt x="66047" y="219038"/>
                    <a:pt x="65465" y="234361"/>
                    <a:pt x="76521" y="250073"/>
                  </a:cubicBezTo>
                  <a:close/>
                </a:path>
              </a:pathLst>
            </a:custGeom>
            <a:solidFill>
              <a:schemeClr val="bg1">
                <a:lumMod val="65000"/>
              </a:schemeClr>
            </a:solidFill>
            <a:ln w="19266" cap="flat">
              <a:noFill/>
              <a:prstDash val="solid"/>
              <a:miter/>
            </a:ln>
          </p:spPr>
          <p:txBody>
            <a:bodyPr rtlCol="0" anchor="ctr"/>
            <a:lstStyle/>
            <a:p>
              <a:endParaRPr lang="es-PE"/>
            </a:p>
          </p:txBody>
        </p:sp>
      </p:grpSp>
      <p:pic>
        <p:nvPicPr>
          <p:cNvPr id="24" name="Imagen 23">
            <a:extLst>
              <a:ext uri="{FF2B5EF4-FFF2-40B4-BE49-F238E27FC236}">
                <a16:creationId xmlns:a16="http://schemas.microsoft.com/office/drawing/2014/main" id="{A680857E-CDF7-16FC-3FD0-13CEA7D5E2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6883" y="1370008"/>
            <a:ext cx="3651306" cy="6096205"/>
          </a:xfrm>
          <a:prstGeom prst="rect">
            <a:avLst/>
          </a:prstGeom>
        </p:spPr>
      </p:pic>
    </p:spTree>
    <p:extLst>
      <p:ext uri="{BB962C8B-B14F-4D97-AF65-F5344CB8AC3E}">
        <p14:creationId xmlns:p14="http://schemas.microsoft.com/office/powerpoint/2010/main" val="3693547857"/>
      </p:ext>
    </p:extLst>
  </p:cSld>
  <p:clrMapOvr>
    <a:masterClrMapping/>
  </p:clrMapOvr>
  <p:transition/>
  <p:timing/>
</p:sld>
</file>

<file path=ppt/slides/slide16.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3" name="Rectangle 2">
            <a:extLst>
              <a:ext uri="{FF2B5EF4-FFF2-40B4-BE49-F238E27FC236}">
                <a16:creationId xmlns:a16="http://schemas.microsoft.com/office/drawing/2014/main" id="{5905A997-FB29-43D2-A976-BD71FA18A96A}"/>
              </a:ext>
            </a:extLst>
          </p:cNvPr>
          <p:cNvSpPr/>
          <p:nvPr/>
        </p:nvSpPr>
        <p:spPr>
          <a:xfrm>
            <a:off x="4519257" y="478971"/>
            <a:ext cx="7204194" cy="1321040"/>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 name="Rectangle 33">
            <a:extLst>
              <a:ext uri="{FF2B5EF4-FFF2-40B4-BE49-F238E27FC236}">
                <a16:creationId xmlns:a16="http://schemas.microsoft.com/office/drawing/2014/main" id="{797912FA-2D17-48B1-AE76-848878D531EA}"/>
              </a:ext>
            </a:extLst>
          </p:cNvPr>
          <p:cNvSpPr/>
          <p:nvPr/>
        </p:nvSpPr>
        <p:spPr>
          <a:xfrm>
            <a:off x="4519257" y="2007541"/>
            <a:ext cx="7204194" cy="1321040"/>
          </a:xfrm>
          <a:prstGeom prst="rect">
            <a:avLst/>
          </a:prstGeom>
          <a:noFill/>
          <a:ln w="25400">
            <a:solidFill>
              <a:srgbClr val="00AB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 name="Rectangle 34">
            <a:extLst>
              <a:ext uri="{FF2B5EF4-FFF2-40B4-BE49-F238E27FC236}">
                <a16:creationId xmlns:a16="http://schemas.microsoft.com/office/drawing/2014/main" id="{FD5878C1-D4BA-4D75-AC47-0A617597D79F}"/>
              </a:ext>
            </a:extLst>
          </p:cNvPr>
          <p:cNvSpPr/>
          <p:nvPr/>
        </p:nvSpPr>
        <p:spPr>
          <a:xfrm>
            <a:off x="4519257" y="3536111"/>
            <a:ext cx="7204194" cy="1321040"/>
          </a:xfrm>
          <a:prstGeom prst="rect">
            <a:avLst/>
          </a:prstGeom>
          <a:solidFill>
            <a:srgbClr val="00ABF7"/>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 name="Rectangle 35">
            <a:extLst>
              <a:ext uri="{FF2B5EF4-FFF2-40B4-BE49-F238E27FC236}">
                <a16:creationId xmlns:a16="http://schemas.microsoft.com/office/drawing/2014/main" id="{E7EFDBEE-9F90-4016-B2CF-B797B7DC3BAE}"/>
              </a:ext>
            </a:extLst>
          </p:cNvPr>
          <p:cNvSpPr/>
          <p:nvPr/>
        </p:nvSpPr>
        <p:spPr>
          <a:xfrm>
            <a:off x="4519257" y="5064681"/>
            <a:ext cx="7204194" cy="1321040"/>
          </a:xfrm>
          <a:prstGeom prst="rect">
            <a:avLst/>
          </a:prstGeom>
          <a:noFill/>
          <a:ln w="25400">
            <a:solidFill>
              <a:srgbClr val="00AB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7" name="그룹 6">
            <a:extLst>
              <a:ext uri="{FF2B5EF4-FFF2-40B4-BE49-F238E27FC236}">
                <a16:creationId xmlns:a16="http://schemas.microsoft.com/office/drawing/2014/main" id="{B7BE5311-DDC2-4883-A485-BE50CC7AA40D}"/>
              </a:ext>
            </a:extLst>
          </p:cNvPr>
          <p:cNvGrpSpPr/>
          <p:nvPr/>
        </p:nvGrpSpPr>
        <p:grpSpPr>
          <a:xfrm>
            <a:off x="6116185" y="645637"/>
            <a:ext cx="5266798" cy="1004840"/>
            <a:chOff x="5735185" y="674821"/>
            <a:chExt cx="5266798" cy="1004840"/>
          </a:xfrm>
        </p:grpSpPr>
        <p:sp>
          <p:nvSpPr>
            <p:cNvPr id="8" name="TextBox 7">
              <a:extLst>
                <a:ext uri="{FF2B5EF4-FFF2-40B4-BE49-F238E27FC236}">
                  <a16:creationId xmlns:a16="http://schemas.microsoft.com/office/drawing/2014/main" id="{FF80ADB9-C73E-4833-B877-7D33A4C5B360}"/>
                </a:ext>
              </a:extLst>
            </p:cNvPr>
            <p:cNvSpPr txBox="1"/>
            <p:nvPr/>
          </p:nvSpPr>
          <p:spPr>
            <a:xfrm>
              <a:off x="5735185" y="674821"/>
              <a:ext cx="5266798" cy="369331"/>
            </a:xfrm>
            <a:prstGeom prst="rect">
              <a:avLst/>
            </a:prstGeom>
            <a:noFill/>
          </p:spPr>
          <p:txBody>
            <a:bodyPr wrap="square" lIns="90000" rIns="108000" rtlCol="0">
              <a:spAutoFit/>
            </a:bodyPr>
            <a:lstStyle/>
            <a:p>
              <a:r>
                <a:rPr lang="en-US" altLang="ko-KR" b="1">
                  <a:solidFill>
                    <a:schemeClr val="tx1">
                      <a:lumMod val="75000"/>
                      <a:lumOff val="25000"/>
                    </a:schemeClr>
                  </a:solidFill>
                  <a:cs typeface="Arial" panose="020b0604020202020204" pitchFamily="34" charset="0"/>
                </a:rPr>
                <a:t>Option Type</a:t>
              </a:r>
              <a:endParaRPr lang="ko-KR" altLang="en-US" b="1">
                <a:solidFill>
                  <a:schemeClr val="tx1">
                    <a:lumMod val="75000"/>
                    <a:lumOff val="25000"/>
                  </a:schemeClr>
                </a:solidFill>
                <a:cs typeface="Arial" panose="020b0604020202020204" pitchFamily="34" charset="0"/>
              </a:endParaRPr>
            </a:p>
          </p:txBody>
        </p:sp>
        <p:sp>
          <p:nvSpPr>
            <p:cNvPr id="9" name="TextBox 8">
              <a:extLst>
                <a:ext uri="{FF2B5EF4-FFF2-40B4-BE49-F238E27FC236}">
                  <a16:creationId xmlns:a16="http://schemas.microsoft.com/office/drawing/2014/main" id="{F7CAC796-3D54-4E51-83A2-499D0A888139}"/>
                </a:ext>
              </a:extLst>
            </p:cNvPr>
            <p:cNvSpPr txBox="1"/>
            <p:nvPr/>
          </p:nvSpPr>
          <p:spPr>
            <a:xfrm>
              <a:off x="5735185" y="1033329"/>
              <a:ext cx="5266793" cy="646332"/>
            </a:xfrm>
            <a:prstGeom prst="rect">
              <a:avLst/>
            </a:prstGeom>
            <a:noFill/>
          </p:spPr>
          <p:txBody>
            <a:bodyPr wrap="square" lIns="72000" rIns="108000" rtlCol="0">
              <a:spAutoFit/>
            </a:bodyPr>
            <a:lstStyle/>
            <a:p>
              <a:r>
                <a:rPr lang="en-US" altLang="ko-KR" sz="1200">
                  <a:solidFill>
                    <a:schemeClr val="tx1">
                      <a:lumMod val="75000"/>
                      <a:lumOff val="25000"/>
                    </a:schemeClr>
                  </a:solidFill>
                  <a:ea typeface="FZShuTi" pitchFamily="2" charset="-122"/>
                  <a:cs typeface="Arial" panose="020b0604020202020204" pitchFamily="34" charset="0"/>
                </a:rPr>
                <a:t>I hope and I believe that this Template will your Time, Money and Reputation. </a:t>
              </a:r>
              <a:r>
                <a:rPr lang="en-US" altLang="ko-KR" sz="1200">
                  <a:solidFill>
                    <a:schemeClr val="tx1">
                      <a:lumMod val="75000"/>
                      <a:lumOff val="25000"/>
                    </a:schemeClr>
                  </a:solidFill>
                  <a:cs typeface="Arial" panose="020b0604020202020204" pitchFamily="34" charset="0"/>
                </a:rPr>
                <a:t>You can simply impress your audience and add a unique zing and appeal to your Presentations. </a:t>
              </a:r>
              <a:endParaRPr lang="en-US" altLang="ko-KR" sz="1200">
                <a:solidFill>
                  <a:schemeClr val="tx1">
                    <a:lumMod val="75000"/>
                    <a:lumOff val="25000"/>
                  </a:schemeClr>
                </a:solidFill>
                <a:ea typeface="FZShuTi" pitchFamily="2" charset="-122"/>
                <a:cs typeface="Arial" panose="020b0604020202020204" pitchFamily="34" charset="0"/>
              </a:endParaRPr>
            </a:p>
          </p:txBody>
        </p:sp>
      </p:grpSp>
      <p:sp>
        <p:nvSpPr>
          <p:cNvPr id="10" name="Oval 39">
            <a:extLst>
              <a:ext uri="{FF2B5EF4-FFF2-40B4-BE49-F238E27FC236}">
                <a16:creationId xmlns:a16="http://schemas.microsoft.com/office/drawing/2014/main" id="{FCC81AEC-E8E9-4064-96BE-B2E00C2FA80D}"/>
              </a:ext>
            </a:extLst>
          </p:cNvPr>
          <p:cNvSpPr/>
          <p:nvPr/>
        </p:nvSpPr>
        <p:spPr>
          <a:xfrm>
            <a:off x="4963594" y="747150"/>
            <a:ext cx="792088" cy="79208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11" name="그룹 10">
            <a:extLst>
              <a:ext uri="{FF2B5EF4-FFF2-40B4-BE49-F238E27FC236}">
                <a16:creationId xmlns:a16="http://schemas.microsoft.com/office/drawing/2014/main" id="{CD4821D1-E242-4B5D-9524-220DA5B266A7}"/>
              </a:ext>
            </a:extLst>
          </p:cNvPr>
          <p:cNvGrpSpPr/>
          <p:nvPr/>
        </p:nvGrpSpPr>
        <p:grpSpPr>
          <a:xfrm>
            <a:off x="6116185" y="2174522"/>
            <a:ext cx="5266798" cy="1004839"/>
            <a:chOff x="5735185" y="2193979"/>
            <a:chExt cx="5266798" cy="1004839"/>
          </a:xfrm>
        </p:grpSpPr>
        <p:sp>
          <p:nvSpPr>
            <p:cNvPr id="12" name="TextBox 11">
              <a:extLst>
                <a:ext uri="{FF2B5EF4-FFF2-40B4-BE49-F238E27FC236}">
                  <a16:creationId xmlns:a16="http://schemas.microsoft.com/office/drawing/2014/main" id="{C8107CBA-30F2-4087-BC71-376191DC9B5D}"/>
                </a:ext>
              </a:extLst>
            </p:cNvPr>
            <p:cNvSpPr txBox="1"/>
            <p:nvPr/>
          </p:nvSpPr>
          <p:spPr>
            <a:xfrm>
              <a:off x="5735185" y="2193979"/>
              <a:ext cx="5266798" cy="369331"/>
            </a:xfrm>
            <a:prstGeom prst="rect">
              <a:avLst/>
            </a:prstGeom>
            <a:noFill/>
          </p:spPr>
          <p:txBody>
            <a:bodyPr wrap="square" lIns="90000" rIns="108000" rtlCol="0">
              <a:spAutoFit/>
            </a:bodyPr>
            <a:lstStyle/>
            <a:p>
              <a:r>
                <a:rPr lang="en-US" altLang="ko-KR" b="1">
                  <a:solidFill>
                    <a:schemeClr val="tx1">
                      <a:lumMod val="75000"/>
                      <a:lumOff val="25000"/>
                    </a:schemeClr>
                  </a:solidFill>
                  <a:cs typeface="Arial" panose="020b0604020202020204" pitchFamily="34" charset="0"/>
                </a:rPr>
                <a:t>Option Type</a:t>
              </a:r>
              <a:endParaRPr lang="ko-KR" altLang="en-US" b="1">
                <a:solidFill>
                  <a:schemeClr val="tx1">
                    <a:lumMod val="75000"/>
                    <a:lumOff val="25000"/>
                  </a:schemeClr>
                </a:solidFill>
                <a:cs typeface="Arial" panose="020b0604020202020204" pitchFamily="34" charset="0"/>
              </a:endParaRPr>
            </a:p>
          </p:txBody>
        </p:sp>
        <p:sp>
          <p:nvSpPr>
            <p:cNvPr id="13" name="TextBox 12">
              <a:extLst>
                <a:ext uri="{FF2B5EF4-FFF2-40B4-BE49-F238E27FC236}">
                  <a16:creationId xmlns:a16="http://schemas.microsoft.com/office/drawing/2014/main" id="{A4D10B84-4384-460D-B2E7-009218E1E0D7}"/>
                </a:ext>
              </a:extLst>
            </p:cNvPr>
            <p:cNvSpPr txBox="1"/>
            <p:nvPr/>
          </p:nvSpPr>
          <p:spPr>
            <a:xfrm>
              <a:off x="5735185" y="2552488"/>
              <a:ext cx="5266793" cy="646330"/>
            </a:xfrm>
            <a:prstGeom prst="rect">
              <a:avLst/>
            </a:prstGeom>
            <a:noFill/>
          </p:spPr>
          <p:txBody>
            <a:bodyPr wrap="square" lIns="72000" rIns="108000" rtlCol="0">
              <a:spAutoFit/>
            </a:bodyPr>
            <a:lstStyle/>
            <a:p>
              <a:r>
                <a:rPr lang="en-US" altLang="ko-KR" sz="1200">
                  <a:solidFill>
                    <a:schemeClr val="tx1">
                      <a:lumMod val="75000"/>
                      <a:lumOff val="25000"/>
                    </a:schemeClr>
                  </a:solidFill>
                  <a:ea typeface="FZShuTi" pitchFamily="2" charset="-122"/>
                  <a:cs typeface="Arial" panose="020b0604020202020204" pitchFamily="34" charset="0"/>
                </a:rPr>
                <a:t>I hope and I believe that this Template will your Time, Money and Reputation. </a:t>
              </a:r>
              <a:r>
                <a:rPr lang="en-US" altLang="ko-KR" sz="1200">
                  <a:solidFill>
                    <a:schemeClr val="tx1">
                      <a:lumMod val="75000"/>
                      <a:lumOff val="25000"/>
                    </a:schemeClr>
                  </a:solidFill>
                  <a:cs typeface="Arial" panose="020b0604020202020204" pitchFamily="34" charset="0"/>
                </a:rPr>
                <a:t>You can simply impress your audience and add a unique zing and appeal to your Presentations. </a:t>
              </a:r>
              <a:endParaRPr lang="en-US" altLang="ko-KR" sz="1200">
                <a:solidFill>
                  <a:schemeClr val="tx1">
                    <a:lumMod val="75000"/>
                    <a:lumOff val="25000"/>
                  </a:schemeClr>
                </a:solidFill>
                <a:ea typeface="FZShuTi" pitchFamily="2" charset="-122"/>
                <a:cs typeface="Arial" panose="020b0604020202020204" pitchFamily="34" charset="0"/>
              </a:endParaRPr>
            </a:p>
          </p:txBody>
        </p:sp>
      </p:grpSp>
      <p:sp>
        <p:nvSpPr>
          <p:cNvPr id="14" name="Oval 43">
            <a:extLst>
              <a:ext uri="{FF2B5EF4-FFF2-40B4-BE49-F238E27FC236}">
                <a16:creationId xmlns:a16="http://schemas.microsoft.com/office/drawing/2014/main" id="{31B51BAE-AABF-4600-B9BF-77882E4C123B}"/>
              </a:ext>
            </a:extLst>
          </p:cNvPr>
          <p:cNvSpPr/>
          <p:nvPr/>
        </p:nvSpPr>
        <p:spPr>
          <a:xfrm>
            <a:off x="4963594" y="2266306"/>
            <a:ext cx="792088" cy="792088"/>
          </a:xfrm>
          <a:prstGeom prst="ellipse">
            <a:avLst/>
          </a:prstGeom>
          <a:solidFill>
            <a:srgbClr val="00AB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15" name="그룹 14">
            <a:extLst>
              <a:ext uri="{FF2B5EF4-FFF2-40B4-BE49-F238E27FC236}">
                <a16:creationId xmlns:a16="http://schemas.microsoft.com/office/drawing/2014/main" id="{22487580-CC73-49BF-A090-3E15F5043C7B}"/>
              </a:ext>
            </a:extLst>
          </p:cNvPr>
          <p:cNvGrpSpPr/>
          <p:nvPr/>
        </p:nvGrpSpPr>
        <p:grpSpPr>
          <a:xfrm>
            <a:off x="6116185" y="3703406"/>
            <a:ext cx="5266798" cy="1004839"/>
            <a:chOff x="5735185" y="3713135"/>
            <a:chExt cx="5266798" cy="1004839"/>
          </a:xfrm>
        </p:grpSpPr>
        <p:sp>
          <p:nvSpPr>
            <p:cNvPr id="16" name="TextBox 15">
              <a:extLst>
                <a:ext uri="{FF2B5EF4-FFF2-40B4-BE49-F238E27FC236}">
                  <a16:creationId xmlns:a16="http://schemas.microsoft.com/office/drawing/2014/main" id="{DA064D62-1154-4D09-A891-E842868E751C}"/>
                </a:ext>
              </a:extLst>
            </p:cNvPr>
            <p:cNvSpPr txBox="1"/>
            <p:nvPr/>
          </p:nvSpPr>
          <p:spPr>
            <a:xfrm>
              <a:off x="5735185" y="3713135"/>
              <a:ext cx="5266798" cy="369331"/>
            </a:xfrm>
            <a:prstGeom prst="rect">
              <a:avLst/>
            </a:prstGeom>
            <a:noFill/>
          </p:spPr>
          <p:txBody>
            <a:bodyPr wrap="square" lIns="90000" rIns="108000" rtlCol="0">
              <a:spAutoFit/>
            </a:bodyPr>
            <a:lstStyle/>
            <a:p>
              <a:r>
                <a:rPr lang="en-US" altLang="ko-KR" b="1">
                  <a:solidFill>
                    <a:schemeClr val="bg1"/>
                  </a:solidFill>
                  <a:cs typeface="Arial" panose="020b0604020202020204" pitchFamily="34" charset="0"/>
                </a:rPr>
                <a:t>Option Type</a:t>
              </a:r>
              <a:endParaRPr lang="ko-KR" altLang="en-US" b="1">
                <a:solidFill>
                  <a:schemeClr val="bg1"/>
                </a:solidFill>
                <a:cs typeface="Arial" panose="020b0604020202020204" pitchFamily="34" charset="0"/>
              </a:endParaRPr>
            </a:p>
          </p:txBody>
        </p:sp>
        <p:sp>
          <p:nvSpPr>
            <p:cNvPr id="17" name="TextBox 16">
              <a:extLst>
                <a:ext uri="{FF2B5EF4-FFF2-40B4-BE49-F238E27FC236}">
                  <a16:creationId xmlns:a16="http://schemas.microsoft.com/office/drawing/2014/main" id="{E878456A-0422-43F4-81D8-8CB6024821E4}"/>
                </a:ext>
              </a:extLst>
            </p:cNvPr>
            <p:cNvSpPr txBox="1"/>
            <p:nvPr/>
          </p:nvSpPr>
          <p:spPr>
            <a:xfrm>
              <a:off x="5735185" y="4071644"/>
              <a:ext cx="5266793" cy="646330"/>
            </a:xfrm>
            <a:prstGeom prst="rect">
              <a:avLst/>
            </a:prstGeom>
            <a:noFill/>
          </p:spPr>
          <p:txBody>
            <a:bodyPr wrap="square" lIns="72000" rIns="108000" rtlCol="0">
              <a:spAutoFit/>
            </a:bodyPr>
            <a:lstStyle/>
            <a:p>
              <a:r>
                <a:rPr lang="en-US" altLang="ko-KR" sz="1200">
                  <a:solidFill>
                    <a:schemeClr val="bg1"/>
                  </a:solidFill>
                  <a:ea typeface="FZShuTi" pitchFamily="2" charset="-122"/>
                  <a:cs typeface="Arial" panose="020b0604020202020204" pitchFamily="34" charset="0"/>
                </a:rPr>
                <a:t>I hope and I believe that this Template will your Time, Money and Reputation. </a:t>
              </a:r>
              <a:r>
                <a:rPr lang="en-US" altLang="ko-KR" sz="1200">
                  <a:solidFill>
                    <a:schemeClr val="bg1"/>
                  </a:solidFill>
                  <a:cs typeface="Arial" panose="020b0604020202020204" pitchFamily="34" charset="0"/>
                </a:rPr>
                <a:t>You can simply impress your audience and add a unique zing and appeal to your Presentations. </a:t>
              </a:r>
              <a:endParaRPr lang="en-US" altLang="ko-KR" sz="1200">
                <a:solidFill>
                  <a:schemeClr val="bg1"/>
                </a:solidFill>
                <a:ea typeface="FZShuTi" pitchFamily="2" charset="-122"/>
                <a:cs typeface="Arial" panose="020b0604020202020204" pitchFamily="34" charset="0"/>
              </a:endParaRPr>
            </a:p>
          </p:txBody>
        </p:sp>
      </p:grpSp>
      <p:sp>
        <p:nvSpPr>
          <p:cNvPr id="18" name="Oval 48">
            <a:extLst>
              <a:ext uri="{FF2B5EF4-FFF2-40B4-BE49-F238E27FC236}">
                <a16:creationId xmlns:a16="http://schemas.microsoft.com/office/drawing/2014/main" id="{51C06C86-F69C-4448-A501-461190AB2722}"/>
              </a:ext>
            </a:extLst>
          </p:cNvPr>
          <p:cNvSpPr/>
          <p:nvPr/>
        </p:nvSpPr>
        <p:spPr>
          <a:xfrm>
            <a:off x="4963594" y="3785462"/>
            <a:ext cx="792088" cy="7920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19" name="그룹 18">
            <a:extLst>
              <a:ext uri="{FF2B5EF4-FFF2-40B4-BE49-F238E27FC236}">
                <a16:creationId xmlns:a16="http://schemas.microsoft.com/office/drawing/2014/main" id="{7695DEB7-6ACF-4ABD-883E-FDDBA3B84FB2}"/>
              </a:ext>
            </a:extLst>
          </p:cNvPr>
          <p:cNvGrpSpPr/>
          <p:nvPr/>
        </p:nvGrpSpPr>
        <p:grpSpPr>
          <a:xfrm>
            <a:off x="6116185" y="5232291"/>
            <a:ext cx="5266798" cy="1004839"/>
            <a:chOff x="5735185" y="5232291"/>
            <a:chExt cx="5266798" cy="1004839"/>
          </a:xfrm>
        </p:grpSpPr>
        <p:sp>
          <p:nvSpPr>
            <p:cNvPr id="20" name="TextBox 19">
              <a:extLst>
                <a:ext uri="{FF2B5EF4-FFF2-40B4-BE49-F238E27FC236}">
                  <a16:creationId xmlns:a16="http://schemas.microsoft.com/office/drawing/2014/main" id="{397F1BA1-56A4-409D-93D4-EE1ECD1AD2B0}"/>
                </a:ext>
              </a:extLst>
            </p:cNvPr>
            <p:cNvSpPr txBox="1"/>
            <p:nvPr/>
          </p:nvSpPr>
          <p:spPr>
            <a:xfrm>
              <a:off x="5735185" y="5232291"/>
              <a:ext cx="5266798" cy="369331"/>
            </a:xfrm>
            <a:prstGeom prst="rect">
              <a:avLst/>
            </a:prstGeom>
            <a:noFill/>
          </p:spPr>
          <p:txBody>
            <a:bodyPr wrap="square" lIns="90000" rIns="108000" rtlCol="0">
              <a:spAutoFit/>
            </a:bodyPr>
            <a:lstStyle/>
            <a:p>
              <a:r>
                <a:rPr lang="en-US" altLang="ko-KR" b="1">
                  <a:solidFill>
                    <a:schemeClr val="tx1">
                      <a:lumMod val="75000"/>
                      <a:lumOff val="25000"/>
                    </a:schemeClr>
                  </a:solidFill>
                  <a:cs typeface="Arial" panose="020b0604020202020204" pitchFamily="34" charset="0"/>
                </a:rPr>
                <a:t>Option Type</a:t>
              </a:r>
              <a:endParaRPr lang="ko-KR" altLang="en-US" b="1">
                <a:solidFill>
                  <a:schemeClr val="tx1">
                    <a:lumMod val="75000"/>
                    <a:lumOff val="25000"/>
                  </a:schemeClr>
                </a:solidFill>
                <a:cs typeface="Arial" panose="020b0604020202020204" pitchFamily="34" charset="0"/>
              </a:endParaRPr>
            </a:p>
          </p:txBody>
        </p:sp>
        <p:sp>
          <p:nvSpPr>
            <p:cNvPr id="21" name="TextBox 20">
              <a:extLst>
                <a:ext uri="{FF2B5EF4-FFF2-40B4-BE49-F238E27FC236}">
                  <a16:creationId xmlns:a16="http://schemas.microsoft.com/office/drawing/2014/main" id="{C7559C92-A1D0-4A99-9A0A-1E8F4C28CC7C}"/>
                </a:ext>
              </a:extLst>
            </p:cNvPr>
            <p:cNvSpPr txBox="1"/>
            <p:nvPr/>
          </p:nvSpPr>
          <p:spPr>
            <a:xfrm>
              <a:off x="5735187" y="5590800"/>
              <a:ext cx="5266793" cy="646330"/>
            </a:xfrm>
            <a:prstGeom prst="rect">
              <a:avLst/>
            </a:prstGeom>
            <a:noFill/>
          </p:spPr>
          <p:txBody>
            <a:bodyPr wrap="square" lIns="72000" rIns="108000" rtlCol="0">
              <a:spAutoFit/>
            </a:bodyPr>
            <a:lstStyle/>
            <a:p>
              <a:r>
                <a:rPr lang="en-US" altLang="ko-KR" sz="1200">
                  <a:solidFill>
                    <a:schemeClr val="tx1">
                      <a:lumMod val="75000"/>
                      <a:lumOff val="25000"/>
                    </a:schemeClr>
                  </a:solidFill>
                  <a:ea typeface="FZShuTi" pitchFamily="2" charset="-122"/>
                  <a:cs typeface="Arial" panose="020b0604020202020204" pitchFamily="34" charset="0"/>
                </a:rPr>
                <a:t>I hope and I believe that this Template will your Time, Money and Reputation. </a:t>
              </a:r>
              <a:r>
                <a:rPr lang="en-US" altLang="ko-KR" sz="1200">
                  <a:solidFill>
                    <a:schemeClr val="tx1">
                      <a:lumMod val="75000"/>
                      <a:lumOff val="25000"/>
                    </a:schemeClr>
                  </a:solidFill>
                  <a:cs typeface="Arial" panose="020b0604020202020204" pitchFamily="34" charset="0"/>
                </a:rPr>
                <a:t>You can simply impress your audience and add a unique zing and appeal to your Presentations. </a:t>
              </a:r>
              <a:endParaRPr lang="en-US" altLang="ko-KR" sz="1200">
                <a:solidFill>
                  <a:schemeClr val="tx1">
                    <a:lumMod val="75000"/>
                    <a:lumOff val="25000"/>
                  </a:schemeClr>
                </a:solidFill>
                <a:ea typeface="FZShuTi" pitchFamily="2" charset="-122"/>
                <a:cs typeface="Arial" panose="020b0604020202020204" pitchFamily="34" charset="0"/>
              </a:endParaRPr>
            </a:p>
          </p:txBody>
        </p:sp>
      </p:grpSp>
      <p:sp>
        <p:nvSpPr>
          <p:cNvPr id="22" name="Oval 53">
            <a:extLst>
              <a:ext uri="{FF2B5EF4-FFF2-40B4-BE49-F238E27FC236}">
                <a16:creationId xmlns:a16="http://schemas.microsoft.com/office/drawing/2014/main" id="{50AEB87B-B974-4A06-A008-75C29E31E8E7}"/>
              </a:ext>
            </a:extLst>
          </p:cNvPr>
          <p:cNvSpPr/>
          <p:nvPr/>
        </p:nvSpPr>
        <p:spPr>
          <a:xfrm>
            <a:off x="4963594" y="5304618"/>
            <a:ext cx="792088" cy="792088"/>
          </a:xfrm>
          <a:prstGeom prst="ellipse">
            <a:avLst/>
          </a:prstGeom>
          <a:solidFill>
            <a:srgbClr val="00AB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3" name="Rounded Rectangle 25">
            <a:extLst>
              <a:ext uri="{FF2B5EF4-FFF2-40B4-BE49-F238E27FC236}">
                <a16:creationId xmlns:a16="http://schemas.microsoft.com/office/drawing/2014/main" id="{58827F6F-21FB-4ABA-9E85-C77016E9F78B}"/>
              </a:ext>
            </a:extLst>
          </p:cNvPr>
          <p:cNvSpPr/>
          <p:nvPr/>
        </p:nvSpPr>
        <p:spPr>
          <a:xfrm>
            <a:off x="5188222" y="4035539"/>
            <a:ext cx="338160" cy="284999"/>
          </a:xfrm>
          <a:custGeom>
            <a:rect l="l" t="t" r="r" b="b"/>
            <a:pathLst>
              <a:path w="3240000" h="2730652">
                <a:moveTo>
                  <a:pt x="1452811" y="1541940"/>
                </a:moveTo>
                <a:lnTo>
                  <a:pt x="1452811" y="1831951"/>
                </a:lnTo>
                <a:lnTo>
                  <a:pt x="1162800" y="1831951"/>
                </a:lnTo>
                <a:lnTo>
                  <a:pt x="1162800" y="2166329"/>
                </a:lnTo>
                <a:lnTo>
                  <a:pt x="1452811" y="2166329"/>
                </a:lnTo>
                <a:lnTo>
                  <a:pt x="1452811" y="2456340"/>
                </a:lnTo>
                <a:lnTo>
                  <a:pt x="1787189" y="2456340"/>
                </a:lnTo>
                <a:lnTo>
                  <a:pt x="1787189" y="2166329"/>
                </a:lnTo>
                <a:lnTo>
                  <a:pt x="2077200" y="2166329"/>
                </a:lnTo>
                <a:lnTo>
                  <a:pt x="2077200" y="1831951"/>
                </a:lnTo>
                <a:lnTo>
                  <a:pt x="1787189" y="1831951"/>
                </a:lnTo>
                <a:lnTo>
                  <a:pt x="1787189" y="1541940"/>
                </a:lnTo>
                <a:close/>
                <a:moveTo>
                  <a:pt x="0" y="1278453"/>
                </a:moveTo>
                <a:lnTo>
                  <a:pt x="3240000" y="1278453"/>
                </a:lnTo>
                <a:lnTo>
                  <a:pt x="3240000" y="2376509"/>
                </a:lnTo>
                <a:cubicBezTo>
                  <a:pt x="3240000" y="2572097"/>
                  <a:pt x="3081445" y="2730652"/>
                  <a:pt x="2885857" y="2730652"/>
                </a:cubicBezTo>
                <a:lnTo>
                  <a:pt x="354143" y="2730652"/>
                </a:lnTo>
                <a:cubicBezTo>
                  <a:pt x="158555" y="2730652"/>
                  <a:pt x="0" y="2572097"/>
                  <a:pt x="0" y="2376509"/>
                </a:cubicBezTo>
                <a:close/>
                <a:moveTo>
                  <a:pt x="1001150" y="200505"/>
                </a:moveTo>
                <a:cubicBezTo>
                  <a:pt x="933045" y="200505"/>
                  <a:pt x="877834" y="255715"/>
                  <a:pt x="877834" y="323821"/>
                </a:cubicBezTo>
                <a:lnTo>
                  <a:pt x="877834" y="605836"/>
                </a:lnTo>
                <a:lnTo>
                  <a:pt x="2362163" y="605836"/>
                </a:lnTo>
                <a:lnTo>
                  <a:pt x="2362163" y="323821"/>
                </a:lnTo>
                <a:cubicBezTo>
                  <a:pt x="2362163" y="255715"/>
                  <a:pt x="2306952" y="200505"/>
                  <a:pt x="2238846" y="200505"/>
                </a:cubicBezTo>
                <a:close/>
                <a:moveTo>
                  <a:pt x="843301" y="0"/>
                </a:moveTo>
                <a:lnTo>
                  <a:pt x="2396696" y="0"/>
                </a:lnTo>
                <a:cubicBezTo>
                  <a:pt x="2488075" y="0"/>
                  <a:pt x="2562152" y="74077"/>
                  <a:pt x="2562152" y="165456"/>
                </a:cubicBezTo>
                <a:lnTo>
                  <a:pt x="2562152" y="605836"/>
                </a:lnTo>
                <a:lnTo>
                  <a:pt x="2885857" y="605836"/>
                </a:lnTo>
                <a:cubicBezTo>
                  <a:pt x="3081445" y="605836"/>
                  <a:pt x="3240000" y="764391"/>
                  <a:pt x="3240000" y="959979"/>
                </a:cubicBezTo>
                <a:lnTo>
                  <a:pt x="3240000" y="1134437"/>
                </a:lnTo>
                <a:lnTo>
                  <a:pt x="0" y="1134437"/>
                </a:lnTo>
                <a:lnTo>
                  <a:pt x="0" y="959979"/>
                </a:lnTo>
                <a:cubicBezTo>
                  <a:pt x="0" y="764391"/>
                  <a:pt x="158555" y="605836"/>
                  <a:pt x="354143" y="605836"/>
                </a:cubicBezTo>
                <a:lnTo>
                  <a:pt x="677845" y="605836"/>
                </a:lnTo>
                <a:lnTo>
                  <a:pt x="677845" y="165456"/>
                </a:lnTo>
                <a:cubicBezTo>
                  <a:pt x="677845" y="74077"/>
                  <a:pt x="751923" y="0"/>
                  <a:pt x="843301" y="0"/>
                </a:cubicBezTo>
                <a:close/>
              </a:path>
            </a:pathLst>
          </a:custGeom>
          <a:solidFill>
            <a:srgbClr val="00AB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24" name="Chord 32">
            <a:extLst>
              <a:ext uri="{FF2B5EF4-FFF2-40B4-BE49-F238E27FC236}">
                <a16:creationId xmlns:a16="http://schemas.microsoft.com/office/drawing/2014/main" id="{253EEC3B-0EFA-42D2-8CBB-0E46203F8CB9}"/>
              </a:ext>
            </a:extLst>
          </p:cNvPr>
          <p:cNvSpPr/>
          <p:nvPr/>
        </p:nvSpPr>
        <p:spPr>
          <a:xfrm>
            <a:off x="5187951" y="5533065"/>
            <a:ext cx="338160" cy="335194"/>
          </a:xfrm>
          <a:custGeom>
            <a:rect l="l" t="t" r="r" b="b"/>
            <a:pathLst>
              <a:path w="3240000" h="3211580">
                <a:moveTo>
                  <a:pt x="991906" y="2959580"/>
                </a:moveTo>
                <a:lnTo>
                  <a:pt x="2193254" y="2959580"/>
                </a:lnTo>
                <a:cubicBezTo>
                  <a:pt x="2215674" y="2959580"/>
                  <a:pt x="2233849" y="2977755"/>
                  <a:pt x="2233849" y="3000175"/>
                </a:cubicBezTo>
                <a:lnTo>
                  <a:pt x="2233849" y="3170985"/>
                </a:lnTo>
                <a:cubicBezTo>
                  <a:pt x="2233849" y="3193405"/>
                  <a:pt x="2215674" y="3211580"/>
                  <a:pt x="2193254" y="3211580"/>
                </a:cubicBezTo>
                <a:lnTo>
                  <a:pt x="991906" y="3211580"/>
                </a:lnTo>
                <a:cubicBezTo>
                  <a:pt x="969486" y="3211580"/>
                  <a:pt x="951311" y="3193405"/>
                  <a:pt x="951311" y="3170985"/>
                </a:cubicBezTo>
                <a:lnTo>
                  <a:pt x="951311" y="3000175"/>
                </a:lnTo>
                <a:cubicBezTo>
                  <a:pt x="951311" y="2977755"/>
                  <a:pt x="969486" y="2959580"/>
                  <a:pt x="991906" y="2959580"/>
                </a:cubicBezTo>
                <a:close/>
                <a:moveTo>
                  <a:pt x="1439043" y="1763796"/>
                </a:moveTo>
                <a:lnTo>
                  <a:pt x="1439043" y="2067459"/>
                </a:lnTo>
                <a:lnTo>
                  <a:pt x="1135380" y="2067459"/>
                </a:lnTo>
                <a:lnTo>
                  <a:pt x="1135380" y="2374533"/>
                </a:lnTo>
                <a:lnTo>
                  <a:pt x="1439043" y="2374533"/>
                </a:lnTo>
                <a:lnTo>
                  <a:pt x="1439043" y="2678196"/>
                </a:lnTo>
                <a:lnTo>
                  <a:pt x="1746117" y="2678196"/>
                </a:lnTo>
                <a:lnTo>
                  <a:pt x="1746117" y="2374533"/>
                </a:lnTo>
                <a:lnTo>
                  <a:pt x="2049780" y="2374533"/>
                </a:lnTo>
                <a:lnTo>
                  <a:pt x="2049780" y="2067459"/>
                </a:lnTo>
                <a:lnTo>
                  <a:pt x="1746117" y="2067459"/>
                </a:lnTo>
                <a:lnTo>
                  <a:pt x="1746117" y="1763796"/>
                </a:lnTo>
                <a:close/>
                <a:moveTo>
                  <a:pt x="128358" y="1541040"/>
                </a:moveTo>
                <a:lnTo>
                  <a:pt x="3056915" y="1550917"/>
                </a:lnTo>
                <a:cubicBezTo>
                  <a:pt x="3061111" y="2078028"/>
                  <a:pt x="2781683" y="2566719"/>
                  <a:pt x="2325284" y="2830467"/>
                </a:cubicBezTo>
                <a:lnTo>
                  <a:pt x="2182018" y="2900953"/>
                </a:lnTo>
                <a:lnTo>
                  <a:pt x="1002135" y="2900953"/>
                </a:lnTo>
                <a:cubicBezTo>
                  <a:pt x="950374" y="2879821"/>
                  <a:pt x="900231" y="2854191"/>
                  <a:pt x="851341" y="2825496"/>
                </a:cubicBezTo>
                <a:cubicBezTo>
                  <a:pt x="396732" y="2558675"/>
                  <a:pt x="120607" y="2068110"/>
                  <a:pt x="128358" y="1541040"/>
                </a:cubicBezTo>
                <a:close/>
                <a:moveTo>
                  <a:pt x="61067" y="1230414"/>
                </a:moveTo>
                <a:lnTo>
                  <a:pt x="3178933" y="1230414"/>
                </a:lnTo>
                <a:cubicBezTo>
                  <a:pt x="3212659" y="1230414"/>
                  <a:pt x="3240000" y="1257755"/>
                  <a:pt x="3240000" y="1291481"/>
                </a:cubicBezTo>
                <a:lnTo>
                  <a:pt x="3240000" y="1421347"/>
                </a:lnTo>
                <a:cubicBezTo>
                  <a:pt x="3240000" y="1455073"/>
                  <a:pt x="3212659" y="1482414"/>
                  <a:pt x="3178933" y="1482414"/>
                </a:cubicBezTo>
                <a:lnTo>
                  <a:pt x="61067" y="1482414"/>
                </a:lnTo>
                <a:cubicBezTo>
                  <a:pt x="27341" y="1482414"/>
                  <a:pt x="0" y="1455073"/>
                  <a:pt x="0" y="1421347"/>
                </a:cubicBezTo>
                <a:lnTo>
                  <a:pt x="0" y="1291481"/>
                </a:lnTo>
                <a:cubicBezTo>
                  <a:pt x="0" y="1257755"/>
                  <a:pt x="27341" y="1230414"/>
                  <a:pt x="61067" y="1230414"/>
                </a:cubicBezTo>
                <a:close/>
                <a:moveTo>
                  <a:pt x="2481726" y="315922"/>
                </a:moveTo>
                <a:lnTo>
                  <a:pt x="2862412" y="696608"/>
                </a:lnTo>
                <a:lnTo>
                  <a:pt x="2420437" y="1138584"/>
                </a:lnTo>
                <a:lnTo>
                  <a:pt x="1659064" y="1138584"/>
                </a:lnTo>
                <a:close/>
                <a:moveTo>
                  <a:pt x="2730827" y="0"/>
                </a:moveTo>
                <a:cubicBezTo>
                  <a:pt x="2765703" y="0"/>
                  <a:pt x="2800581" y="13305"/>
                  <a:pt x="2827191" y="39915"/>
                </a:cubicBezTo>
                <a:lnTo>
                  <a:pt x="3143636" y="356360"/>
                </a:lnTo>
                <a:cubicBezTo>
                  <a:pt x="3196857" y="409581"/>
                  <a:pt x="3196857" y="495868"/>
                  <a:pt x="3143636" y="549088"/>
                </a:cubicBezTo>
                <a:lnTo>
                  <a:pt x="3082882" y="609843"/>
                </a:lnTo>
                <a:cubicBezTo>
                  <a:pt x="3029661" y="663063"/>
                  <a:pt x="2943375" y="663064"/>
                  <a:pt x="2890155" y="609843"/>
                </a:cubicBezTo>
                <a:lnTo>
                  <a:pt x="2573708" y="293397"/>
                </a:lnTo>
                <a:cubicBezTo>
                  <a:pt x="2520488" y="240176"/>
                  <a:pt x="2520488" y="153889"/>
                  <a:pt x="2573708" y="100669"/>
                </a:cubicBezTo>
                <a:lnTo>
                  <a:pt x="2634463" y="39914"/>
                </a:lnTo>
                <a:cubicBezTo>
                  <a:pt x="2661073" y="13305"/>
                  <a:pt x="2695950" y="0"/>
                  <a:pt x="273082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25" name="Rounded Rectangle 40">
            <a:extLst>
              <a:ext uri="{FF2B5EF4-FFF2-40B4-BE49-F238E27FC236}">
                <a16:creationId xmlns:a16="http://schemas.microsoft.com/office/drawing/2014/main" id="{3DBA0C40-F56A-4EAA-973E-B99F62C7026D}"/>
              </a:ext>
            </a:extLst>
          </p:cNvPr>
          <p:cNvSpPr/>
          <p:nvPr/>
        </p:nvSpPr>
        <p:spPr>
          <a:xfrm rot="2942052">
            <a:off x="5231361" y="2538367"/>
            <a:ext cx="314333" cy="334403"/>
          </a:xfrm>
          <a:custGeom>
            <a:rect l="l" t="t" r="r" b="b"/>
            <a:pathLst>
              <a:path w="3011706" h="3204001">
                <a:moveTo>
                  <a:pt x="2432249" y="1011942"/>
                </a:moveTo>
                <a:cubicBezTo>
                  <a:pt x="2423608" y="1019482"/>
                  <a:pt x="2416303" y="1028841"/>
                  <a:pt x="2410966" y="1039800"/>
                </a:cubicBezTo>
                <a:lnTo>
                  <a:pt x="1969837" y="1945620"/>
                </a:lnTo>
                <a:cubicBezTo>
                  <a:pt x="1948488" y="1989457"/>
                  <a:pt x="1966719" y="2042300"/>
                  <a:pt x="2010556" y="2063648"/>
                </a:cubicBezTo>
                <a:cubicBezTo>
                  <a:pt x="2054392" y="2084996"/>
                  <a:pt x="2107235" y="2066766"/>
                  <a:pt x="2128583" y="2022929"/>
                </a:cubicBezTo>
                <a:lnTo>
                  <a:pt x="2569712" y="1117109"/>
                </a:lnTo>
                <a:cubicBezTo>
                  <a:pt x="2591061" y="1073271"/>
                  <a:pt x="2572830" y="1020430"/>
                  <a:pt x="2528993" y="999081"/>
                </a:cubicBezTo>
                <a:cubicBezTo>
                  <a:pt x="2496115" y="983070"/>
                  <a:pt x="2458172" y="989322"/>
                  <a:pt x="2432249" y="1011942"/>
                </a:cubicBezTo>
                <a:close/>
                <a:moveTo>
                  <a:pt x="1709549" y="1044955"/>
                </a:moveTo>
                <a:cubicBezTo>
                  <a:pt x="1978186" y="735551"/>
                  <a:pt x="2446780" y="702502"/>
                  <a:pt x="2756184" y="971139"/>
                </a:cubicBezTo>
                <a:cubicBezTo>
                  <a:pt x="3065588" y="1239776"/>
                  <a:pt x="3098636" y="1708370"/>
                  <a:pt x="2830000" y="2017774"/>
                </a:cubicBezTo>
                <a:cubicBezTo>
                  <a:pt x="2561363" y="2327178"/>
                  <a:pt x="2092769" y="2360227"/>
                  <a:pt x="1783365" y="2091590"/>
                </a:cubicBezTo>
                <a:cubicBezTo>
                  <a:pt x="1473960" y="1822953"/>
                  <a:pt x="1440912" y="1354359"/>
                  <a:pt x="1709549" y="1044955"/>
                </a:cubicBezTo>
                <a:close/>
                <a:moveTo>
                  <a:pt x="208197" y="1872243"/>
                </a:moveTo>
                <a:cubicBezTo>
                  <a:pt x="195168" y="1885273"/>
                  <a:pt x="187109" y="1903273"/>
                  <a:pt x="187109" y="1923155"/>
                </a:cubicBezTo>
                <a:lnTo>
                  <a:pt x="187109" y="2715155"/>
                </a:lnTo>
                <a:cubicBezTo>
                  <a:pt x="187109" y="2754920"/>
                  <a:pt x="219344" y="2787155"/>
                  <a:pt x="259109" y="2787155"/>
                </a:cubicBezTo>
                <a:cubicBezTo>
                  <a:pt x="298874" y="2787155"/>
                  <a:pt x="331109" y="2754920"/>
                  <a:pt x="331109" y="2715155"/>
                </a:cubicBezTo>
                <a:lnTo>
                  <a:pt x="331109" y="1923155"/>
                </a:lnTo>
                <a:cubicBezTo>
                  <a:pt x="331109" y="1883390"/>
                  <a:pt x="298874" y="1851155"/>
                  <a:pt x="259109" y="1851155"/>
                </a:cubicBezTo>
                <a:cubicBezTo>
                  <a:pt x="239226" y="1851156"/>
                  <a:pt x="221226" y="1859214"/>
                  <a:pt x="208197" y="1872243"/>
                </a:cubicBezTo>
                <a:close/>
                <a:moveTo>
                  <a:pt x="0" y="1625202"/>
                </a:moveTo>
                <a:cubicBezTo>
                  <a:pt x="418057" y="1737228"/>
                  <a:pt x="858998" y="1737384"/>
                  <a:pt x="1277606" y="1625336"/>
                </a:cubicBezTo>
                <a:cubicBezTo>
                  <a:pt x="1277605" y="1938624"/>
                  <a:pt x="1277605" y="2251911"/>
                  <a:pt x="1277605" y="2565198"/>
                </a:cubicBezTo>
                <a:cubicBezTo>
                  <a:pt x="1277605" y="2917999"/>
                  <a:pt x="991603" y="3204001"/>
                  <a:pt x="638802" y="3204001"/>
                </a:cubicBezTo>
                <a:lnTo>
                  <a:pt x="638803" y="3204000"/>
                </a:lnTo>
                <a:cubicBezTo>
                  <a:pt x="286002" y="3204000"/>
                  <a:pt x="0" y="2917999"/>
                  <a:pt x="0" y="2565197"/>
                </a:cubicBezTo>
                <a:close/>
                <a:moveTo>
                  <a:pt x="208197" y="459897"/>
                </a:moveTo>
                <a:cubicBezTo>
                  <a:pt x="195167" y="472926"/>
                  <a:pt x="187109" y="490926"/>
                  <a:pt x="187109" y="510808"/>
                </a:cubicBezTo>
                <a:lnTo>
                  <a:pt x="187109" y="1302808"/>
                </a:lnTo>
                <a:cubicBezTo>
                  <a:pt x="187109" y="1342573"/>
                  <a:pt x="219344" y="1374808"/>
                  <a:pt x="259109" y="1374808"/>
                </a:cubicBezTo>
                <a:cubicBezTo>
                  <a:pt x="298874" y="1374808"/>
                  <a:pt x="331109" y="1342573"/>
                  <a:pt x="331109" y="1302808"/>
                </a:cubicBezTo>
                <a:lnTo>
                  <a:pt x="331109" y="510808"/>
                </a:lnTo>
                <a:cubicBezTo>
                  <a:pt x="331109" y="471043"/>
                  <a:pt x="298874" y="438808"/>
                  <a:pt x="259109" y="438808"/>
                </a:cubicBezTo>
                <a:cubicBezTo>
                  <a:pt x="239226" y="438808"/>
                  <a:pt x="221226" y="446867"/>
                  <a:pt x="208197" y="459897"/>
                </a:cubicBezTo>
                <a:close/>
                <a:moveTo>
                  <a:pt x="187101" y="187101"/>
                </a:moveTo>
                <a:cubicBezTo>
                  <a:pt x="302701" y="71501"/>
                  <a:pt x="462402" y="0"/>
                  <a:pt x="638803" y="0"/>
                </a:cubicBezTo>
                <a:cubicBezTo>
                  <a:pt x="991604" y="0"/>
                  <a:pt x="1277606" y="286002"/>
                  <a:pt x="1277606" y="638803"/>
                </a:cubicBezTo>
                <a:lnTo>
                  <a:pt x="1277606" y="1497764"/>
                </a:lnTo>
                <a:cubicBezTo>
                  <a:pt x="859958" y="1616355"/>
                  <a:pt x="417375" y="1616210"/>
                  <a:pt x="0" y="1498771"/>
                </a:cubicBezTo>
                <a:lnTo>
                  <a:pt x="0" y="638803"/>
                </a:lnTo>
                <a:cubicBezTo>
                  <a:pt x="0" y="462403"/>
                  <a:pt x="71500" y="302702"/>
                  <a:pt x="187101" y="18710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26" name="Rounded Rectangle 17">
            <a:extLst>
              <a:ext uri="{FF2B5EF4-FFF2-40B4-BE49-F238E27FC236}">
                <a16:creationId xmlns:a16="http://schemas.microsoft.com/office/drawing/2014/main" id="{F0CC7FF2-077D-4EC8-83F3-4387319B8B7F}"/>
              </a:ext>
            </a:extLst>
          </p:cNvPr>
          <p:cNvSpPr>
            <a:spLocks noChangeAspect="1"/>
          </p:cNvSpPr>
          <p:nvPr/>
        </p:nvSpPr>
        <p:spPr>
          <a:xfrm>
            <a:off x="5243900" y="952161"/>
            <a:ext cx="226262" cy="360000"/>
          </a:xfrm>
          <a:custGeom>
            <a:rect l="l" t="t" r="r" b="b"/>
            <a:pathLst>
              <a:path w="2016224" h="3207971">
                <a:moveTo>
                  <a:pt x="854575" y="1382799"/>
                </a:moveTo>
                <a:lnTo>
                  <a:pt x="854575" y="1686462"/>
                </a:lnTo>
                <a:lnTo>
                  <a:pt x="550912" y="1686462"/>
                </a:lnTo>
                <a:lnTo>
                  <a:pt x="550912" y="1993536"/>
                </a:lnTo>
                <a:lnTo>
                  <a:pt x="854575" y="1993536"/>
                </a:lnTo>
                <a:lnTo>
                  <a:pt x="854575" y="2297199"/>
                </a:lnTo>
                <a:lnTo>
                  <a:pt x="1161649" y="2297199"/>
                </a:lnTo>
                <a:lnTo>
                  <a:pt x="1161649" y="1993536"/>
                </a:lnTo>
                <a:lnTo>
                  <a:pt x="1465312" y="1993536"/>
                </a:lnTo>
                <a:lnTo>
                  <a:pt x="1465312" y="1686462"/>
                </a:lnTo>
                <a:lnTo>
                  <a:pt x="1161649" y="1686462"/>
                </a:lnTo>
                <a:lnTo>
                  <a:pt x="1161649" y="1382799"/>
                </a:lnTo>
                <a:close/>
                <a:moveTo>
                  <a:pt x="397285" y="941591"/>
                </a:moveTo>
                <a:lnTo>
                  <a:pt x="1618940" y="941591"/>
                </a:lnTo>
                <a:lnTo>
                  <a:pt x="1618940" y="2738407"/>
                </a:lnTo>
                <a:lnTo>
                  <a:pt x="397285" y="2738407"/>
                </a:lnTo>
                <a:close/>
                <a:moveTo>
                  <a:pt x="305673" y="849979"/>
                </a:moveTo>
                <a:lnTo>
                  <a:pt x="305673" y="2830019"/>
                </a:lnTo>
                <a:lnTo>
                  <a:pt x="1710552" y="2830019"/>
                </a:lnTo>
                <a:lnTo>
                  <a:pt x="1710552" y="849979"/>
                </a:lnTo>
                <a:close/>
                <a:moveTo>
                  <a:pt x="240515" y="472027"/>
                </a:moveTo>
                <a:lnTo>
                  <a:pt x="1775709" y="472027"/>
                </a:lnTo>
                <a:cubicBezTo>
                  <a:pt x="1908542" y="472027"/>
                  <a:pt x="2016224" y="579709"/>
                  <a:pt x="2016224" y="712542"/>
                </a:cubicBezTo>
                <a:lnTo>
                  <a:pt x="2016224" y="2967456"/>
                </a:lnTo>
                <a:cubicBezTo>
                  <a:pt x="2016224" y="3100289"/>
                  <a:pt x="1908542" y="3207971"/>
                  <a:pt x="1775709" y="3207971"/>
                </a:cubicBezTo>
                <a:lnTo>
                  <a:pt x="240515" y="3207971"/>
                </a:lnTo>
                <a:cubicBezTo>
                  <a:pt x="107682" y="3207971"/>
                  <a:pt x="0" y="3100289"/>
                  <a:pt x="0" y="2967456"/>
                </a:cubicBezTo>
                <a:lnTo>
                  <a:pt x="0" y="712542"/>
                </a:lnTo>
                <a:cubicBezTo>
                  <a:pt x="0" y="579709"/>
                  <a:pt x="107682" y="472027"/>
                  <a:pt x="240515" y="472027"/>
                </a:cubicBezTo>
                <a:close/>
                <a:moveTo>
                  <a:pt x="515787" y="0"/>
                </a:moveTo>
                <a:lnTo>
                  <a:pt x="1500437" y="0"/>
                </a:lnTo>
                <a:cubicBezTo>
                  <a:pt x="1541893" y="0"/>
                  <a:pt x="1575500" y="33607"/>
                  <a:pt x="1575500" y="75063"/>
                </a:cubicBezTo>
                <a:lnTo>
                  <a:pt x="1575500" y="367990"/>
                </a:lnTo>
                <a:lnTo>
                  <a:pt x="440724" y="367990"/>
                </a:lnTo>
                <a:lnTo>
                  <a:pt x="440724" y="75063"/>
                </a:lnTo>
                <a:cubicBezTo>
                  <a:pt x="440724" y="33607"/>
                  <a:pt x="474331" y="0"/>
                  <a:pt x="51578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pic>
        <p:nvPicPr>
          <p:cNvPr id="30" name="Imagen 29">
            <a:extLst>
              <a:ext uri="{FF2B5EF4-FFF2-40B4-BE49-F238E27FC236}">
                <a16:creationId xmlns:a16="http://schemas.microsoft.com/office/drawing/2014/main" id="{EDC459E7-F2E9-E2CC-18E7-79B0A96D456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577550"/>
            <a:ext cx="3124720" cy="2081739"/>
          </a:xfrm>
          <a:prstGeom prst="rect">
            <a:avLst/>
          </a:prstGeom>
        </p:spPr>
      </p:pic>
      <p:pic>
        <p:nvPicPr>
          <p:cNvPr id="33" name="Imagen 32">
            <a:extLst>
              <a:ext uri="{FF2B5EF4-FFF2-40B4-BE49-F238E27FC236}">
                <a16:creationId xmlns:a16="http://schemas.microsoft.com/office/drawing/2014/main" id="{0179E429-CF58-AACE-14DD-C2A6A316C3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6048" y="2647668"/>
            <a:ext cx="3062151" cy="4135959"/>
          </a:xfrm>
          <a:prstGeom prst="rect">
            <a:avLst/>
          </a:prstGeom>
        </p:spPr>
      </p:pic>
      <p:sp>
        <p:nvSpPr>
          <p:cNvPr id="27" name="TextBox 26">
            <a:extLst>
              <a:ext uri="{FF2B5EF4-FFF2-40B4-BE49-F238E27FC236}">
                <a16:creationId xmlns:a16="http://schemas.microsoft.com/office/drawing/2014/main" id="{F3D56402-8C71-4652-9A1E-CF852FEE6002}"/>
              </a:ext>
            </a:extLst>
          </p:cNvPr>
          <p:cNvSpPr txBox="1"/>
          <p:nvPr/>
        </p:nvSpPr>
        <p:spPr>
          <a:xfrm>
            <a:off x="748937" y="2548697"/>
            <a:ext cx="2734492" cy="1569660"/>
          </a:xfrm>
          <a:prstGeom prst="rect">
            <a:avLst/>
          </a:prstGeom>
          <a:noFill/>
        </p:spPr>
        <p:txBody>
          <a:bodyPr wrap="square" lIns="72000" rIns="108000" rtlCol="0">
            <a:spAutoFit/>
          </a:bodyPr>
          <a:lstStyle/>
          <a:p>
            <a:r>
              <a:rPr lang="en-US" altLang="ko-KR" sz="1200">
                <a:solidFill>
                  <a:schemeClr val="tx1">
                    <a:lumMod val="75000"/>
                    <a:lumOff val="25000"/>
                  </a:schemeClr>
                </a:solidFill>
                <a:ea typeface="FZShuTi" pitchFamily="2" charset="-122"/>
                <a:cs typeface="Arial" panose="020b0604020202020204" pitchFamily="34" charset="0"/>
              </a:rPr>
              <a:t>Example Text : Get a modern PowerPoint  Presentation that is beautifully designed. I hope and I believe that this Template will your Time, Money and Reputation. </a:t>
            </a:r>
            <a:r>
              <a:rPr lang="en-US" altLang="ko-KR" sz="1200">
                <a:solidFill>
                  <a:schemeClr val="tx1">
                    <a:lumMod val="75000"/>
                    <a:lumOff val="25000"/>
                  </a:schemeClr>
                </a:solidFill>
                <a:cs typeface="Arial" panose="020b0604020202020204" pitchFamily="34" charset="0"/>
              </a:rPr>
              <a:t>You can simply impress your audience and add a unique zing and appeal to your Presentations. </a:t>
            </a:r>
            <a:endParaRPr lang="en-US" altLang="ko-KR" sz="1200">
              <a:solidFill>
                <a:schemeClr val="tx1">
                  <a:lumMod val="75000"/>
                  <a:lumOff val="25000"/>
                </a:schemeClr>
              </a:solidFill>
              <a:ea typeface="FZShuTi" pitchFamily="2" charset="-122"/>
              <a:cs typeface="Arial" panose="020b0604020202020204" pitchFamily="34" charset="0"/>
            </a:endParaRPr>
          </a:p>
        </p:txBody>
      </p:sp>
      <p:sp>
        <p:nvSpPr>
          <p:cNvPr id="36" name="TextBox 9">
            <a:extLst>
              <a:ext uri="{FF2B5EF4-FFF2-40B4-BE49-F238E27FC236}">
                <a16:creationId xmlns:a16="http://schemas.microsoft.com/office/drawing/2014/main" id="{B1B3D529-FBB4-D574-DCC9-7262A8057A1A}"/>
              </a:ext>
            </a:extLst>
          </p:cNvPr>
          <p:cNvSpPr txBox="1"/>
          <p:nvPr/>
        </p:nvSpPr>
        <p:spPr>
          <a:xfrm>
            <a:off x="959842" y="645637"/>
            <a:ext cx="3486532" cy="830997"/>
          </a:xfrm>
          <a:prstGeom prst="rect">
            <a:avLst/>
          </a:prstGeom>
          <a:noFill/>
        </p:spPr>
        <p:txBody>
          <a:bodyPr wrap="none" lIns="0" tIns="0" rIns="0" bIns="0" rtlCol="0">
            <a:spAutoFit/>
          </a:bodyPr>
          <a:lstStyle/>
          <a:p>
            <a:r>
              <a:rPr lang="en-US" sz="5400" b="1">
                <a:solidFill>
                  <a:schemeClr val="tx1">
                    <a:lumMod val="65000"/>
                    <a:lumOff val="35000"/>
                  </a:schemeClr>
                </a:solidFill>
                <a:latin typeface="Segoe UI" panose="020b0502040204020203" pitchFamily="34" charset="0"/>
                <a:cs typeface="Segoe UI" panose="020b0502040204020203" pitchFamily="34" charset="0"/>
              </a:rPr>
              <a:t>BAHAMAS</a:t>
            </a:r>
          </a:p>
        </p:txBody>
      </p:sp>
      <p:sp>
        <p:nvSpPr>
          <p:cNvPr id="37" name="TextBox 9">
            <a:extLst>
              <a:ext uri="{FF2B5EF4-FFF2-40B4-BE49-F238E27FC236}">
                <a16:creationId xmlns:a16="http://schemas.microsoft.com/office/drawing/2014/main" id="{A07E443D-7BDE-F0AB-204F-90FF35CE1E54}"/>
              </a:ext>
            </a:extLst>
          </p:cNvPr>
          <p:cNvSpPr txBox="1"/>
          <p:nvPr/>
        </p:nvSpPr>
        <p:spPr>
          <a:xfrm>
            <a:off x="959842" y="1413847"/>
            <a:ext cx="2068067" cy="430887"/>
          </a:xfrm>
          <a:prstGeom prst="rect">
            <a:avLst/>
          </a:prstGeom>
          <a:noFill/>
        </p:spPr>
        <p:txBody>
          <a:bodyPr wrap="none" lIns="0" tIns="0" rIns="0" bIns="0" rtlCol="0">
            <a:spAutoFit/>
          </a:bodyPr>
          <a:lstStyle/>
          <a:p>
            <a:pPr algn="ctr"/>
            <a:r>
              <a:rPr lang="en-US" sz="2800" b="1">
                <a:solidFill>
                  <a:srgbClr val="02BAC8"/>
                </a:solidFill>
                <a:latin typeface="Segoe UI" panose="020b0502040204020203" pitchFamily="34" charset="0"/>
                <a:cs typeface="Segoe UI" panose="020b0502040204020203" pitchFamily="34" charset="0"/>
              </a:rPr>
              <a:t>Gastronomy</a:t>
            </a:r>
          </a:p>
        </p:txBody>
      </p:sp>
      <p:grpSp>
        <p:nvGrpSpPr>
          <p:cNvPr id="38" name="Grupo 37">
            <a:extLst>
              <a:ext uri="{FF2B5EF4-FFF2-40B4-BE49-F238E27FC236}">
                <a16:creationId xmlns:a16="http://schemas.microsoft.com/office/drawing/2014/main" id="{656EF94D-793E-8EB5-433A-7C3A09C089E3}"/>
              </a:ext>
            </a:extLst>
          </p:cNvPr>
          <p:cNvGrpSpPr/>
          <p:nvPr/>
        </p:nvGrpSpPr>
        <p:grpSpPr>
          <a:xfrm>
            <a:off x="265733" y="499555"/>
            <a:ext cx="792527" cy="1306401"/>
            <a:chOff x="283851" y="5461857"/>
            <a:chExt cx="846969" cy="1396143"/>
          </a:xfrm>
          <a:solidFill>
            <a:srgbClr val="06DBE7"/>
          </a:solidFill>
        </p:grpSpPr>
        <p:sp>
          <p:nvSpPr>
            <p:cNvPr id="39" name="Forma libre: forma 38">
              <a:extLst>
                <a:ext uri="{FF2B5EF4-FFF2-40B4-BE49-F238E27FC236}">
                  <a16:creationId xmlns:a16="http://schemas.microsoft.com/office/drawing/2014/main" id="{EF876BE6-1089-AAF4-2F02-57C5628C32F1}"/>
                </a:ext>
              </a:extLst>
            </p:cNvPr>
            <p:cNvSpPr/>
            <p:nvPr/>
          </p:nvSpPr>
          <p:spPr>
            <a:xfrm>
              <a:off x="283851" y="5461857"/>
              <a:ext cx="846969" cy="468186"/>
            </a:xfrm>
            <a:custGeom>
              <a:gdLst>
                <a:gd name="connsiteX0" fmla="*/ 585515 w 846969"/>
                <a:gd name="connsiteY0" fmla="*/ 123160 h 468186"/>
                <a:gd name="connsiteX1" fmla="*/ 374091 w 846969"/>
                <a:gd name="connsiteY1" fmla="*/ 150510 h 468186"/>
                <a:gd name="connsiteX2" fmla="*/ 58700 w 846969"/>
                <a:gd name="connsiteY2" fmla="*/ 260683 h 468186"/>
                <a:gd name="connsiteX3" fmla="*/ 7105 w 846969"/>
                <a:gd name="connsiteY3" fmla="*/ 260683 h 468186"/>
                <a:gd name="connsiteX4" fmla="*/ 14476 w 846969"/>
                <a:gd name="connsiteY4" fmla="*/ 205208 h 468186"/>
                <a:gd name="connsiteX5" fmla="*/ 215232 w 846969"/>
                <a:gd name="connsiteY5" fmla="*/ 41694 h 468186"/>
                <a:gd name="connsiteX6" fmla="*/ 547303 w 846969"/>
                <a:gd name="connsiteY6" fmla="*/ 4259 h 468186"/>
                <a:gd name="connsiteX7" fmla="*/ 805280 w 846969"/>
                <a:gd name="connsiteY7" fmla="*/ 54302 h 468186"/>
                <a:gd name="connsiteX8" fmla="*/ 846788 w 846969"/>
                <a:gd name="connsiteY8" fmla="*/ 87470 h 468186"/>
                <a:gd name="connsiteX9" fmla="*/ 815366 w 846969"/>
                <a:gd name="connsiteY9" fmla="*/ 131307 h 468186"/>
                <a:gd name="connsiteX10" fmla="*/ 705968 w 846969"/>
                <a:gd name="connsiteY10" fmla="*/ 242644 h 468186"/>
                <a:gd name="connsiteX11" fmla="*/ 376612 w 846969"/>
                <a:gd name="connsiteY11" fmla="*/ 464348 h 468186"/>
                <a:gd name="connsiteX12" fmla="*/ 89735 w 846969"/>
                <a:gd name="connsiteY12" fmla="*/ 417990 h 468186"/>
                <a:gd name="connsiteX13" fmla="*/ 60058 w 846969"/>
                <a:gd name="connsiteY13" fmla="*/ 386762 h 468186"/>
                <a:gd name="connsiteX14" fmla="*/ 86826 w 846969"/>
                <a:gd name="connsiteY14" fmla="*/ 349326 h 468186"/>
                <a:gd name="connsiteX15" fmla="*/ 550407 w 846969"/>
                <a:gd name="connsiteY15" fmla="*/ 135186 h 468186"/>
                <a:gd name="connsiteX16" fmla="*/ 585321 w 846969"/>
                <a:gd name="connsiteY16" fmla="*/ 123160 h 46818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46969" h="468186">
                  <a:moveTo>
                    <a:pt x="585515" y="123160"/>
                  </a:moveTo>
                  <a:cubicBezTo>
                    <a:pt x="513747" y="122191"/>
                    <a:pt x="443531" y="133829"/>
                    <a:pt x="374091" y="150510"/>
                  </a:cubicBezTo>
                  <a:cubicBezTo>
                    <a:pt x="265275" y="176501"/>
                    <a:pt x="159757" y="212385"/>
                    <a:pt x="58700" y="260683"/>
                  </a:cubicBezTo>
                  <a:cubicBezTo>
                    <a:pt x="41631" y="268830"/>
                    <a:pt x="22816" y="281050"/>
                    <a:pt x="7105" y="260683"/>
                  </a:cubicBezTo>
                  <a:cubicBezTo>
                    <a:pt x="-7636" y="241480"/>
                    <a:pt x="3420" y="222278"/>
                    <a:pt x="14476" y="205208"/>
                  </a:cubicBezTo>
                  <a:cubicBezTo>
                    <a:pt x="63162" y="128591"/>
                    <a:pt x="132990" y="77578"/>
                    <a:pt x="215232" y="41694"/>
                  </a:cubicBezTo>
                  <a:cubicBezTo>
                    <a:pt x="322108" y="-5052"/>
                    <a:pt x="434802" y="-3694"/>
                    <a:pt x="547303" y="4259"/>
                  </a:cubicBezTo>
                  <a:cubicBezTo>
                    <a:pt x="634977" y="10660"/>
                    <a:pt x="720710" y="30638"/>
                    <a:pt x="805280" y="54302"/>
                  </a:cubicBezTo>
                  <a:cubicBezTo>
                    <a:pt x="823706" y="59345"/>
                    <a:pt x="844655" y="64000"/>
                    <a:pt x="846788" y="87470"/>
                  </a:cubicBezTo>
                  <a:cubicBezTo>
                    <a:pt x="848922" y="109583"/>
                    <a:pt x="831853" y="120639"/>
                    <a:pt x="815366" y="131307"/>
                  </a:cubicBezTo>
                  <a:cubicBezTo>
                    <a:pt x="770753" y="160402"/>
                    <a:pt x="734094" y="197450"/>
                    <a:pt x="705968" y="242644"/>
                  </a:cubicBezTo>
                  <a:cubicBezTo>
                    <a:pt x="629351" y="366007"/>
                    <a:pt x="524415" y="447279"/>
                    <a:pt x="376612" y="464348"/>
                  </a:cubicBezTo>
                  <a:cubicBezTo>
                    <a:pt x="276913" y="475792"/>
                    <a:pt x="180706" y="462021"/>
                    <a:pt x="89735" y="417990"/>
                  </a:cubicBezTo>
                  <a:cubicBezTo>
                    <a:pt x="75769" y="411201"/>
                    <a:pt x="60640" y="405188"/>
                    <a:pt x="60058" y="386762"/>
                  </a:cubicBezTo>
                  <a:cubicBezTo>
                    <a:pt x="59476" y="368141"/>
                    <a:pt x="72278" y="358248"/>
                    <a:pt x="86826" y="349326"/>
                  </a:cubicBezTo>
                  <a:cubicBezTo>
                    <a:pt x="232689" y="258937"/>
                    <a:pt x="387281" y="187945"/>
                    <a:pt x="550407" y="135186"/>
                  </a:cubicBezTo>
                  <a:cubicBezTo>
                    <a:pt x="562045" y="131501"/>
                    <a:pt x="573683" y="127234"/>
                    <a:pt x="585321" y="123160"/>
                  </a:cubicBezTo>
                  <a:close/>
                </a:path>
              </a:pathLst>
            </a:custGeom>
            <a:solidFill>
              <a:srgbClr val="00ABF7"/>
            </a:solidFill>
            <a:ln w="19266" cap="flat">
              <a:noFill/>
              <a:prstDash val="solid"/>
              <a:miter/>
            </a:ln>
          </p:spPr>
          <p:txBody>
            <a:bodyPr rtlCol="0" anchor="ctr"/>
            <a:lstStyle/>
            <a:p>
              <a:endParaRPr lang="es-PE"/>
            </a:p>
          </p:txBody>
        </p:sp>
        <p:sp>
          <p:nvSpPr>
            <p:cNvPr id="40" name="Forma libre: forma 39">
              <a:extLst>
                <a:ext uri="{FF2B5EF4-FFF2-40B4-BE49-F238E27FC236}">
                  <a16:creationId xmlns:a16="http://schemas.microsoft.com/office/drawing/2014/main" id="{9910816D-D3CA-E239-6E09-49D519BD900F}"/>
                </a:ext>
              </a:extLst>
            </p:cNvPr>
            <p:cNvSpPr/>
            <p:nvPr/>
          </p:nvSpPr>
          <p:spPr>
            <a:xfrm>
              <a:off x="507131" y="5943613"/>
              <a:ext cx="297179" cy="914387"/>
            </a:xfrm>
            <a:custGeom>
              <a:gdLst>
                <a:gd name="connsiteX0" fmla="*/ 76327 w 297179"/>
                <a:gd name="connsiteY0" fmla="*/ 250461 h 914387"/>
                <a:gd name="connsiteX1" fmla="*/ 87189 w 297179"/>
                <a:gd name="connsiteY1" fmla="*/ 213801 h 914387"/>
                <a:gd name="connsiteX2" fmla="*/ 91651 w 297179"/>
                <a:gd name="connsiteY2" fmla="*/ 56494 h 914387"/>
                <a:gd name="connsiteX3" fmla="*/ 107168 w 297179"/>
                <a:gd name="connsiteY3" fmla="*/ 30114 h 914387"/>
                <a:gd name="connsiteX4" fmla="*/ 134323 w 297179"/>
                <a:gd name="connsiteY4" fmla="*/ 56106 h 914387"/>
                <a:gd name="connsiteX5" fmla="*/ 139366 w 297179"/>
                <a:gd name="connsiteY5" fmla="*/ 216128 h 914387"/>
                <a:gd name="connsiteX6" fmla="*/ 149065 w 297179"/>
                <a:gd name="connsiteY6" fmla="*/ 248133 h 914387"/>
                <a:gd name="connsiteX7" fmla="*/ 159733 w 297179"/>
                <a:gd name="connsiteY7" fmla="*/ 208176 h 914387"/>
                <a:gd name="connsiteX8" fmla="*/ 161091 w 297179"/>
                <a:gd name="connsiteY8" fmla="*/ 65028 h 914387"/>
                <a:gd name="connsiteX9" fmla="*/ 161867 w 297179"/>
                <a:gd name="connsiteY9" fmla="*/ 42140 h 914387"/>
                <a:gd name="connsiteX10" fmla="*/ 189798 w 297179"/>
                <a:gd name="connsiteY10" fmla="*/ 20416 h 914387"/>
                <a:gd name="connsiteX11" fmla="*/ 205121 w 297179"/>
                <a:gd name="connsiteY11" fmla="*/ 42916 h 914387"/>
                <a:gd name="connsiteX12" fmla="*/ 208613 w 297179"/>
                <a:gd name="connsiteY12" fmla="*/ 214577 h 914387"/>
                <a:gd name="connsiteX13" fmla="*/ 218699 w 297179"/>
                <a:gd name="connsiteY13" fmla="*/ 245805 h 914387"/>
                <a:gd name="connsiteX14" fmla="*/ 229173 w 297179"/>
                <a:gd name="connsiteY14" fmla="*/ 214965 h 914387"/>
                <a:gd name="connsiteX15" fmla="*/ 234604 w 297179"/>
                <a:gd name="connsiteY15" fmla="*/ 37679 h 914387"/>
                <a:gd name="connsiteX16" fmla="*/ 235574 w 297179"/>
                <a:gd name="connsiteY16" fmla="*/ 20610 h 914387"/>
                <a:gd name="connsiteX17" fmla="*/ 266027 w 297179"/>
                <a:gd name="connsiteY17" fmla="*/ 49 h 914387"/>
                <a:gd name="connsiteX18" fmla="*/ 279217 w 297179"/>
                <a:gd name="connsiteY18" fmla="*/ 20998 h 914387"/>
                <a:gd name="connsiteX19" fmla="*/ 296480 w 297179"/>
                <a:gd name="connsiteY19" fmla="*/ 271991 h 914387"/>
                <a:gd name="connsiteX20" fmla="*/ 245660 w 297179"/>
                <a:gd name="connsiteY20" fmla="*/ 388953 h 914387"/>
                <a:gd name="connsiteX21" fmla="*/ 224518 w 297179"/>
                <a:gd name="connsiteY21" fmla="*/ 403695 h 914387"/>
                <a:gd name="connsiteX22" fmla="*/ 185337 w 297179"/>
                <a:gd name="connsiteY22" fmla="*/ 477984 h 914387"/>
                <a:gd name="connsiteX23" fmla="*/ 222384 w 297179"/>
                <a:gd name="connsiteY23" fmla="*/ 855637 h 914387"/>
                <a:gd name="connsiteX24" fmla="*/ 172535 w 297179"/>
                <a:gd name="connsiteY24" fmla="*/ 914216 h 914387"/>
                <a:gd name="connsiteX25" fmla="*/ 115315 w 297179"/>
                <a:gd name="connsiteY25" fmla="*/ 914216 h 914387"/>
                <a:gd name="connsiteX26" fmla="*/ 73806 w 297179"/>
                <a:gd name="connsiteY26" fmla="*/ 865918 h 914387"/>
                <a:gd name="connsiteX27" fmla="*/ 105228 w 297179"/>
                <a:gd name="connsiteY27" fmla="*/ 668265 h 914387"/>
                <a:gd name="connsiteX28" fmla="*/ 109496 w 297179"/>
                <a:gd name="connsiteY28" fmla="*/ 459557 h 914387"/>
                <a:gd name="connsiteX29" fmla="*/ 82728 w 297179"/>
                <a:gd name="connsiteY29" fmla="*/ 411259 h 914387"/>
                <a:gd name="connsiteX30" fmla="*/ 46068 w 297179"/>
                <a:gd name="connsiteY30" fmla="*/ 383716 h 914387"/>
                <a:gd name="connsiteX31" fmla="*/ 292 w 297179"/>
                <a:gd name="connsiteY31" fmla="*/ 284017 h 914387"/>
                <a:gd name="connsiteX32" fmla="*/ 16779 w 297179"/>
                <a:gd name="connsiteY32" fmla="*/ 50093 h 914387"/>
                <a:gd name="connsiteX33" fmla="*/ 37146 w 297179"/>
                <a:gd name="connsiteY33" fmla="*/ 27205 h 914387"/>
                <a:gd name="connsiteX34" fmla="*/ 64495 w 297179"/>
                <a:gd name="connsiteY34" fmla="*/ 52420 h 914387"/>
                <a:gd name="connsiteX35" fmla="*/ 66047 w 297179"/>
                <a:gd name="connsiteY35" fmla="*/ 204102 h 914387"/>
                <a:gd name="connsiteX36" fmla="*/ 76521 w 297179"/>
                <a:gd name="connsiteY36" fmla="*/ 250073 h 91438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97179" h="914387">
                  <a:moveTo>
                    <a:pt x="76327" y="250461"/>
                  </a:moveTo>
                  <a:cubicBezTo>
                    <a:pt x="90099" y="238823"/>
                    <a:pt x="86801" y="225633"/>
                    <a:pt x="87189" y="213801"/>
                  </a:cubicBezTo>
                  <a:cubicBezTo>
                    <a:pt x="88935" y="161430"/>
                    <a:pt x="90099" y="109059"/>
                    <a:pt x="91651" y="56494"/>
                  </a:cubicBezTo>
                  <a:cubicBezTo>
                    <a:pt x="92039" y="45050"/>
                    <a:pt x="91651" y="32830"/>
                    <a:pt x="107168" y="30114"/>
                  </a:cubicBezTo>
                  <a:cubicBezTo>
                    <a:pt x="127922" y="26817"/>
                    <a:pt x="133935" y="37291"/>
                    <a:pt x="134323" y="56106"/>
                  </a:cubicBezTo>
                  <a:cubicBezTo>
                    <a:pt x="135487" y="109447"/>
                    <a:pt x="137233" y="162788"/>
                    <a:pt x="139366" y="216128"/>
                  </a:cubicBezTo>
                  <a:cubicBezTo>
                    <a:pt x="139754" y="226603"/>
                    <a:pt x="135487" y="239210"/>
                    <a:pt x="149065" y="248133"/>
                  </a:cubicBezTo>
                  <a:cubicBezTo>
                    <a:pt x="160121" y="236495"/>
                    <a:pt x="159539" y="222141"/>
                    <a:pt x="159733" y="208176"/>
                  </a:cubicBezTo>
                  <a:cubicBezTo>
                    <a:pt x="160315" y="160460"/>
                    <a:pt x="160703" y="112744"/>
                    <a:pt x="161091" y="65028"/>
                  </a:cubicBezTo>
                  <a:cubicBezTo>
                    <a:pt x="161091" y="57463"/>
                    <a:pt x="161479" y="49705"/>
                    <a:pt x="161867" y="42140"/>
                  </a:cubicBezTo>
                  <a:cubicBezTo>
                    <a:pt x="162643" y="24101"/>
                    <a:pt x="175832" y="20804"/>
                    <a:pt x="189798" y="20416"/>
                  </a:cubicBezTo>
                  <a:cubicBezTo>
                    <a:pt x="205509" y="19834"/>
                    <a:pt x="204927" y="33218"/>
                    <a:pt x="205121" y="42916"/>
                  </a:cubicBezTo>
                  <a:cubicBezTo>
                    <a:pt x="206673" y="100136"/>
                    <a:pt x="207255" y="157356"/>
                    <a:pt x="208613" y="214577"/>
                  </a:cubicBezTo>
                  <a:cubicBezTo>
                    <a:pt x="209001" y="226021"/>
                    <a:pt x="204733" y="245805"/>
                    <a:pt x="218699" y="245805"/>
                  </a:cubicBezTo>
                  <a:cubicBezTo>
                    <a:pt x="233440" y="245805"/>
                    <a:pt x="228591" y="226215"/>
                    <a:pt x="229173" y="214965"/>
                  </a:cubicBezTo>
                  <a:cubicBezTo>
                    <a:pt x="231501" y="155805"/>
                    <a:pt x="232859" y="96839"/>
                    <a:pt x="234604" y="37679"/>
                  </a:cubicBezTo>
                  <a:cubicBezTo>
                    <a:pt x="234604" y="32054"/>
                    <a:pt x="234604" y="26041"/>
                    <a:pt x="235574" y="20610"/>
                  </a:cubicBezTo>
                  <a:cubicBezTo>
                    <a:pt x="238872" y="3929"/>
                    <a:pt x="252837" y="1019"/>
                    <a:pt x="266027" y="49"/>
                  </a:cubicBezTo>
                  <a:cubicBezTo>
                    <a:pt x="280574" y="-921"/>
                    <a:pt x="278635" y="12657"/>
                    <a:pt x="279217" y="20998"/>
                  </a:cubicBezTo>
                  <a:cubicBezTo>
                    <a:pt x="285036" y="104597"/>
                    <a:pt x="288915" y="188585"/>
                    <a:pt x="296480" y="271991"/>
                  </a:cubicBezTo>
                  <a:cubicBezTo>
                    <a:pt x="300941" y="321840"/>
                    <a:pt x="284066" y="359470"/>
                    <a:pt x="245660" y="388953"/>
                  </a:cubicBezTo>
                  <a:cubicBezTo>
                    <a:pt x="238872" y="394190"/>
                    <a:pt x="231695" y="399039"/>
                    <a:pt x="224518" y="403695"/>
                  </a:cubicBezTo>
                  <a:cubicBezTo>
                    <a:pt x="197363" y="421151"/>
                    <a:pt x="186694" y="445397"/>
                    <a:pt x="185337" y="477984"/>
                  </a:cubicBezTo>
                  <a:cubicBezTo>
                    <a:pt x="179906" y="605808"/>
                    <a:pt x="198332" y="730917"/>
                    <a:pt x="222384" y="855637"/>
                  </a:cubicBezTo>
                  <a:cubicBezTo>
                    <a:pt x="231307" y="901995"/>
                    <a:pt x="220445" y="914022"/>
                    <a:pt x="172535" y="914216"/>
                  </a:cubicBezTo>
                  <a:cubicBezTo>
                    <a:pt x="153526" y="914216"/>
                    <a:pt x="134323" y="914603"/>
                    <a:pt x="115315" y="914216"/>
                  </a:cubicBezTo>
                  <a:cubicBezTo>
                    <a:pt x="80207" y="913440"/>
                    <a:pt x="68569" y="900444"/>
                    <a:pt x="73806" y="865918"/>
                  </a:cubicBezTo>
                  <a:cubicBezTo>
                    <a:pt x="83892" y="799969"/>
                    <a:pt x="96112" y="734408"/>
                    <a:pt x="105228" y="668265"/>
                  </a:cubicBezTo>
                  <a:cubicBezTo>
                    <a:pt x="114733" y="599019"/>
                    <a:pt x="109883" y="529191"/>
                    <a:pt x="109496" y="459557"/>
                  </a:cubicBezTo>
                  <a:cubicBezTo>
                    <a:pt x="109496" y="439578"/>
                    <a:pt x="99603" y="423091"/>
                    <a:pt x="82728" y="411259"/>
                  </a:cubicBezTo>
                  <a:cubicBezTo>
                    <a:pt x="70314" y="402531"/>
                    <a:pt x="58094" y="393220"/>
                    <a:pt x="46068" y="383716"/>
                  </a:cubicBezTo>
                  <a:cubicBezTo>
                    <a:pt x="13870" y="358306"/>
                    <a:pt x="-2423" y="325332"/>
                    <a:pt x="292" y="284017"/>
                  </a:cubicBezTo>
                  <a:cubicBezTo>
                    <a:pt x="5529" y="206042"/>
                    <a:pt x="11348" y="128067"/>
                    <a:pt x="16779" y="50093"/>
                  </a:cubicBezTo>
                  <a:cubicBezTo>
                    <a:pt x="17749" y="36903"/>
                    <a:pt x="18137" y="25265"/>
                    <a:pt x="37146" y="27205"/>
                  </a:cubicBezTo>
                  <a:cubicBezTo>
                    <a:pt x="53633" y="28950"/>
                    <a:pt x="64301" y="33412"/>
                    <a:pt x="64495" y="52420"/>
                  </a:cubicBezTo>
                  <a:cubicBezTo>
                    <a:pt x="64495" y="103046"/>
                    <a:pt x="65465" y="153477"/>
                    <a:pt x="66047" y="204102"/>
                  </a:cubicBezTo>
                  <a:cubicBezTo>
                    <a:pt x="66047" y="219038"/>
                    <a:pt x="65465" y="234361"/>
                    <a:pt x="76521" y="250073"/>
                  </a:cubicBezTo>
                  <a:close/>
                </a:path>
              </a:pathLst>
            </a:custGeom>
            <a:solidFill>
              <a:schemeClr val="bg1">
                <a:lumMod val="65000"/>
              </a:schemeClr>
            </a:solidFill>
            <a:ln w="19266" cap="flat">
              <a:noFill/>
              <a:prstDash val="solid"/>
              <a:miter/>
            </a:ln>
          </p:spPr>
          <p:txBody>
            <a:bodyPr rtlCol="0" anchor="ctr"/>
            <a:lstStyle/>
            <a:p>
              <a:endParaRPr lang="es-PE"/>
            </a:p>
          </p:txBody>
        </p:sp>
      </p:grpSp>
    </p:spTree>
    <p:extLst>
      <p:ext uri="{BB962C8B-B14F-4D97-AF65-F5344CB8AC3E}">
        <p14:creationId xmlns:p14="http://schemas.microsoft.com/office/powerpoint/2010/main" val="4078912556"/>
      </p:ext>
    </p:extLst>
  </p:cSld>
  <p:clrMapOvr>
    <a:masterClrMapping/>
  </p:clrMapOvr>
  <p:transition/>
  <p:timing/>
</p:sld>
</file>

<file path=ppt/slides/slide17.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bg>
      <p:bgPr>
        <a:solidFill>
          <a:srgbClr val="02BAC8"/>
        </a:solidFill>
        <a:effectLst/>
      </p:bgPr>
    </p:bg>
    <p:spTree>
      <p:nvGrpSpPr>
        <p:cNvPr id="1" name=""/>
        <p:cNvGrpSpPr/>
        <p:nvPr/>
      </p:nvGrpSpPr>
      <p:grpSpPr>
        <a:xfrm>
          <a:off x="0" y="0"/>
          <a:ext cx="0" cy="0"/>
        </a:xfrm>
      </p:grpSpPr>
      <p:sp>
        <p:nvSpPr>
          <p:cNvPr id="4" name="Freeform: Shape 6">
            <a:extLst>
              <a:ext uri="{FF2B5EF4-FFF2-40B4-BE49-F238E27FC236}">
                <a16:creationId xmlns:a16="http://schemas.microsoft.com/office/drawing/2014/main" id="{41E3EDEA-2874-0634-55A3-70C39F626C38}"/>
              </a:ext>
            </a:extLst>
          </p:cNvPr>
          <p:cNvSpPr/>
          <p:nvPr/>
        </p:nvSpPr>
        <p:spPr>
          <a:xfrm>
            <a:off x="702574" y="949475"/>
            <a:ext cx="862438" cy="797629"/>
          </a:xfrm>
          <a:custGeom>
            <a:rect l="l" t="t" r="r" b="b"/>
            <a:pathLst>
              <a:path w="173794" h="160734">
                <a:moveTo>
                  <a:pt x="159060" y="0"/>
                </a:moveTo>
                <a:lnTo>
                  <a:pt x="173794" y="23440"/>
                </a:lnTo>
                <a:cubicBezTo>
                  <a:pt x="161516" y="28575"/>
                  <a:pt x="152474" y="36221"/>
                  <a:pt x="146670" y="46379"/>
                </a:cubicBezTo>
                <a:cubicBezTo>
                  <a:pt x="140866" y="56536"/>
                  <a:pt x="137629" y="71326"/>
                  <a:pt x="136959" y="90748"/>
                </a:cubicBezTo>
                <a:lnTo>
                  <a:pt x="168436" y="90748"/>
                </a:lnTo>
                <a:lnTo>
                  <a:pt x="168436" y="160734"/>
                </a:lnTo>
                <a:lnTo>
                  <a:pt x="103807" y="160734"/>
                </a:lnTo>
                <a:lnTo>
                  <a:pt x="103807" y="105482"/>
                </a:lnTo>
                <a:cubicBezTo>
                  <a:pt x="103807" y="75567"/>
                  <a:pt x="107379" y="53913"/>
                  <a:pt x="114523" y="40518"/>
                </a:cubicBezTo>
                <a:cubicBezTo>
                  <a:pt x="123899" y="22659"/>
                  <a:pt x="138745" y="9153"/>
                  <a:pt x="159060" y="0"/>
                </a:cubicBezTo>
                <a:close/>
                <a:moveTo>
                  <a:pt x="55252" y="0"/>
                </a:moveTo>
                <a:lnTo>
                  <a:pt x="69986" y="23440"/>
                </a:lnTo>
                <a:cubicBezTo>
                  <a:pt x="57708" y="28575"/>
                  <a:pt x="48667" y="36221"/>
                  <a:pt x="42862" y="46379"/>
                </a:cubicBezTo>
                <a:cubicBezTo>
                  <a:pt x="37058" y="56536"/>
                  <a:pt x="33821" y="71326"/>
                  <a:pt x="33151" y="90748"/>
                </a:cubicBezTo>
                <a:lnTo>
                  <a:pt x="64628" y="90748"/>
                </a:lnTo>
                <a:lnTo>
                  <a:pt x="64628" y="160734"/>
                </a:lnTo>
                <a:lnTo>
                  <a:pt x="0" y="160734"/>
                </a:lnTo>
                <a:lnTo>
                  <a:pt x="0" y="105482"/>
                </a:lnTo>
                <a:cubicBezTo>
                  <a:pt x="0" y="75567"/>
                  <a:pt x="3572" y="53913"/>
                  <a:pt x="10715" y="40518"/>
                </a:cubicBezTo>
                <a:cubicBezTo>
                  <a:pt x="20092" y="22659"/>
                  <a:pt x="34937" y="9153"/>
                  <a:pt x="55252" y="0"/>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10">
            <a:extLst>
              <a:ext uri="{FF2B5EF4-FFF2-40B4-BE49-F238E27FC236}">
                <a16:creationId xmlns:a16="http://schemas.microsoft.com/office/drawing/2014/main" id="{23E82528-DA34-556A-B664-7D1885C1B5B1}"/>
              </a:ext>
            </a:extLst>
          </p:cNvPr>
          <p:cNvGrpSpPr/>
          <p:nvPr/>
        </p:nvGrpSpPr>
        <p:grpSpPr>
          <a:xfrm>
            <a:off x="1283750" y="2178522"/>
            <a:ext cx="4612225" cy="3018453"/>
            <a:chOff x="1055150" y="2140422"/>
            <a:chExt cx="4612225" cy="3018453"/>
          </a:xfrm>
        </p:grpSpPr>
        <p:sp>
          <p:nvSpPr>
            <p:cNvPr id="6" name="TextBox 8">
              <a:extLst>
                <a:ext uri="{FF2B5EF4-FFF2-40B4-BE49-F238E27FC236}">
                  <a16:creationId xmlns:a16="http://schemas.microsoft.com/office/drawing/2014/main" id="{E6B9654D-E700-26F7-526A-04635549C327}"/>
                </a:ext>
              </a:extLst>
            </p:cNvPr>
            <p:cNvSpPr txBox="1"/>
            <p:nvPr/>
          </p:nvSpPr>
          <p:spPr>
            <a:xfrm>
              <a:off x="1055150" y="2140422"/>
              <a:ext cx="4612225" cy="523220"/>
            </a:xfrm>
            <a:prstGeom prst="rect">
              <a:avLst/>
            </a:prstGeom>
            <a:noFill/>
          </p:spPr>
          <p:txBody>
            <a:bodyPr wrap="square" rtlCol="0">
              <a:spAutoFit/>
            </a:bodyPr>
            <a:lstStyle/>
            <a:p>
              <a:r>
                <a:rPr lang="en-US" altLang="ko-KR" sz="1400" b="1">
                  <a:solidFill>
                    <a:srgbClr val="00677F"/>
                  </a:solidFill>
                  <a:cs typeface="Arial" panose="020b0604020202020204" pitchFamily="34" charset="0"/>
                </a:rPr>
                <a:t>You can simply impress your audience and add a unique zing and appeal to your Presentations.</a:t>
              </a:r>
              <a:endParaRPr lang="ko-KR" altLang="en-US" sz="1400" b="1">
                <a:solidFill>
                  <a:srgbClr val="00677F"/>
                </a:solidFill>
                <a:cs typeface="Arial" panose="020b0604020202020204" pitchFamily="34" charset="0"/>
              </a:endParaRPr>
            </a:p>
          </p:txBody>
        </p:sp>
        <p:sp>
          <p:nvSpPr>
            <p:cNvPr id="7" name="TextBox 9">
              <a:extLst>
                <a:ext uri="{FF2B5EF4-FFF2-40B4-BE49-F238E27FC236}">
                  <a16:creationId xmlns:a16="http://schemas.microsoft.com/office/drawing/2014/main" id="{3A61EF6D-26A8-105A-6D3F-1CDFEB4B723F}"/>
                </a:ext>
              </a:extLst>
            </p:cNvPr>
            <p:cNvSpPr txBox="1"/>
            <p:nvPr/>
          </p:nvSpPr>
          <p:spPr>
            <a:xfrm>
              <a:off x="1055150" y="2665885"/>
              <a:ext cx="4612225" cy="2492990"/>
            </a:xfrm>
            <a:prstGeom prst="rect">
              <a:avLst/>
            </a:prstGeom>
            <a:noFill/>
          </p:spPr>
          <p:txBody>
            <a:bodyPr wrap="square" rtlCol="0">
              <a:spAutoFit/>
            </a:bodyPr>
            <a:lstStyle/>
            <a:p>
              <a:r>
                <a:rPr lang="en-US" altLang="ko-KR" sz="1200">
                  <a:solidFill>
                    <a:schemeClr val="bg1"/>
                  </a:solidFill>
                  <a:cs typeface="Arial" panose="020b0604020202020204" pitchFamily="34" charset="0"/>
                </a:rPr>
                <a:t>You can simply impress your audience and add a unique zing and appeal to your Presentations. I hope and I believe that this Template will your Time, Money and Reputation. You can simply impress your audience and add a unique zing and appeal to your Presentations. You can simply impress your audience and add a unique zing and appeal to your Presentations. I hope and I believe that this Template will your Time, Money and Reputation. You can simply impress your audience and add a unique zing and appeal to your Presentations. You can simply impress your audience and add a unique zing and appeal to your Presentations. I hope and I believe that this Template will your Time, Money and Reputation. You can simply impress your audience and add a unique zing and appeal to your Presentations. </a:t>
              </a:r>
            </a:p>
          </p:txBody>
        </p:sp>
      </p:grpSp>
      <p:sp>
        <p:nvSpPr>
          <p:cNvPr id="8" name="Freeform: Shape 7">
            <a:extLst>
              <a:ext uri="{FF2B5EF4-FFF2-40B4-BE49-F238E27FC236}">
                <a16:creationId xmlns:a16="http://schemas.microsoft.com/office/drawing/2014/main" id="{8E8E48A7-ADEF-FE08-F3D3-CE8F4B04DA25}"/>
              </a:ext>
            </a:extLst>
          </p:cNvPr>
          <p:cNvSpPr/>
          <p:nvPr/>
        </p:nvSpPr>
        <p:spPr>
          <a:xfrm rot="10800000">
            <a:off x="5741299" y="5416700"/>
            <a:ext cx="862438" cy="797629"/>
          </a:xfrm>
          <a:custGeom>
            <a:rect l="l" t="t" r="r" b="b"/>
            <a:pathLst>
              <a:path w="173794" h="160734">
                <a:moveTo>
                  <a:pt x="159060" y="0"/>
                </a:moveTo>
                <a:lnTo>
                  <a:pt x="173794" y="23440"/>
                </a:lnTo>
                <a:cubicBezTo>
                  <a:pt x="161516" y="28575"/>
                  <a:pt x="152474" y="36221"/>
                  <a:pt x="146670" y="46379"/>
                </a:cubicBezTo>
                <a:cubicBezTo>
                  <a:pt x="140866" y="56536"/>
                  <a:pt x="137629" y="71326"/>
                  <a:pt x="136959" y="90748"/>
                </a:cubicBezTo>
                <a:lnTo>
                  <a:pt x="168436" y="90748"/>
                </a:lnTo>
                <a:lnTo>
                  <a:pt x="168436" y="160734"/>
                </a:lnTo>
                <a:lnTo>
                  <a:pt x="103807" y="160734"/>
                </a:lnTo>
                <a:lnTo>
                  <a:pt x="103807" y="105482"/>
                </a:lnTo>
                <a:cubicBezTo>
                  <a:pt x="103807" y="75567"/>
                  <a:pt x="107379" y="53913"/>
                  <a:pt x="114523" y="40518"/>
                </a:cubicBezTo>
                <a:cubicBezTo>
                  <a:pt x="123899" y="22659"/>
                  <a:pt x="138745" y="9153"/>
                  <a:pt x="159060" y="0"/>
                </a:cubicBezTo>
                <a:close/>
                <a:moveTo>
                  <a:pt x="55252" y="0"/>
                </a:moveTo>
                <a:lnTo>
                  <a:pt x="69986" y="23440"/>
                </a:lnTo>
                <a:cubicBezTo>
                  <a:pt x="57708" y="28575"/>
                  <a:pt x="48667" y="36221"/>
                  <a:pt x="42862" y="46379"/>
                </a:cubicBezTo>
                <a:cubicBezTo>
                  <a:pt x="37058" y="56536"/>
                  <a:pt x="33821" y="71326"/>
                  <a:pt x="33151" y="90748"/>
                </a:cubicBezTo>
                <a:lnTo>
                  <a:pt x="64628" y="90748"/>
                </a:lnTo>
                <a:lnTo>
                  <a:pt x="64628" y="160734"/>
                </a:lnTo>
                <a:lnTo>
                  <a:pt x="0" y="160734"/>
                </a:lnTo>
                <a:lnTo>
                  <a:pt x="0" y="105482"/>
                </a:lnTo>
                <a:cubicBezTo>
                  <a:pt x="0" y="75567"/>
                  <a:pt x="3572" y="53913"/>
                  <a:pt x="10715" y="40518"/>
                </a:cubicBezTo>
                <a:cubicBezTo>
                  <a:pt x="20092" y="22659"/>
                  <a:pt x="34937" y="9153"/>
                  <a:pt x="55252" y="0"/>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9">
            <a:extLst>
              <a:ext uri="{FF2B5EF4-FFF2-40B4-BE49-F238E27FC236}">
                <a16:creationId xmlns:a16="http://schemas.microsoft.com/office/drawing/2014/main" id="{508F474C-DAE5-1B6C-4A85-9DFC3F3271ED}"/>
              </a:ext>
            </a:extLst>
          </p:cNvPr>
          <p:cNvSpPr txBox="1"/>
          <p:nvPr/>
        </p:nvSpPr>
        <p:spPr>
          <a:xfrm>
            <a:off x="6096000" y="716827"/>
            <a:ext cx="5681042" cy="1354217"/>
          </a:xfrm>
          <a:prstGeom prst="rect">
            <a:avLst/>
          </a:prstGeom>
          <a:noFill/>
        </p:spPr>
        <p:txBody>
          <a:bodyPr wrap="none" lIns="0" tIns="0" rIns="0" bIns="0" rtlCol="0">
            <a:spAutoFit/>
          </a:bodyPr>
          <a:lstStyle/>
          <a:p>
            <a:r>
              <a:rPr lang="en-US" sz="8800" b="1">
                <a:solidFill>
                  <a:schemeClr val="bg1"/>
                </a:solidFill>
                <a:latin typeface="Segoe UI" panose="020b0502040204020203" pitchFamily="34" charset="0"/>
                <a:cs typeface="Segoe UI" panose="020b0502040204020203" pitchFamily="34" charset="0"/>
              </a:rPr>
              <a:t>BAHAMAS</a:t>
            </a:r>
          </a:p>
        </p:txBody>
      </p:sp>
      <p:sp>
        <p:nvSpPr>
          <p:cNvPr id="10" name="TextBox 9">
            <a:extLst>
              <a:ext uri="{FF2B5EF4-FFF2-40B4-BE49-F238E27FC236}">
                <a16:creationId xmlns:a16="http://schemas.microsoft.com/office/drawing/2014/main" id="{64572E4A-A275-BC88-BD67-A80F8B35B106}"/>
              </a:ext>
            </a:extLst>
          </p:cNvPr>
          <p:cNvSpPr txBox="1"/>
          <p:nvPr/>
        </p:nvSpPr>
        <p:spPr>
          <a:xfrm>
            <a:off x="9561145" y="405273"/>
            <a:ext cx="2068067" cy="430887"/>
          </a:xfrm>
          <a:prstGeom prst="rect">
            <a:avLst/>
          </a:prstGeom>
          <a:noFill/>
        </p:spPr>
        <p:txBody>
          <a:bodyPr wrap="none" lIns="0" tIns="0" rIns="0" bIns="0" rtlCol="0">
            <a:spAutoFit/>
          </a:bodyPr>
          <a:lstStyle/>
          <a:p>
            <a:pPr algn="ctr"/>
            <a:r>
              <a:rPr lang="en-US" sz="2800" b="1">
                <a:solidFill>
                  <a:srgbClr val="06DBE7"/>
                </a:solidFill>
                <a:latin typeface="Segoe UI" panose="020b0502040204020203" pitchFamily="34" charset="0"/>
                <a:cs typeface="Segoe UI" panose="020b0502040204020203" pitchFamily="34" charset="0"/>
              </a:rPr>
              <a:t>Gastronomy</a:t>
            </a:r>
          </a:p>
        </p:txBody>
      </p:sp>
      <p:pic>
        <p:nvPicPr>
          <p:cNvPr id="12" name="Imagen 11">
            <a:extLst>
              <a:ext uri="{FF2B5EF4-FFF2-40B4-BE49-F238E27FC236}">
                <a16:creationId xmlns:a16="http://schemas.microsoft.com/office/drawing/2014/main" id="{BCB2FA4D-70D2-823F-7655-73BA8F4808B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61019" y="2178523"/>
            <a:ext cx="7230981" cy="4679478"/>
          </a:xfrm>
          <a:prstGeom prst="rect">
            <a:avLst/>
          </a:prstGeom>
        </p:spPr>
      </p:pic>
      <p:sp>
        <p:nvSpPr>
          <p:cNvPr id="13" name="Freeform 13">
            <a:extLst>
              <a:ext uri="{FF2B5EF4-FFF2-40B4-BE49-F238E27FC236}">
                <a16:creationId xmlns:a16="http://schemas.microsoft.com/office/drawing/2014/main" id="{C0970C75-BD3D-FBC7-3D99-A4779B28D164}"/>
              </a:ext>
            </a:extLst>
          </p:cNvPr>
          <p:cNvSpPr/>
          <p:nvPr/>
        </p:nvSpPr>
        <p:spPr bwMode="auto">
          <a:xfrm>
            <a:off x="0" y="4227308"/>
            <a:ext cx="1175604" cy="2630691"/>
          </a:xfrm>
          <a:custGeom>
            <a:gdLst>
              <a:gd name="T0" fmla="*/ 444 w 444"/>
              <a:gd name="T1" fmla="*/ 997 h 997"/>
              <a:gd name="T2" fmla="*/ 254 w 444"/>
              <a:gd name="T3" fmla="*/ 874 h 997"/>
              <a:gd name="T4" fmla="*/ 140 w 444"/>
              <a:gd name="T5" fmla="*/ 487 h 997"/>
              <a:gd name="T6" fmla="*/ 0 w 444"/>
              <a:gd name="T7" fmla="*/ 0 h 997"/>
              <a:gd name="T8" fmla="*/ 0 w 444"/>
              <a:gd name="T9" fmla="*/ 997 h 997"/>
              <a:gd name="T10" fmla="*/ 444 w 444"/>
              <a:gd name="T11" fmla="*/ 997 h 997"/>
            </a:gdLst>
            <a:cxnLst>
              <a:cxn ang="0">
                <a:pos x="T0" y="T1"/>
              </a:cxn>
              <a:cxn ang="0">
                <a:pos x="T2" y="T3"/>
              </a:cxn>
              <a:cxn ang="0">
                <a:pos x="T4" y="T5"/>
              </a:cxn>
              <a:cxn ang="0">
                <a:pos x="T6" y="T7"/>
              </a:cxn>
              <a:cxn ang="0">
                <a:pos x="T8" y="T9"/>
              </a:cxn>
              <a:cxn ang="0">
                <a:pos x="T10" y="T11"/>
              </a:cxn>
            </a:cxnLst>
            <a:rect l="0" t="0" r="r" b="b"/>
            <a:pathLst>
              <a:path w="443" h="997">
                <a:moveTo>
                  <a:pt x="444" y="997"/>
                </a:moveTo>
                <a:cubicBezTo>
                  <a:pt x="444" y="997"/>
                  <a:pt x="441" y="877"/>
                  <a:pt x="254" y="874"/>
                </a:cubicBezTo>
                <a:cubicBezTo>
                  <a:pt x="68" y="871"/>
                  <a:pt x="100" y="695"/>
                  <a:pt x="140" y="487"/>
                </a:cubicBezTo>
                <a:cubicBezTo>
                  <a:pt x="180" y="279"/>
                  <a:pt x="218" y="11"/>
                  <a:pt x="0" y="0"/>
                </a:cubicBezTo>
                <a:cubicBezTo>
                  <a:pt x="0" y="997"/>
                  <a:pt x="0" y="997"/>
                  <a:pt x="0" y="997"/>
                </a:cubicBezTo>
                <a:lnTo>
                  <a:pt x="444" y="9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s-PE"/>
          </a:p>
        </p:txBody>
      </p:sp>
    </p:spTree>
    <p:extLst>
      <p:ext uri="{BB962C8B-B14F-4D97-AF65-F5344CB8AC3E}">
        <p14:creationId xmlns:p14="http://schemas.microsoft.com/office/powerpoint/2010/main" val="3870322515"/>
      </p:ext>
    </p:extLst>
  </p:cSld>
  <p:clrMapOvr>
    <a:masterClrMapping/>
  </p:clrMapOvr>
  <p:transition/>
  <p:timing/>
</p:sld>
</file>

<file path=ppt/slides/slide18.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bg>
      <p:bgPr>
        <a:solidFill>
          <a:srgbClr val="02BAC8"/>
        </a:solidFill>
        <a:effectLst/>
      </p:bgPr>
    </p:bg>
    <p:spTree>
      <p:nvGrpSpPr>
        <p:cNvPr id="1" name=""/>
        <p:cNvGrpSpPr/>
        <p:nvPr/>
      </p:nvGrpSpPr>
      <p:grpSpPr>
        <a:xfrm>
          <a:off x="0" y="0"/>
          <a:ext cx="0" cy="0"/>
        </a:xfrm>
      </p:grpSpPr>
      <p:sp>
        <p:nvSpPr>
          <p:cNvPr id="6" name="Freeform 13">
            <a:extLst>
              <a:ext uri="{FF2B5EF4-FFF2-40B4-BE49-F238E27FC236}">
                <a16:creationId xmlns:a16="http://schemas.microsoft.com/office/drawing/2014/main" id="{9F6DA408-D323-2833-C8D0-3B0698CBB055}"/>
              </a:ext>
            </a:extLst>
          </p:cNvPr>
          <p:cNvSpPr/>
          <p:nvPr/>
        </p:nvSpPr>
        <p:spPr bwMode="auto">
          <a:xfrm>
            <a:off x="0" y="4227308"/>
            <a:ext cx="1175604" cy="2630691"/>
          </a:xfrm>
          <a:custGeom>
            <a:gdLst>
              <a:gd name="T0" fmla="*/ 444 w 444"/>
              <a:gd name="T1" fmla="*/ 997 h 997"/>
              <a:gd name="T2" fmla="*/ 254 w 444"/>
              <a:gd name="T3" fmla="*/ 874 h 997"/>
              <a:gd name="T4" fmla="*/ 140 w 444"/>
              <a:gd name="T5" fmla="*/ 487 h 997"/>
              <a:gd name="T6" fmla="*/ 0 w 444"/>
              <a:gd name="T7" fmla="*/ 0 h 997"/>
              <a:gd name="T8" fmla="*/ 0 w 444"/>
              <a:gd name="T9" fmla="*/ 997 h 997"/>
              <a:gd name="T10" fmla="*/ 444 w 444"/>
              <a:gd name="T11" fmla="*/ 997 h 997"/>
            </a:gdLst>
            <a:cxnLst>
              <a:cxn ang="0">
                <a:pos x="T0" y="T1"/>
              </a:cxn>
              <a:cxn ang="0">
                <a:pos x="T2" y="T3"/>
              </a:cxn>
              <a:cxn ang="0">
                <a:pos x="T4" y="T5"/>
              </a:cxn>
              <a:cxn ang="0">
                <a:pos x="T6" y="T7"/>
              </a:cxn>
              <a:cxn ang="0">
                <a:pos x="T8" y="T9"/>
              </a:cxn>
              <a:cxn ang="0">
                <a:pos x="T10" y="T11"/>
              </a:cxn>
            </a:cxnLst>
            <a:rect l="0" t="0" r="r" b="b"/>
            <a:pathLst>
              <a:path w="443" h="997">
                <a:moveTo>
                  <a:pt x="444" y="997"/>
                </a:moveTo>
                <a:cubicBezTo>
                  <a:pt x="444" y="997"/>
                  <a:pt x="441" y="877"/>
                  <a:pt x="254" y="874"/>
                </a:cubicBezTo>
                <a:cubicBezTo>
                  <a:pt x="68" y="871"/>
                  <a:pt x="100" y="695"/>
                  <a:pt x="140" y="487"/>
                </a:cubicBezTo>
                <a:cubicBezTo>
                  <a:pt x="180" y="279"/>
                  <a:pt x="218" y="11"/>
                  <a:pt x="0" y="0"/>
                </a:cubicBezTo>
                <a:cubicBezTo>
                  <a:pt x="0" y="997"/>
                  <a:pt x="0" y="997"/>
                  <a:pt x="0" y="997"/>
                </a:cubicBezTo>
                <a:lnTo>
                  <a:pt x="444" y="9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s-PE"/>
          </a:p>
        </p:txBody>
      </p:sp>
      <p:grpSp>
        <p:nvGrpSpPr>
          <p:cNvPr id="297" name="Grupo 296">
            <a:extLst>
              <a:ext uri="{FF2B5EF4-FFF2-40B4-BE49-F238E27FC236}">
                <a16:creationId xmlns:a16="http://schemas.microsoft.com/office/drawing/2014/main" id="{95DA6CF8-A12A-857F-B3D3-C82D198845E7}"/>
              </a:ext>
            </a:extLst>
          </p:cNvPr>
          <p:cNvGrpSpPr/>
          <p:nvPr/>
        </p:nvGrpSpPr>
        <p:grpSpPr>
          <a:xfrm>
            <a:off x="4792290" y="-1"/>
            <a:ext cx="7372632" cy="6858001"/>
            <a:chOff x="-275010" y="-235758"/>
            <a:chExt cx="7655094" cy="7120747"/>
          </a:xfrm>
        </p:grpSpPr>
        <p:sp>
          <p:nvSpPr>
            <p:cNvPr id="7" name="Freeform 5">
              <a:extLst>
                <a:ext uri="{FF2B5EF4-FFF2-40B4-BE49-F238E27FC236}">
                  <a16:creationId xmlns:a16="http://schemas.microsoft.com/office/drawing/2014/main" id="{18F08EB5-80F2-97AC-0A10-FDD98149C38B}"/>
                </a:ext>
              </a:extLst>
            </p:cNvPr>
            <p:cNvSpPr/>
            <p:nvPr/>
          </p:nvSpPr>
          <p:spPr bwMode="auto">
            <a:xfrm>
              <a:off x="591344" y="1241801"/>
              <a:ext cx="6090653" cy="5295900"/>
            </a:xfrm>
            <a:custGeom>
              <a:gdLst>
                <a:gd name="T0" fmla="*/ 3736 w 4966"/>
                <a:gd name="T1" fmla="*/ 4305 h 4318"/>
                <a:gd name="T2" fmla="*/ 2489 w 4966"/>
                <a:gd name="T3" fmla="*/ 3401 h 4318"/>
                <a:gd name="T4" fmla="*/ 1253 w 4966"/>
                <a:gd name="T5" fmla="*/ 4318 h 4318"/>
                <a:gd name="T6" fmla="*/ 1411 w 4966"/>
                <a:gd name="T7" fmla="*/ 2786 h 4318"/>
                <a:gd name="T8" fmla="*/ 0 w 4966"/>
                <a:gd name="T9" fmla="*/ 2173 h 4318"/>
                <a:gd name="T10" fmla="*/ 1404 w 4966"/>
                <a:gd name="T11" fmla="*/ 1543 h 4318"/>
                <a:gd name="T12" fmla="*/ 1229 w 4966"/>
                <a:gd name="T13" fmla="*/ 13 h 4318"/>
                <a:gd name="T14" fmla="*/ 2476 w 4966"/>
                <a:gd name="T15" fmla="*/ 917 h 4318"/>
                <a:gd name="T16" fmla="*/ 3712 w 4966"/>
                <a:gd name="T17" fmla="*/ 0 h 4318"/>
                <a:gd name="T18" fmla="*/ 3555 w 4966"/>
                <a:gd name="T19" fmla="*/ 1532 h 4318"/>
                <a:gd name="T20" fmla="*/ 4966 w 4966"/>
                <a:gd name="T21" fmla="*/ 2145 h 4318"/>
                <a:gd name="T22" fmla="*/ 3561 w 4966"/>
                <a:gd name="T23" fmla="*/ 2775 h 4318"/>
                <a:gd name="T24" fmla="*/ 3736 w 4966"/>
                <a:gd name="T25" fmla="*/ 4305 h 43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66" h="4318">
                  <a:moveTo>
                    <a:pt x="3736" y="4305"/>
                  </a:moveTo>
                  <a:lnTo>
                    <a:pt x="2489" y="3401"/>
                  </a:lnTo>
                  <a:lnTo>
                    <a:pt x="1253" y="4318"/>
                  </a:lnTo>
                  <a:lnTo>
                    <a:pt x="1411" y="2786"/>
                  </a:lnTo>
                  <a:lnTo>
                    <a:pt x="0" y="2173"/>
                  </a:lnTo>
                  <a:lnTo>
                    <a:pt x="1404" y="1543"/>
                  </a:lnTo>
                  <a:lnTo>
                    <a:pt x="1229" y="13"/>
                  </a:lnTo>
                  <a:lnTo>
                    <a:pt x="2476" y="917"/>
                  </a:lnTo>
                  <a:lnTo>
                    <a:pt x="3712" y="0"/>
                  </a:lnTo>
                  <a:lnTo>
                    <a:pt x="3555" y="1532"/>
                  </a:lnTo>
                  <a:lnTo>
                    <a:pt x="4966" y="2145"/>
                  </a:lnTo>
                  <a:lnTo>
                    <a:pt x="3561" y="2775"/>
                  </a:lnTo>
                  <a:lnTo>
                    <a:pt x="3736" y="4305"/>
                  </a:lnTo>
                  <a:close/>
                </a:path>
              </a:pathLst>
            </a:custGeom>
            <a:solidFill>
              <a:srgbClr val="006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grpSp>
          <p:nvGrpSpPr>
            <p:cNvPr id="8" name="Group 64">
              <a:extLst>
                <a:ext uri="{FF2B5EF4-FFF2-40B4-BE49-F238E27FC236}">
                  <a16:creationId xmlns:a16="http://schemas.microsoft.com/office/drawing/2014/main" id="{19216639-0704-C6D0-0D79-C3CFD25454E2}"/>
                </a:ext>
              </a:extLst>
            </p:cNvPr>
            <p:cNvGrpSpPr>
              <a:grpSpLocks noChangeAspect="1"/>
            </p:cNvGrpSpPr>
            <p:nvPr/>
          </p:nvGrpSpPr>
          <p:grpSpPr>
            <a:xfrm>
              <a:off x="-106745" y="506413"/>
              <a:ext cx="7486829" cy="6378576"/>
              <a:chOff x="1279" y="201"/>
              <a:chExt cx="5195" cy="4426"/>
            </a:xfrm>
          </p:grpSpPr>
          <p:grpSp>
            <p:nvGrpSpPr>
              <p:cNvPr id="9" name="Group 265">
                <a:extLst>
                  <a:ext uri="{FF2B5EF4-FFF2-40B4-BE49-F238E27FC236}">
                    <a16:creationId xmlns:a16="http://schemas.microsoft.com/office/drawing/2014/main" id="{9C040C2A-73A1-D9D5-D37E-B264F112E3FF}"/>
                  </a:ext>
                </a:extLst>
              </p:cNvPr>
              <p:cNvGrpSpPr/>
              <p:nvPr/>
            </p:nvGrpSpPr>
            <p:grpSpPr>
              <a:xfrm>
                <a:off x="1279" y="201"/>
                <a:ext cx="4861" cy="4426"/>
                <a:chOff x="1279" y="201"/>
                <a:chExt cx="4861" cy="4426"/>
              </a:xfrm>
            </p:grpSpPr>
            <p:sp>
              <p:nvSpPr>
                <p:cNvPr id="46" name="Freeform 65">
                  <a:extLst>
                    <a:ext uri="{FF2B5EF4-FFF2-40B4-BE49-F238E27FC236}">
                      <a16:creationId xmlns:a16="http://schemas.microsoft.com/office/drawing/2014/main" id="{090BD215-DF01-0530-C305-B2343676D441}"/>
                    </a:ext>
                  </a:extLst>
                </p:cNvPr>
                <p:cNvSpPr/>
                <p:nvPr/>
              </p:nvSpPr>
              <p:spPr bwMode="auto">
                <a:xfrm>
                  <a:off x="5293" y="2276"/>
                  <a:ext cx="345" cy="303"/>
                </a:xfrm>
                <a:custGeom>
                  <a:gdLst>
                    <a:gd name="T0" fmla="*/ 189 w 189"/>
                    <a:gd name="T1" fmla="*/ 144 h 166"/>
                    <a:gd name="T2" fmla="*/ 0 w 189"/>
                    <a:gd name="T3" fmla="*/ 0 h 166"/>
                    <a:gd name="T4" fmla="*/ 189 w 189"/>
                    <a:gd name="T5" fmla="*/ 144 h 166"/>
                  </a:gdLst>
                  <a:cxnLst>
                    <a:cxn ang="0">
                      <a:pos x="T0" y="T1"/>
                    </a:cxn>
                    <a:cxn ang="0">
                      <a:pos x="T2" y="T3"/>
                    </a:cxn>
                    <a:cxn ang="0">
                      <a:pos x="T4" y="T5"/>
                    </a:cxn>
                  </a:cxnLst>
                  <a:rect l="0" t="0" r="r" b="b"/>
                  <a:pathLst>
                    <a:path w="189" h="166">
                      <a:moveTo>
                        <a:pt x="189" y="144"/>
                      </a:moveTo>
                      <a:cubicBezTo>
                        <a:pt x="189" y="144"/>
                        <a:pt x="176" y="37"/>
                        <a:pt x="0" y="0"/>
                      </a:cubicBezTo>
                      <a:cubicBezTo>
                        <a:pt x="23" y="135"/>
                        <a:pt x="115" y="166"/>
                        <a:pt x="189" y="144"/>
                      </a:cubicBezTo>
                      <a:close/>
                    </a:path>
                  </a:pathLst>
                </a:custGeom>
                <a:solidFill>
                  <a:srgbClr val="9187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47" name="Freeform 66">
                  <a:extLst>
                    <a:ext uri="{FF2B5EF4-FFF2-40B4-BE49-F238E27FC236}">
                      <a16:creationId xmlns:a16="http://schemas.microsoft.com/office/drawing/2014/main" id="{EE4FD2F6-7232-736F-551E-36F0D7877957}"/>
                    </a:ext>
                  </a:extLst>
                </p:cNvPr>
                <p:cNvSpPr/>
                <p:nvPr/>
              </p:nvSpPr>
              <p:spPr bwMode="auto">
                <a:xfrm>
                  <a:off x="2175" y="2276"/>
                  <a:ext cx="345" cy="303"/>
                </a:xfrm>
                <a:custGeom>
                  <a:gdLst>
                    <a:gd name="T0" fmla="*/ 0 w 189"/>
                    <a:gd name="T1" fmla="*/ 144 h 166"/>
                    <a:gd name="T2" fmla="*/ 189 w 189"/>
                    <a:gd name="T3" fmla="*/ 0 h 166"/>
                    <a:gd name="T4" fmla="*/ 0 w 189"/>
                    <a:gd name="T5" fmla="*/ 144 h 166"/>
                  </a:gdLst>
                  <a:cxnLst>
                    <a:cxn ang="0">
                      <a:pos x="T0" y="T1"/>
                    </a:cxn>
                    <a:cxn ang="0">
                      <a:pos x="T2" y="T3"/>
                    </a:cxn>
                    <a:cxn ang="0">
                      <a:pos x="T4" y="T5"/>
                    </a:cxn>
                  </a:cxnLst>
                  <a:rect l="0" t="0" r="r" b="b"/>
                  <a:pathLst>
                    <a:path w="189" h="166">
                      <a:moveTo>
                        <a:pt x="0" y="144"/>
                      </a:moveTo>
                      <a:cubicBezTo>
                        <a:pt x="0" y="144"/>
                        <a:pt x="13" y="37"/>
                        <a:pt x="189" y="0"/>
                      </a:cubicBezTo>
                      <a:cubicBezTo>
                        <a:pt x="166" y="135"/>
                        <a:pt x="74" y="166"/>
                        <a:pt x="0" y="144"/>
                      </a:cubicBezTo>
                      <a:close/>
                    </a:path>
                  </a:pathLst>
                </a:custGeom>
                <a:solidFill>
                  <a:srgbClr val="9187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48" name="Freeform 67">
                  <a:extLst>
                    <a:ext uri="{FF2B5EF4-FFF2-40B4-BE49-F238E27FC236}">
                      <a16:creationId xmlns:a16="http://schemas.microsoft.com/office/drawing/2014/main" id="{3433849B-C5E0-349D-4B4E-2ABAE1B00E55}"/>
                    </a:ext>
                  </a:extLst>
                </p:cNvPr>
                <p:cNvSpPr/>
                <p:nvPr/>
              </p:nvSpPr>
              <p:spPr bwMode="auto">
                <a:xfrm>
                  <a:off x="1991" y="1079"/>
                  <a:ext cx="150" cy="562"/>
                </a:xfrm>
                <a:custGeom>
                  <a:gdLst>
                    <a:gd name="T0" fmla="*/ 33 w 82"/>
                    <a:gd name="T1" fmla="*/ 308 h 308"/>
                    <a:gd name="T2" fmla="*/ 42 w 82"/>
                    <a:gd name="T3" fmla="*/ 188 h 308"/>
                    <a:gd name="T4" fmla="*/ 37 w 82"/>
                    <a:gd name="T5" fmla="*/ 179 h 308"/>
                    <a:gd name="T6" fmla="*/ 51 w 82"/>
                    <a:gd name="T7" fmla="*/ 0 h 308"/>
                    <a:gd name="T8" fmla="*/ 37 w 82"/>
                    <a:gd name="T9" fmla="*/ 133 h 308"/>
                    <a:gd name="T10" fmla="*/ 64 w 82"/>
                    <a:gd name="T11" fmla="*/ 188 h 308"/>
                    <a:gd name="T12" fmla="*/ 33 w 82"/>
                    <a:gd name="T13" fmla="*/ 308 h 308"/>
                  </a:gdLst>
                  <a:cxnLst>
                    <a:cxn ang="0">
                      <a:pos x="T0" y="T1"/>
                    </a:cxn>
                    <a:cxn ang="0">
                      <a:pos x="T2" y="T3"/>
                    </a:cxn>
                    <a:cxn ang="0">
                      <a:pos x="T4" y="T5"/>
                    </a:cxn>
                    <a:cxn ang="0">
                      <a:pos x="T6" y="T7"/>
                    </a:cxn>
                    <a:cxn ang="0">
                      <a:pos x="T8" y="T9"/>
                    </a:cxn>
                    <a:cxn ang="0">
                      <a:pos x="T10" y="T11"/>
                    </a:cxn>
                    <a:cxn ang="0">
                      <a:pos x="T12" y="T13"/>
                    </a:cxn>
                  </a:cxnLst>
                  <a:rect l="0" t="0" r="r" b="b"/>
                  <a:pathLst>
                    <a:path w="82" h="308">
                      <a:moveTo>
                        <a:pt x="33" y="308"/>
                      </a:moveTo>
                      <a:cubicBezTo>
                        <a:pt x="54" y="272"/>
                        <a:pt x="67" y="225"/>
                        <a:pt x="42" y="188"/>
                      </a:cubicBezTo>
                      <a:cubicBezTo>
                        <a:pt x="37" y="179"/>
                        <a:pt x="37" y="179"/>
                        <a:pt x="37" y="179"/>
                      </a:cubicBezTo>
                      <a:cubicBezTo>
                        <a:pt x="1" y="119"/>
                        <a:pt x="0" y="51"/>
                        <a:pt x="51" y="0"/>
                      </a:cubicBezTo>
                      <a:cubicBezTo>
                        <a:pt x="27" y="44"/>
                        <a:pt x="19" y="87"/>
                        <a:pt x="37" y="133"/>
                      </a:cubicBezTo>
                      <a:cubicBezTo>
                        <a:pt x="44" y="153"/>
                        <a:pt x="55" y="170"/>
                        <a:pt x="64" y="188"/>
                      </a:cubicBezTo>
                      <a:cubicBezTo>
                        <a:pt x="82" y="229"/>
                        <a:pt x="64" y="278"/>
                        <a:pt x="33" y="308"/>
                      </a:cubicBezTo>
                      <a:close/>
                    </a:path>
                  </a:pathLst>
                </a:cu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49" name="Freeform 68">
                  <a:extLst>
                    <a:ext uri="{FF2B5EF4-FFF2-40B4-BE49-F238E27FC236}">
                      <a16:creationId xmlns:a16="http://schemas.microsoft.com/office/drawing/2014/main" id="{644A47EA-1B61-697A-EABA-E9028042E9FD}"/>
                    </a:ext>
                  </a:extLst>
                </p:cNvPr>
                <p:cNvSpPr/>
                <p:nvPr/>
              </p:nvSpPr>
              <p:spPr bwMode="auto">
                <a:xfrm>
                  <a:off x="1885" y="1152"/>
                  <a:ext cx="100" cy="408"/>
                </a:xfrm>
                <a:custGeom>
                  <a:gdLst>
                    <a:gd name="T0" fmla="*/ 19 w 55"/>
                    <a:gd name="T1" fmla="*/ 224 h 224"/>
                    <a:gd name="T2" fmla="*/ 26 w 55"/>
                    <a:gd name="T3" fmla="*/ 137 h 224"/>
                    <a:gd name="T4" fmla="*/ 22 w 55"/>
                    <a:gd name="T5" fmla="*/ 130 h 224"/>
                    <a:gd name="T6" fmla="*/ 4 w 55"/>
                    <a:gd name="T7" fmla="*/ 55 h 224"/>
                    <a:gd name="T8" fmla="*/ 32 w 55"/>
                    <a:gd name="T9" fmla="*/ 0 h 224"/>
                    <a:gd name="T10" fmla="*/ 15 w 55"/>
                    <a:gd name="T11" fmla="*/ 56 h 224"/>
                    <a:gd name="T12" fmla="*/ 34 w 55"/>
                    <a:gd name="T13" fmla="*/ 123 h 224"/>
                    <a:gd name="T14" fmla="*/ 41 w 55"/>
                    <a:gd name="T15" fmla="*/ 137 h 224"/>
                    <a:gd name="T16" fmla="*/ 19 w 55"/>
                    <a:gd name="T17" fmla="*/ 224 h 2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224">
                      <a:moveTo>
                        <a:pt x="19" y="224"/>
                      </a:moveTo>
                      <a:cubicBezTo>
                        <a:pt x="34" y="198"/>
                        <a:pt x="44" y="164"/>
                        <a:pt x="26" y="137"/>
                      </a:cubicBezTo>
                      <a:cubicBezTo>
                        <a:pt x="22" y="130"/>
                        <a:pt x="22" y="130"/>
                        <a:pt x="22" y="130"/>
                      </a:cubicBezTo>
                      <a:cubicBezTo>
                        <a:pt x="9" y="108"/>
                        <a:pt x="0" y="81"/>
                        <a:pt x="4" y="55"/>
                      </a:cubicBezTo>
                      <a:cubicBezTo>
                        <a:pt x="7" y="34"/>
                        <a:pt x="18" y="15"/>
                        <a:pt x="32" y="0"/>
                      </a:cubicBezTo>
                      <a:cubicBezTo>
                        <a:pt x="23" y="18"/>
                        <a:pt x="16" y="36"/>
                        <a:pt x="15" y="56"/>
                      </a:cubicBezTo>
                      <a:cubicBezTo>
                        <a:pt x="14" y="79"/>
                        <a:pt x="23" y="102"/>
                        <a:pt x="34" y="123"/>
                      </a:cubicBezTo>
                      <a:cubicBezTo>
                        <a:pt x="37" y="127"/>
                        <a:pt x="40" y="133"/>
                        <a:pt x="41" y="137"/>
                      </a:cubicBezTo>
                      <a:cubicBezTo>
                        <a:pt x="55" y="167"/>
                        <a:pt x="42" y="202"/>
                        <a:pt x="19" y="224"/>
                      </a:cubicBezTo>
                      <a:close/>
                    </a:path>
                  </a:pathLst>
                </a:cu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50" name="Freeform 69">
                  <a:extLst>
                    <a:ext uri="{FF2B5EF4-FFF2-40B4-BE49-F238E27FC236}">
                      <a16:creationId xmlns:a16="http://schemas.microsoft.com/office/drawing/2014/main" id="{79864116-B0D8-25A7-27AE-219A35326256}"/>
                    </a:ext>
                  </a:extLst>
                </p:cNvPr>
                <p:cNvSpPr/>
                <p:nvPr/>
              </p:nvSpPr>
              <p:spPr bwMode="auto">
                <a:xfrm>
                  <a:off x="2201" y="1869"/>
                  <a:ext cx="423" cy="159"/>
                </a:xfrm>
                <a:custGeom>
                  <a:gdLst>
                    <a:gd name="T0" fmla="*/ 232 w 232"/>
                    <a:gd name="T1" fmla="*/ 4 h 87"/>
                    <a:gd name="T2" fmla="*/ 9 w 232"/>
                    <a:gd name="T3" fmla="*/ 86 h 87"/>
                    <a:gd name="T4" fmla="*/ 3 w 232"/>
                    <a:gd name="T5" fmla="*/ 86 h 87"/>
                    <a:gd name="T6" fmla="*/ 3 w 232"/>
                    <a:gd name="T7" fmla="*/ 86 h 87"/>
                    <a:gd name="T8" fmla="*/ 3 w 232"/>
                    <a:gd name="T9" fmla="*/ 78 h 87"/>
                    <a:gd name="T10" fmla="*/ 232 w 232"/>
                    <a:gd name="T11" fmla="*/ 4 h 87"/>
                  </a:gdLst>
                  <a:cxnLst>
                    <a:cxn ang="0">
                      <a:pos x="T0" y="T1"/>
                    </a:cxn>
                    <a:cxn ang="0">
                      <a:pos x="T2" y="T3"/>
                    </a:cxn>
                    <a:cxn ang="0">
                      <a:pos x="T4" y="T5"/>
                    </a:cxn>
                    <a:cxn ang="0">
                      <a:pos x="T6" y="T7"/>
                    </a:cxn>
                    <a:cxn ang="0">
                      <a:pos x="T8" y="T9"/>
                    </a:cxn>
                    <a:cxn ang="0">
                      <a:pos x="T10" y="T11"/>
                    </a:cxn>
                  </a:cxnLst>
                  <a:rect l="0" t="0" r="r" b="b"/>
                  <a:pathLst>
                    <a:path w="231" h="87">
                      <a:moveTo>
                        <a:pt x="232" y="4"/>
                      </a:moveTo>
                      <a:cubicBezTo>
                        <a:pt x="232" y="4"/>
                        <a:pt x="123" y="2"/>
                        <a:pt x="9" y="86"/>
                      </a:cubicBezTo>
                      <a:cubicBezTo>
                        <a:pt x="7" y="87"/>
                        <a:pt x="5" y="87"/>
                        <a:pt x="3" y="86"/>
                      </a:cubicBezTo>
                      <a:cubicBezTo>
                        <a:pt x="3" y="86"/>
                        <a:pt x="3" y="86"/>
                        <a:pt x="3" y="86"/>
                      </a:cubicBezTo>
                      <a:cubicBezTo>
                        <a:pt x="0" y="84"/>
                        <a:pt x="0" y="80"/>
                        <a:pt x="3" y="78"/>
                      </a:cubicBezTo>
                      <a:cubicBezTo>
                        <a:pt x="27" y="62"/>
                        <a:pt x="124" y="0"/>
                        <a:pt x="232" y="4"/>
                      </a:cubicBezTo>
                      <a:close/>
                    </a:path>
                  </a:pathLst>
                </a:custGeom>
                <a:solidFill>
                  <a:srgbClr val="BEB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51" name="Freeform 70">
                  <a:extLst>
                    <a:ext uri="{FF2B5EF4-FFF2-40B4-BE49-F238E27FC236}">
                      <a16:creationId xmlns:a16="http://schemas.microsoft.com/office/drawing/2014/main" id="{5AB625AD-6CB6-7E73-D3F2-52322B98BEC4}"/>
                    </a:ext>
                  </a:extLst>
                </p:cNvPr>
                <p:cNvSpPr/>
                <p:nvPr/>
              </p:nvSpPr>
              <p:spPr bwMode="auto">
                <a:xfrm>
                  <a:off x="2259" y="1971"/>
                  <a:ext cx="157" cy="91"/>
                </a:xfrm>
                <a:custGeom>
                  <a:gdLst>
                    <a:gd name="T0" fmla="*/ 0 w 86"/>
                    <a:gd name="T1" fmla="*/ 13 h 50"/>
                    <a:gd name="T2" fmla="*/ 86 w 86"/>
                    <a:gd name="T3" fmla="*/ 50 h 50"/>
                    <a:gd name="T4" fmla="*/ 0 w 86"/>
                    <a:gd name="T5" fmla="*/ 13 h 50"/>
                  </a:gdLst>
                  <a:cxnLst>
                    <a:cxn ang="0">
                      <a:pos x="T0" y="T1"/>
                    </a:cxn>
                    <a:cxn ang="0">
                      <a:pos x="T2" y="T3"/>
                    </a:cxn>
                    <a:cxn ang="0">
                      <a:pos x="T4" y="T5"/>
                    </a:cxn>
                  </a:cxnLst>
                  <a:rect l="0" t="0" r="r" b="b"/>
                  <a:pathLst>
                    <a:path w="86" h="50">
                      <a:moveTo>
                        <a:pt x="0" y="13"/>
                      </a:moveTo>
                      <a:cubicBezTo>
                        <a:pt x="0" y="13"/>
                        <a:pt x="58" y="0"/>
                        <a:pt x="86" y="50"/>
                      </a:cubicBezTo>
                      <a:cubicBezTo>
                        <a:pt x="46" y="49"/>
                        <a:pt x="0" y="13"/>
                        <a:pt x="0" y="13"/>
                      </a:cubicBezTo>
                      <a:close/>
                    </a:path>
                  </a:pathLst>
                </a:custGeom>
                <a:solidFill>
                  <a:srgbClr val="BEB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52" name="Freeform 71">
                  <a:extLst>
                    <a:ext uri="{FF2B5EF4-FFF2-40B4-BE49-F238E27FC236}">
                      <a16:creationId xmlns:a16="http://schemas.microsoft.com/office/drawing/2014/main" id="{7E869BE9-4020-40E1-420A-8FD4F1F8914E}"/>
                    </a:ext>
                  </a:extLst>
                </p:cNvPr>
                <p:cNvSpPr/>
                <p:nvPr/>
              </p:nvSpPr>
              <p:spPr bwMode="auto">
                <a:xfrm>
                  <a:off x="2259" y="1995"/>
                  <a:ext cx="124" cy="45"/>
                </a:xfrm>
                <a:custGeom>
                  <a:gdLst>
                    <a:gd name="T0" fmla="*/ 0 w 68"/>
                    <a:gd name="T1" fmla="*/ 0 h 25"/>
                    <a:gd name="T2" fmla="*/ 68 w 68"/>
                    <a:gd name="T3" fmla="*/ 25 h 25"/>
                    <a:gd name="T4" fmla="*/ 0 w 68"/>
                    <a:gd name="T5" fmla="*/ 0 h 25"/>
                  </a:gdLst>
                  <a:cxnLst>
                    <a:cxn ang="0">
                      <a:pos x="T0" y="T1"/>
                    </a:cxn>
                    <a:cxn ang="0">
                      <a:pos x="T2" y="T3"/>
                    </a:cxn>
                    <a:cxn ang="0">
                      <a:pos x="T4" y="T5"/>
                    </a:cxn>
                  </a:cxnLst>
                  <a:rect l="0" t="0" r="r" b="b"/>
                  <a:pathLst>
                    <a:path w="68" h="25">
                      <a:moveTo>
                        <a:pt x="0" y="0"/>
                      </a:moveTo>
                      <a:cubicBezTo>
                        <a:pt x="0" y="0"/>
                        <a:pt x="38" y="1"/>
                        <a:pt x="68" y="25"/>
                      </a:cubicBezTo>
                      <a:cubicBezTo>
                        <a:pt x="50" y="17"/>
                        <a:pt x="31" y="8"/>
                        <a:pt x="0" y="0"/>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53" name="Freeform 72">
                  <a:extLst>
                    <a:ext uri="{FF2B5EF4-FFF2-40B4-BE49-F238E27FC236}">
                      <a16:creationId xmlns:a16="http://schemas.microsoft.com/office/drawing/2014/main" id="{90FD61DB-FD10-BD69-5439-A6B43C4FD0B4}"/>
                    </a:ext>
                  </a:extLst>
                </p:cNvPr>
                <p:cNvSpPr/>
                <p:nvPr/>
              </p:nvSpPr>
              <p:spPr bwMode="auto">
                <a:xfrm>
                  <a:off x="2254" y="1827"/>
                  <a:ext cx="95" cy="155"/>
                </a:xfrm>
                <a:custGeom>
                  <a:gdLst>
                    <a:gd name="T0" fmla="*/ 0 w 52"/>
                    <a:gd name="T1" fmla="*/ 85 h 85"/>
                    <a:gd name="T2" fmla="*/ 39 w 52"/>
                    <a:gd name="T3" fmla="*/ 0 h 85"/>
                    <a:gd name="T4" fmla="*/ 0 w 52"/>
                    <a:gd name="T5" fmla="*/ 85 h 85"/>
                  </a:gdLst>
                  <a:cxnLst>
                    <a:cxn ang="0">
                      <a:pos x="T0" y="T1"/>
                    </a:cxn>
                    <a:cxn ang="0">
                      <a:pos x="T2" y="T3"/>
                    </a:cxn>
                    <a:cxn ang="0">
                      <a:pos x="T4" y="T5"/>
                    </a:cxn>
                  </a:cxnLst>
                  <a:rect l="0" t="0" r="r" b="b"/>
                  <a:pathLst>
                    <a:path w="52" h="85">
                      <a:moveTo>
                        <a:pt x="0" y="85"/>
                      </a:moveTo>
                      <a:cubicBezTo>
                        <a:pt x="0" y="85"/>
                        <a:pt x="52" y="57"/>
                        <a:pt x="39" y="0"/>
                      </a:cubicBezTo>
                      <a:cubicBezTo>
                        <a:pt x="11" y="28"/>
                        <a:pt x="0" y="85"/>
                        <a:pt x="0" y="85"/>
                      </a:cubicBezTo>
                      <a:close/>
                    </a:path>
                  </a:pathLst>
                </a:custGeom>
                <a:solidFill>
                  <a:srgbClr val="BEB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54" name="Freeform 73">
                  <a:extLst>
                    <a:ext uri="{FF2B5EF4-FFF2-40B4-BE49-F238E27FC236}">
                      <a16:creationId xmlns:a16="http://schemas.microsoft.com/office/drawing/2014/main" id="{AF0ED481-B4CB-DD0A-556F-F2BAD8AED8C8}"/>
                    </a:ext>
                  </a:extLst>
                </p:cNvPr>
                <p:cNvSpPr/>
                <p:nvPr/>
              </p:nvSpPr>
              <p:spPr bwMode="auto">
                <a:xfrm>
                  <a:off x="2254" y="1865"/>
                  <a:ext cx="62" cy="117"/>
                </a:xfrm>
                <a:custGeom>
                  <a:gdLst>
                    <a:gd name="T0" fmla="*/ 0 w 34"/>
                    <a:gd name="T1" fmla="*/ 64 h 64"/>
                    <a:gd name="T2" fmla="*/ 34 w 34"/>
                    <a:gd name="T3" fmla="*/ 0 h 64"/>
                    <a:gd name="T4" fmla="*/ 0 w 34"/>
                    <a:gd name="T5" fmla="*/ 64 h 64"/>
                  </a:gdLst>
                  <a:cxnLst>
                    <a:cxn ang="0">
                      <a:pos x="T0" y="T1"/>
                    </a:cxn>
                    <a:cxn ang="0">
                      <a:pos x="T2" y="T3"/>
                    </a:cxn>
                    <a:cxn ang="0">
                      <a:pos x="T4" y="T5"/>
                    </a:cxn>
                  </a:cxnLst>
                  <a:rect l="0" t="0" r="r" b="b"/>
                  <a:pathLst>
                    <a:path w="34" h="64">
                      <a:moveTo>
                        <a:pt x="0" y="64"/>
                      </a:moveTo>
                      <a:cubicBezTo>
                        <a:pt x="0" y="64"/>
                        <a:pt x="28" y="39"/>
                        <a:pt x="34" y="0"/>
                      </a:cubicBezTo>
                      <a:cubicBezTo>
                        <a:pt x="26" y="18"/>
                        <a:pt x="18" y="38"/>
                        <a:pt x="0" y="64"/>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55" name="Freeform 74">
                  <a:extLst>
                    <a:ext uri="{FF2B5EF4-FFF2-40B4-BE49-F238E27FC236}">
                      <a16:creationId xmlns:a16="http://schemas.microsoft.com/office/drawing/2014/main" id="{F55CCFFD-5144-6F9C-6047-A60BD344E047}"/>
                    </a:ext>
                  </a:extLst>
                </p:cNvPr>
                <p:cNvSpPr/>
                <p:nvPr/>
              </p:nvSpPr>
              <p:spPr bwMode="auto">
                <a:xfrm>
                  <a:off x="2339" y="1927"/>
                  <a:ext cx="152" cy="97"/>
                </a:xfrm>
                <a:custGeom>
                  <a:gdLst>
                    <a:gd name="T0" fmla="*/ 0 w 83"/>
                    <a:gd name="T1" fmla="*/ 9 h 53"/>
                    <a:gd name="T2" fmla="*/ 83 w 83"/>
                    <a:gd name="T3" fmla="*/ 53 h 53"/>
                    <a:gd name="T4" fmla="*/ 0 w 83"/>
                    <a:gd name="T5" fmla="*/ 9 h 53"/>
                  </a:gdLst>
                  <a:cxnLst>
                    <a:cxn ang="0">
                      <a:pos x="T0" y="T1"/>
                    </a:cxn>
                    <a:cxn ang="0">
                      <a:pos x="T2" y="T3"/>
                    </a:cxn>
                    <a:cxn ang="0">
                      <a:pos x="T4" y="T5"/>
                    </a:cxn>
                  </a:cxnLst>
                  <a:rect l="0" t="0" r="r" b="b"/>
                  <a:pathLst>
                    <a:path w="83" h="52">
                      <a:moveTo>
                        <a:pt x="0" y="9"/>
                      </a:moveTo>
                      <a:cubicBezTo>
                        <a:pt x="0" y="9"/>
                        <a:pt x="58" y="0"/>
                        <a:pt x="83" y="53"/>
                      </a:cubicBezTo>
                      <a:cubicBezTo>
                        <a:pt x="43" y="48"/>
                        <a:pt x="0" y="9"/>
                        <a:pt x="0" y="9"/>
                      </a:cubicBezTo>
                      <a:close/>
                    </a:path>
                  </a:pathLst>
                </a:custGeom>
                <a:solidFill>
                  <a:srgbClr val="BEB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56" name="Freeform 75">
                  <a:extLst>
                    <a:ext uri="{FF2B5EF4-FFF2-40B4-BE49-F238E27FC236}">
                      <a16:creationId xmlns:a16="http://schemas.microsoft.com/office/drawing/2014/main" id="{1349C508-BA03-D85B-452A-0F0D087F29F3}"/>
                    </a:ext>
                  </a:extLst>
                </p:cNvPr>
                <p:cNvSpPr/>
                <p:nvPr/>
              </p:nvSpPr>
              <p:spPr bwMode="auto">
                <a:xfrm>
                  <a:off x="2339" y="1944"/>
                  <a:ext cx="121" cy="56"/>
                </a:xfrm>
                <a:custGeom>
                  <a:gdLst>
                    <a:gd name="T0" fmla="*/ 0 w 66"/>
                    <a:gd name="T1" fmla="*/ 0 h 31"/>
                    <a:gd name="T2" fmla="*/ 66 w 66"/>
                    <a:gd name="T3" fmla="*/ 31 h 31"/>
                    <a:gd name="T4" fmla="*/ 0 w 66"/>
                    <a:gd name="T5" fmla="*/ 0 h 31"/>
                  </a:gdLst>
                  <a:cxnLst>
                    <a:cxn ang="0">
                      <a:pos x="T0" y="T1"/>
                    </a:cxn>
                    <a:cxn ang="0">
                      <a:pos x="T2" y="T3"/>
                    </a:cxn>
                    <a:cxn ang="0">
                      <a:pos x="T4" y="T5"/>
                    </a:cxn>
                  </a:cxnLst>
                  <a:rect l="0" t="0" r="r" b="b"/>
                  <a:pathLst>
                    <a:path w="66" h="31">
                      <a:moveTo>
                        <a:pt x="0" y="0"/>
                      </a:moveTo>
                      <a:cubicBezTo>
                        <a:pt x="0" y="0"/>
                        <a:pt x="38" y="4"/>
                        <a:pt x="66" y="31"/>
                      </a:cubicBezTo>
                      <a:cubicBezTo>
                        <a:pt x="49" y="21"/>
                        <a:pt x="30" y="10"/>
                        <a:pt x="0" y="0"/>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57" name="Freeform 76">
                  <a:extLst>
                    <a:ext uri="{FF2B5EF4-FFF2-40B4-BE49-F238E27FC236}">
                      <a16:creationId xmlns:a16="http://schemas.microsoft.com/office/drawing/2014/main" id="{5AFBFC29-CDFA-A80D-0497-D3E20D489C6B}"/>
                    </a:ext>
                  </a:extLst>
                </p:cNvPr>
                <p:cNvSpPr/>
                <p:nvPr/>
              </p:nvSpPr>
              <p:spPr bwMode="auto">
                <a:xfrm>
                  <a:off x="2529" y="1827"/>
                  <a:ext cx="170" cy="91"/>
                </a:xfrm>
                <a:custGeom>
                  <a:gdLst>
                    <a:gd name="T0" fmla="*/ 0 w 93"/>
                    <a:gd name="T1" fmla="*/ 30 h 50"/>
                    <a:gd name="T2" fmla="*/ 93 w 93"/>
                    <a:gd name="T3" fmla="*/ 40 h 50"/>
                    <a:gd name="T4" fmla="*/ 0 w 93"/>
                    <a:gd name="T5" fmla="*/ 30 h 50"/>
                  </a:gdLst>
                  <a:cxnLst>
                    <a:cxn ang="0">
                      <a:pos x="T0" y="T1"/>
                    </a:cxn>
                    <a:cxn ang="0">
                      <a:pos x="T2" y="T3"/>
                    </a:cxn>
                    <a:cxn ang="0">
                      <a:pos x="T4" y="T5"/>
                    </a:cxn>
                  </a:cxnLst>
                  <a:rect l="0" t="0" r="r" b="b"/>
                  <a:pathLst>
                    <a:path w="93" h="50">
                      <a:moveTo>
                        <a:pt x="0" y="30"/>
                      </a:moveTo>
                      <a:cubicBezTo>
                        <a:pt x="0" y="30"/>
                        <a:pt x="51" y="0"/>
                        <a:pt x="93" y="40"/>
                      </a:cubicBezTo>
                      <a:cubicBezTo>
                        <a:pt x="55" y="50"/>
                        <a:pt x="0" y="30"/>
                        <a:pt x="0" y="30"/>
                      </a:cubicBezTo>
                      <a:close/>
                    </a:path>
                  </a:pathLst>
                </a:custGeom>
                <a:solidFill>
                  <a:srgbClr val="BEB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58" name="Freeform 77">
                  <a:extLst>
                    <a:ext uri="{FF2B5EF4-FFF2-40B4-BE49-F238E27FC236}">
                      <a16:creationId xmlns:a16="http://schemas.microsoft.com/office/drawing/2014/main" id="{2213D035-E337-E103-4E77-E87F55459070}"/>
                    </a:ext>
                  </a:extLst>
                </p:cNvPr>
                <p:cNvSpPr/>
                <p:nvPr/>
              </p:nvSpPr>
              <p:spPr bwMode="auto">
                <a:xfrm>
                  <a:off x="2529" y="1862"/>
                  <a:ext cx="133" cy="25"/>
                </a:xfrm>
                <a:custGeom>
                  <a:gdLst>
                    <a:gd name="T0" fmla="*/ 0 w 73"/>
                    <a:gd name="T1" fmla="*/ 11 h 14"/>
                    <a:gd name="T2" fmla="*/ 73 w 73"/>
                    <a:gd name="T3" fmla="*/ 14 h 14"/>
                    <a:gd name="T4" fmla="*/ 0 w 73"/>
                    <a:gd name="T5" fmla="*/ 11 h 14"/>
                  </a:gdLst>
                  <a:cxnLst>
                    <a:cxn ang="0">
                      <a:pos x="T0" y="T1"/>
                    </a:cxn>
                    <a:cxn ang="0">
                      <a:pos x="T2" y="T3"/>
                    </a:cxn>
                    <a:cxn ang="0">
                      <a:pos x="T4" y="T5"/>
                    </a:cxn>
                  </a:cxnLst>
                  <a:rect l="0" t="0" r="r" b="b"/>
                  <a:pathLst>
                    <a:path w="73" h="14">
                      <a:moveTo>
                        <a:pt x="0" y="11"/>
                      </a:moveTo>
                      <a:cubicBezTo>
                        <a:pt x="0" y="11"/>
                        <a:pt x="36" y="0"/>
                        <a:pt x="73" y="14"/>
                      </a:cubicBezTo>
                      <a:cubicBezTo>
                        <a:pt x="53" y="12"/>
                        <a:pt x="31" y="9"/>
                        <a:pt x="0" y="11"/>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59" name="Freeform 78">
                  <a:extLst>
                    <a:ext uri="{FF2B5EF4-FFF2-40B4-BE49-F238E27FC236}">
                      <a16:creationId xmlns:a16="http://schemas.microsoft.com/office/drawing/2014/main" id="{61651EB5-0959-1C8C-DA1C-AC8EC66C68E6}"/>
                    </a:ext>
                  </a:extLst>
                </p:cNvPr>
                <p:cNvSpPr/>
                <p:nvPr/>
              </p:nvSpPr>
              <p:spPr bwMode="auto">
                <a:xfrm>
                  <a:off x="2341" y="1790"/>
                  <a:ext cx="101" cy="150"/>
                </a:xfrm>
                <a:custGeom>
                  <a:gdLst>
                    <a:gd name="T0" fmla="*/ 0 w 55"/>
                    <a:gd name="T1" fmla="*/ 82 h 82"/>
                    <a:gd name="T2" fmla="*/ 47 w 55"/>
                    <a:gd name="T3" fmla="*/ 0 h 82"/>
                    <a:gd name="T4" fmla="*/ 0 w 55"/>
                    <a:gd name="T5" fmla="*/ 82 h 82"/>
                  </a:gdLst>
                  <a:cxnLst>
                    <a:cxn ang="0">
                      <a:pos x="T0" y="T1"/>
                    </a:cxn>
                    <a:cxn ang="0">
                      <a:pos x="T2" y="T3"/>
                    </a:cxn>
                    <a:cxn ang="0">
                      <a:pos x="T4" y="T5"/>
                    </a:cxn>
                  </a:cxnLst>
                  <a:rect l="0" t="0" r="r" b="b"/>
                  <a:pathLst>
                    <a:path w="55" h="82">
                      <a:moveTo>
                        <a:pt x="0" y="82"/>
                      </a:moveTo>
                      <a:cubicBezTo>
                        <a:pt x="0" y="82"/>
                        <a:pt x="55" y="57"/>
                        <a:pt x="47" y="0"/>
                      </a:cubicBezTo>
                      <a:cubicBezTo>
                        <a:pt x="16" y="25"/>
                        <a:pt x="0" y="82"/>
                        <a:pt x="0" y="82"/>
                      </a:cubicBezTo>
                      <a:close/>
                    </a:path>
                  </a:pathLst>
                </a:custGeom>
                <a:solidFill>
                  <a:srgbClr val="BEB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60" name="Freeform 79">
                  <a:extLst>
                    <a:ext uri="{FF2B5EF4-FFF2-40B4-BE49-F238E27FC236}">
                      <a16:creationId xmlns:a16="http://schemas.microsoft.com/office/drawing/2014/main" id="{44D9AADC-896D-FA24-7EEA-F16B3B8B38BA}"/>
                    </a:ext>
                  </a:extLst>
                </p:cNvPr>
                <p:cNvSpPr/>
                <p:nvPr/>
              </p:nvSpPr>
              <p:spPr bwMode="auto">
                <a:xfrm>
                  <a:off x="2341" y="1827"/>
                  <a:ext cx="73" cy="113"/>
                </a:xfrm>
                <a:custGeom>
                  <a:gdLst>
                    <a:gd name="T0" fmla="*/ 0 w 40"/>
                    <a:gd name="T1" fmla="*/ 62 h 62"/>
                    <a:gd name="T2" fmla="*/ 40 w 40"/>
                    <a:gd name="T3" fmla="*/ 0 h 62"/>
                    <a:gd name="T4" fmla="*/ 0 w 40"/>
                    <a:gd name="T5" fmla="*/ 62 h 62"/>
                  </a:gdLst>
                  <a:cxnLst>
                    <a:cxn ang="0">
                      <a:pos x="T0" y="T1"/>
                    </a:cxn>
                    <a:cxn ang="0">
                      <a:pos x="T2" y="T3"/>
                    </a:cxn>
                    <a:cxn ang="0">
                      <a:pos x="T4" y="T5"/>
                    </a:cxn>
                  </a:cxnLst>
                  <a:rect l="0" t="0" r="r" b="b"/>
                  <a:pathLst>
                    <a:path w="40" h="62">
                      <a:moveTo>
                        <a:pt x="0" y="62"/>
                      </a:moveTo>
                      <a:cubicBezTo>
                        <a:pt x="0" y="62"/>
                        <a:pt x="31" y="38"/>
                        <a:pt x="40" y="0"/>
                      </a:cubicBezTo>
                      <a:cubicBezTo>
                        <a:pt x="31" y="18"/>
                        <a:pt x="20" y="37"/>
                        <a:pt x="0" y="62"/>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61" name="Freeform 80">
                  <a:extLst>
                    <a:ext uri="{FF2B5EF4-FFF2-40B4-BE49-F238E27FC236}">
                      <a16:creationId xmlns:a16="http://schemas.microsoft.com/office/drawing/2014/main" id="{AA29D7BF-1964-C676-6F73-3FDB833AF1CA}"/>
                    </a:ext>
                  </a:extLst>
                </p:cNvPr>
                <p:cNvSpPr/>
                <p:nvPr/>
              </p:nvSpPr>
              <p:spPr bwMode="auto">
                <a:xfrm>
                  <a:off x="2440" y="1891"/>
                  <a:ext cx="151" cy="96"/>
                </a:xfrm>
                <a:custGeom>
                  <a:gdLst>
                    <a:gd name="T0" fmla="*/ 0 w 83"/>
                    <a:gd name="T1" fmla="*/ 9 h 53"/>
                    <a:gd name="T2" fmla="*/ 83 w 83"/>
                    <a:gd name="T3" fmla="*/ 53 h 53"/>
                    <a:gd name="T4" fmla="*/ 0 w 83"/>
                    <a:gd name="T5" fmla="*/ 9 h 53"/>
                  </a:gdLst>
                  <a:cxnLst>
                    <a:cxn ang="0">
                      <a:pos x="T0" y="T1"/>
                    </a:cxn>
                    <a:cxn ang="0">
                      <a:pos x="T2" y="T3"/>
                    </a:cxn>
                    <a:cxn ang="0">
                      <a:pos x="T4" y="T5"/>
                    </a:cxn>
                  </a:cxnLst>
                  <a:rect l="0" t="0" r="r" b="b"/>
                  <a:pathLst>
                    <a:path w="83" h="52">
                      <a:moveTo>
                        <a:pt x="0" y="9"/>
                      </a:moveTo>
                      <a:cubicBezTo>
                        <a:pt x="0" y="9"/>
                        <a:pt x="59" y="0"/>
                        <a:pt x="83" y="53"/>
                      </a:cubicBezTo>
                      <a:cubicBezTo>
                        <a:pt x="43" y="48"/>
                        <a:pt x="0" y="9"/>
                        <a:pt x="0" y="9"/>
                      </a:cubicBezTo>
                      <a:close/>
                    </a:path>
                  </a:pathLst>
                </a:custGeom>
                <a:solidFill>
                  <a:srgbClr val="BEB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62" name="Freeform 81">
                  <a:extLst>
                    <a:ext uri="{FF2B5EF4-FFF2-40B4-BE49-F238E27FC236}">
                      <a16:creationId xmlns:a16="http://schemas.microsoft.com/office/drawing/2014/main" id="{EFF237AD-3CE3-6918-AD9A-C3D788F18BCA}"/>
                    </a:ext>
                  </a:extLst>
                </p:cNvPr>
                <p:cNvSpPr/>
                <p:nvPr/>
              </p:nvSpPr>
              <p:spPr bwMode="auto">
                <a:xfrm>
                  <a:off x="2440" y="1907"/>
                  <a:ext cx="120" cy="55"/>
                </a:xfrm>
                <a:custGeom>
                  <a:gdLst>
                    <a:gd name="T0" fmla="*/ 0 w 66"/>
                    <a:gd name="T1" fmla="*/ 0 h 30"/>
                    <a:gd name="T2" fmla="*/ 66 w 66"/>
                    <a:gd name="T3" fmla="*/ 30 h 30"/>
                    <a:gd name="T4" fmla="*/ 0 w 66"/>
                    <a:gd name="T5" fmla="*/ 0 h 30"/>
                  </a:gdLst>
                  <a:cxnLst>
                    <a:cxn ang="0">
                      <a:pos x="T0" y="T1"/>
                    </a:cxn>
                    <a:cxn ang="0">
                      <a:pos x="T2" y="T3"/>
                    </a:cxn>
                    <a:cxn ang="0">
                      <a:pos x="T4" y="T5"/>
                    </a:cxn>
                  </a:cxnLst>
                  <a:rect l="0" t="0" r="r" b="b"/>
                  <a:pathLst>
                    <a:path w="66" h="30">
                      <a:moveTo>
                        <a:pt x="0" y="0"/>
                      </a:moveTo>
                      <a:cubicBezTo>
                        <a:pt x="0" y="0"/>
                        <a:pt x="38" y="3"/>
                        <a:pt x="66" y="30"/>
                      </a:cubicBezTo>
                      <a:cubicBezTo>
                        <a:pt x="49" y="20"/>
                        <a:pt x="30" y="10"/>
                        <a:pt x="0" y="0"/>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63" name="Freeform 82">
                  <a:extLst>
                    <a:ext uri="{FF2B5EF4-FFF2-40B4-BE49-F238E27FC236}">
                      <a16:creationId xmlns:a16="http://schemas.microsoft.com/office/drawing/2014/main" id="{42477DD1-01FA-7513-1327-BED8C105AE5C}"/>
                    </a:ext>
                  </a:extLst>
                </p:cNvPr>
                <p:cNvSpPr/>
                <p:nvPr/>
              </p:nvSpPr>
              <p:spPr bwMode="auto">
                <a:xfrm>
                  <a:off x="2442" y="1752"/>
                  <a:ext cx="100" cy="150"/>
                </a:xfrm>
                <a:custGeom>
                  <a:gdLst>
                    <a:gd name="T0" fmla="*/ 0 w 55"/>
                    <a:gd name="T1" fmla="*/ 82 h 82"/>
                    <a:gd name="T2" fmla="*/ 47 w 55"/>
                    <a:gd name="T3" fmla="*/ 0 h 82"/>
                    <a:gd name="T4" fmla="*/ 0 w 55"/>
                    <a:gd name="T5" fmla="*/ 82 h 82"/>
                  </a:gdLst>
                  <a:cxnLst>
                    <a:cxn ang="0">
                      <a:pos x="T0" y="T1"/>
                    </a:cxn>
                    <a:cxn ang="0">
                      <a:pos x="T2" y="T3"/>
                    </a:cxn>
                    <a:cxn ang="0">
                      <a:pos x="T4" y="T5"/>
                    </a:cxn>
                  </a:cxnLst>
                  <a:rect l="0" t="0" r="r" b="b"/>
                  <a:pathLst>
                    <a:path w="55" h="82">
                      <a:moveTo>
                        <a:pt x="0" y="82"/>
                      </a:moveTo>
                      <a:cubicBezTo>
                        <a:pt x="0" y="82"/>
                        <a:pt x="55" y="58"/>
                        <a:pt x="47" y="0"/>
                      </a:cubicBezTo>
                      <a:cubicBezTo>
                        <a:pt x="16" y="26"/>
                        <a:pt x="0" y="82"/>
                        <a:pt x="0" y="82"/>
                      </a:cubicBezTo>
                      <a:close/>
                    </a:path>
                  </a:pathLst>
                </a:custGeom>
                <a:solidFill>
                  <a:srgbClr val="BEB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64" name="Freeform 83">
                  <a:extLst>
                    <a:ext uri="{FF2B5EF4-FFF2-40B4-BE49-F238E27FC236}">
                      <a16:creationId xmlns:a16="http://schemas.microsoft.com/office/drawing/2014/main" id="{01723B02-DE44-006C-A571-1967F2C07F29}"/>
                    </a:ext>
                  </a:extLst>
                </p:cNvPr>
                <p:cNvSpPr/>
                <p:nvPr/>
              </p:nvSpPr>
              <p:spPr bwMode="auto">
                <a:xfrm>
                  <a:off x="2442" y="1790"/>
                  <a:ext cx="73" cy="112"/>
                </a:xfrm>
                <a:custGeom>
                  <a:gdLst>
                    <a:gd name="T0" fmla="*/ 0 w 40"/>
                    <a:gd name="T1" fmla="*/ 61 h 61"/>
                    <a:gd name="T2" fmla="*/ 40 w 40"/>
                    <a:gd name="T3" fmla="*/ 0 h 61"/>
                    <a:gd name="T4" fmla="*/ 0 w 40"/>
                    <a:gd name="T5" fmla="*/ 61 h 61"/>
                  </a:gdLst>
                  <a:cxnLst>
                    <a:cxn ang="0">
                      <a:pos x="T0" y="T1"/>
                    </a:cxn>
                    <a:cxn ang="0">
                      <a:pos x="T2" y="T3"/>
                    </a:cxn>
                    <a:cxn ang="0">
                      <a:pos x="T4" y="T5"/>
                    </a:cxn>
                  </a:cxnLst>
                  <a:rect l="0" t="0" r="r" b="b"/>
                  <a:pathLst>
                    <a:path w="40" h="61">
                      <a:moveTo>
                        <a:pt x="0" y="61"/>
                      </a:moveTo>
                      <a:cubicBezTo>
                        <a:pt x="0" y="61"/>
                        <a:pt x="31" y="38"/>
                        <a:pt x="40" y="0"/>
                      </a:cubicBezTo>
                      <a:cubicBezTo>
                        <a:pt x="31" y="17"/>
                        <a:pt x="20" y="36"/>
                        <a:pt x="0" y="61"/>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65" name="Freeform 84">
                  <a:extLst>
                    <a:ext uri="{FF2B5EF4-FFF2-40B4-BE49-F238E27FC236}">
                      <a16:creationId xmlns:a16="http://schemas.microsoft.com/office/drawing/2014/main" id="{9C0545B2-5E9D-6CCF-497C-CD11004D928A}"/>
                    </a:ext>
                  </a:extLst>
                </p:cNvPr>
                <p:cNvSpPr/>
                <p:nvPr/>
              </p:nvSpPr>
              <p:spPr bwMode="auto">
                <a:xfrm>
                  <a:off x="1356" y="1869"/>
                  <a:ext cx="421" cy="159"/>
                </a:xfrm>
                <a:custGeom>
                  <a:gdLst>
                    <a:gd name="T0" fmla="*/ 0 w 231"/>
                    <a:gd name="T1" fmla="*/ 4 h 87"/>
                    <a:gd name="T2" fmla="*/ 223 w 231"/>
                    <a:gd name="T3" fmla="*/ 86 h 87"/>
                    <a:gd name="T4" fmla="*/ 229 w 231"/>
                    <a:gd name="T5" fmla="*/ 86 h 87"/>
                    <a:gd name="T6" fmla="*/ 229 w 231"/>
                    <a:gd name="T7" fmla="*/ 86 h 87"/>
                    <a:gd name="T8" fmla="*/ 228 w 231"/>
                    <a:gd name="T9" fmla="*/ 78 h 87"/>
                    <a:gd name="T10" fmla="*/ 0 w 231"/>
                    <a:gd name="T11" fmla="*/ 4 h 87"/>
                  </a:gdLst>
                  <a:cxnLst>
                    <a:cxn ang="0">
                      <a:pos x="T0" y="T1"/>
                    </a:cxn>
                    <a:cxn ang="0">
                      <a:pos x="T2" y="T3"/>
                    </a:cxn>
                    <a:cxn ang="0">
                      <a:pos x="T4" y="T5"/>
                    </a:cxn>
                    <a:cxn ang="0">
                      <a:pos x="T6" y="T7"/>
                    </a:cxn>
                    <a:cxn ang="0">
                      <a:pos x="T8" y="T9"/>
                    </a:cxn>
                    <a:cxn ang="0">
                      <a:pos x="T10" y="T11"/>
                    </a:cxn>
                  </a:cxnLst>
                  <a:rect l="0" t="0" r="r" b="b"/>
                  <a:pathLst>
                    <a:path w="231" h="87">
                      <a:moveTo>
                        <a:pt x="0" y="4"/>
                      </a:moveTo>
                      <a:cubicBezTo>
                        <a:pt x="0" y="4"/>
                        <a:pt x="108" y="2"/>
                        <a:pt x="223" y="86"/>
                      </a:cubicBezTo>
                      <a:cubicBezTo>
                        <a:pt x="224" y="87"/>
                        <a:pt x="227" y="87"/>
                        <a:pt x="229" y="86"/>
                      </a:cubicBezTo>
                      <a:cubicBezTo>
                        <a:pt x="229" y="86"/>
                        <a:pt x="229" y="86"/>
                        <a:pt x="229" y="86"/>
                      </a:cubicBezTo>
                      <a:cubicBezTo>
                        <a:pt x="231" y="84"/>
                        <a:pt x="231" y="80"/>
                        <a:pt x="228" y="78"/>
                      </a:cubicBezTo>
                      <a:cubicBezTo>
                        <a:pt x="205" y="62"/>
                        <a:pt x="107" y="0"/>
                        <a:pt x="0" y="4"/>
                      </a:cubicBezTo>
                      <a:close/>
                    </a:path>
                  </a:pathLst>
                </a:custGeom>
                <a:solidFill>
                  <a:srgbClr val="BEB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66" name="Freeform 85">
                  <a:extLst>
                    <a:ext uri="{FF2B5EF4-FFF2-40B4-BE49-F238E27FC236}">
                      <a16:creationId xmlns:a16="http://schemas.microsoft.com/office/drawing/2014/main" id="{0D99557F-1876-873F-38D8-EC72B860F1B4}"/>
                    </a:ext>
                  </a:extLst>
                </p:cNvPr>
                <p:cNvSpPr/>
                <p:nvPr/>
              </p:nvSpPr>
              <p:spPr bwMode="auto">
                <a:xfrm>
                  <a:off x="1564" y="1971"/>
                  <a:ext cx="157" cy="91"/>
                </a:xfrm>
                <a:custGeom>
                  <a:gdLst>
                    <a:gd name="T0" fmla="*/ 86 w 86"/>
                    <a:gd name="T1" fmla="*/ 13 h 50"/>
                    <a:gd name="T2" fmla="*/ 0 w 86"/>
                    <a:gd name="T3" fmla="*/ 50 h 50"/>
                    <a:gd name="T4" fmla="*/ 86 w 86"/>
                    <a:gd name="T5" fmla="*/ 13 h 50"/>
                  </a:gdLst>
                  <a:cxnLst>
                    <a:cxn ang="0">
                      <a:pos x="T0" y="T1"/>
                    </a:cxn>
                    <a:cxn ang="0">
                      <a:pos x="T2" y="T3"/>
                    </a:cxn>
                    <a:cxn ang="0">
                      <a:pos x="T4" y="T5"/>
                    </a:cxn>
                  </a:cxnLst>
                  <a:rect l="0" t="0" r="r" b="b"/>
                  <a:pathLst>
                    <a:path w="86" h="50">
                      <a:moveTo>
                        <a:pt x="86" y="13"/>
                      </a:moveTo>
                      <a:cubicBezTo>
                        <a:pt x="86" y="13"/>
                        <a:pt x="28" y="0"/>
                        <a:pt x="0" y="50"/>
                      </a:cubicBezTo>
                      <a:cubicBezTo>
                        <a:pt x="39" y="49"/>
                        <a:pt x="86" y="13"/>
                        <a:pt x="86" y="13"/>
                      </a:cubicBezTo>
                      <a:close/>
                    </a:path>
                  </a:pathLst>
                </a:custGeom>
                <a:solidFill>
                  <a:srgbClr val="BEB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67" name="Freeform 86">
                  <a:extLst>
                    <a:ext uri="{FF2B5EF4-FFF2-40B4-BE49-F238E27FC236}">
                      <a16:creationId xmlns:a16="http://schemas.microsoft.com/office/drawing/2014/main" id="{F2854A30-8125-FB38-7921-C6C819AA9C6C}"/>
                    </a:ext>
                  </a:extLst>
                </p:cNvPr>
                <p:cNvSpPr/>
                <p:nvPr/>
              </p:nvSpPr>
              <p:spPr bwMode="auto">
                <a:xfrm>
                  <a:off x="1595" y="1995"/>
                  <a:ext cx="126" cy="45"/>
                </a:xfrm>
                <a:custGeom>
                  <a:gdLst>
                    <a:gd name="T0" fmla="*/ 69 w 69"/>
                    <a:gd name="T1" fmla="*/ 0 h 25"/>
                    <a:gd name="T2" fmla="*/ 0 w 69"/>
                    <a:gd name="T3" fmla="*/ 25 h 25"/>
                    <a:gd name="T4" fmla="*/ 69 w 69"/>
                    <a:gd name="T5" fmla="*/ 0 h 25"/>
                  </a:gdLst>
                  <a:cxnLst>
                    <a:cxn ang="0">
                      <a:pos x="T0" y="T1"/>
                    </a:cxn>
                    <a:cxn ang="0">
                      <a:pos x="T2" y="T3"/>
                    </a:cxn>
                    <a:cxn ang="0">
                      <a:pos x="T4" y="T5"/>
                    </a:cxn>
                  </a:cxnLst>
                  <a:rect l="0" t="0" r="r" b="b"/>
                  <a:pathLst>
                    <a:path w="69" h="25">
                      <a:moveTo>
                        <a:pt x="69" y="0"/>
                      </a:moveTo>
                      <a:cubicBezTo>
                        <a:pt x="69" y="0"/>
                        <a:pt x="31" y="1"/>
                        <a:pt x="0" y="25"/>
                      </a:cubicBezTo>
                      <a:cubicBezTo>
                        <a:pt x="18" y="17"/>
                        <a:pt x="38" y="8"/>
                        <a:pt x="69" y="0"/>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68" name="Freeform 87">
                  <a:extLst>
                    <a:ext uri="{FF2B5EF4-FFF2-40B4-BE49-F238E27FC236}">
                      <a16:creationId xmlns:a16="http://schemas.microsoft.com/office/drawing/2014/main" id="{0A37643D-0C36-0C14-09CB-CADE9FF0E50B}"/>
                    </a:ext>
                  </a:extLst>
                </p:cNvPr>
                <p:cNvSpPr/>
                <p:nvPr/>
              </p:nvSpPr>
              <p:spPr bwMode="auto">
                <a:xfrm>
                  <a:off x="1631" y="1827"/>
                  <a:ext cx="95" cy="155"/>
                </a:xfrm>
                <a:custGeom>
                  <a:gdLst>
                    <a:gd name="T0" fmla="*/ 52 w 52"/>
                    <a:gd name="T1" fmla="*/ 85 h 85"/>
                    <a:gd name="T2" fmla="*/ 12 w 52"/>
                    <a:gd name="T3" fmla="*/ 0 h 85"/>
                    <a:gd name="T4" fmla="*/ 52 w 52"/>
                    <a:gd name="T5" fmla="*/ 85 h 85"/>
                  </a:gdLst>
                  <a:cxnLst>
                    <a:cxn ang="0">
                      <a:pos x="T0" y="T1"/>
                    </a:cxn>
                    <a:cxn ang="0">
                      <a:pos x="T2" y="T3"/>
                    </a:cxn>
                    <a:cxn ang="0">
                      <a:pos x="T4" y="T5"/>
                    </a:cxn>
                  </a:cxnLst>
                  <a:rect l="0" t="0" r="r" b="b"/>
                  <a:pathLst>
                    <a:path w="52" h="85">
                      <a:moveTo>
                        <a:pt x="52" y="85"/>
                      </a:moveTo>
                      <a:cubicBezTo>
                        <a:pt x="52" y="85"/>
                        <a:pt x="0" y="57"/>
                        <a:pt x="12" y="0"/>
                      </a:cubicBezTo>
                      <a:cubicBezTo>
                        <a:pt x="41" y="28"/>
                        <a:pt x="52" y="85"/>
                        <a:pt x="52" y="85"/>
                      </a:cubicBezTo>
                      <a:close/>
                    </a:path>
                  </a:pathLst>
                </a:custGeom>
                <a:solidFill>
                  <a:srgbClr val="BEB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69" name="Freeform 88">
                  <a:extLst>
                    <a:ext uri="{FF2B5EF4-FFF2-40B4-BE49-F238E27FC236}">
                      <a16:creationId xmlns:a16="http://schemas.microsoft.com/office/drawing/2014/main" id="{4BA12D1D-BF1E-68F7-79DA-48F62C4207F7}"/>
                    </a:ext>
                  </a:extLst>
                </p:cNvPr>
                <p:cNvSpPr/>
                <p:nvPr/>
              </p:nvSpPr>
              <p:spPr bwMode="auto">
                <a:xfrm>
                  <a:off x="1663" y="1865"/>
                  <a:ext cx="63" cy="117"/>
                </a:xfrm>
                <a:custGeom>
                  <a:gdLst>
                    <a:gd name="T0" fmla="*/ 35 w 35"/>
                    <a:gd name="T1" fmla="*/ 64 h 64"/>
                    <a:gd name="T2" fmla="*/ 0 w 35"/>
                    <a:gd name="T3" fmla="*/ 0 h 64"/>
                    <a:gd name="T4" fmla="*/ 35 w 35"/>
                    <a:gd name="T5" fmla="*/ 64 h 64"/>
                  </a:gdLst>
                  <a:cxnLst>
                    <a:cxn ang="0">
                      <a:pos x="T0" y="T1"/>
                    </a:cxn>
                    <a:cxn ang="0">
                      <a:pos x="T2" y="T3"/>
                    </a:cxn>
                    <a:cxn ang="0">
                      <a:pos x="T4" y="T5"/>
                    </a:cxn>
                  </a:cxnLst>
                  <a:rect l="0" t="0" r="r" b="b"/>
                  <a:pathLst>
                    <a:path w="35" h="64">
                      <a:moveTo>
                        <a:pt x="35" y="64"/>
                      </a:moveTo>
                      <a:cubicBezTo>
                        <a:pt x="35" y="64"/>
                        <a:pt x="6" y="39"/>
                        <a:pt x="0" y="0"/>
                      </a:cubicBezTo>
                      <a:cubicBezTo>
                        <a:pt x="8" y="18"/>
                        <a:pt x="17" y="38"/>
                        <a:pt x="35" y="64"/>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70" name="Freeform 89">
                  <a:extLst>
                    <a:ext uri="{FF2B5EF4-FFF2-40B4-BE49-F238E27FC236}">
                      <a16:creationId xmlns:a16="http://schemas.microsoft.com/office/drawing/2014/main" id="{052C89B2-ED00-5573-602C-3FA9B8EBD57A}"/>
                    </a:ext>
                  </a:extLst>
                </p:cNvPr>
                <p:cNvSpPr/>
                <p:nvPr/>
              </p:nvSpPr>
              <p:spPr bwMode="auto">
                <a:xfrm>
                  <a:off x="1489" y="1927"/>
                  <a:ext cx="152" cy="97"/>
                </a:xfrm>
                <a:custGeom>
                  <a:gdLst>
                    <a:gd name="T0" fmla="*/ 83 w 83"/>
                    <a:gd name="T1" fmla="*/ 9 h 53"/>
                    <a:gd name="T2" fmla="*/ 0 w 83"/>
                    <a:gd name="T3" fmla="*/ 53 h 53"/>
                    <a:gd name="T4" fmla="*/ 83 w 83"/>
                    <a:gd name="T5" fmla="*/ 9 h 53"/>
                  </a:gdLst>
                  <a:cxnLst>
                    <a:cxn ang="0">
                      <a:pos x="T0" y="T1"/>
                    </a:cxn>
                    <a:cxn ang="0">
                      <a:pos x="T2" y="T3"/>
                    </a:cxn>
                    <a:cxn ang="0">
                      <a:pos x="T4" y="T5"/>
                    </a:cxn>
                  </a:cxnLst>
                  <a:rect l="0" t="0" r="r" b="b"/>
                  <a:pathLst>
                    <a:path w="83" h="52">
                      <a:moveTo>
                        <a:pt x="83" y="9"/>
                      </a:moveTo>
                      <a:cubicBezTo>
                        <a:pt x="83" y="9"/>
                        <a:pt x="24" y="0"/>
                        <a:pt x="0" y="53"/>
                      </a:cubicBezTo>
                      <a:cubicBezTo>
                        <a:pt x="39" y="48"/>
                        <a:pt x="83" y="9"/>
                        <a:pt x="83" y="9"/>
                      </a:cubicBezTo>
                      <a:close/>
                    </a:path>
                  </a:pathLst>
                </a:custGeom>
                <a:solidFill>
                  <a:srgbClr val="BEB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71" name="Freeform 90">
                  <a:extLst>
                    <a:ext uri="{FF2B5EF4-FFF2-40B4-BE49-F238E27FC236}">
                      <a16:creationId xmlns:a16="http://schemas.microsoft.com/office/drawing/2014/main" id="{41002F88-06D7-8063-CE47-67833D49148C}"/>
                    </a:ext>
                  </a:extLst>
                </p:cNvPr>
                <p:cNvSpPr/>
                <p:nvPr/>
              </p:nvSpPr>
              <p:spPr bwMode="auto">
                <a:xfrm>
                  <a:off x="1520" y="1944"/>
                  <a:ext cx="121" cy="56"/>
                </a:xfrm>
                <a:custGeom>
                  <a:gdLst>
                    <a:gd name="T0" fmla="*/ 66 w 66"/>
                    <a:gd name="T1" fmla="*/ 0 h 31"/>
                    <a:gd name="T2" fmla="*/ 0 w 66"/>
                    <a:gd name="T3" fmla="*/ 31 h 31"/>
                    <a:gd name="T4" fmla="*/ 66 w 66"/>
                    <a:gd name="T5" fmla="*/ 0 h 31"/>
                  </a:gdLst>
                  <a:cxnLst>
                    <a:cxn ang="0">
                      <a:pos x="T0" y="T1"/>
                    </a:cxn>
                    <a:cxn ang="0">
                      <a:pos x="T2" y="T3"/>
                    </a:cxn>
                    <a:cxn ang="0">
                      <a:pos x="T4" y="T5"/>
                    </a:cxn>
                  </a:cxnLst>
                  <a:rect l="0" t="0" r="r" b="b"/>
                  <a:pathLst>
                    <a:path w="66" h="31">
                      <a:moveTo>
                        <a:pt x="66" y="0"/>
                      </a:moveTo>
                      <a:cubicBezTo>
                        <a:pt x="66" y="0"/>
                        <a:pt x="28" y="4"/>
                        <a:pt x="0" y="31"/>
                      </a:cubicBezTo>
                      <a:cubicBezTo>
                        <a:pt x="17" y="21"/>
                        <a:pt x="36" y="10"/>
                        <a:pt x="66" y="0"/>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72" name="Freeform 91">
                  <a:extLst>
                    <a:ext uri="{FF2B5EF4-FFF2-40B4-BE49-F238E27FC236}">
                      <a16:creationId xmlns:a16="http://schemas.microsoft.com/office/drawing/2014/main" id="{0C7F50B5-A939-C8F6-23A6-BA4FADE55341}"/>
                    </a:ext>
                  </a:extLst>
                </p:cNvPr>
                <p:cNvSpPr/>
                <p:nvPr/>
              </p:nvSpPr>
              <p:spPr bwMode="auto">
                <a:xfrm>
                  <a:off x="1279" y="1827"/>
                  <a:ext cx="172" cy="91"/>
                </a:xfrm>
                <a:custGeom>
                  <a:gdLst>
                    <a:gd name="T0" fmla="*/ 94 w 94"/>
                    <a:gd name="T1" fmla="*/ 30 h 50"/>
                    <a:gd name="T2" fmla="*/ 0 w 94"/>
                    <a:gd name="T3" fmla="*/ 40 h 50"/>
                    <a:gd name="T4" fmla="*/ 94 w 94"/>
                    <a:gd name="T5" fmla="*/ 30 h 50"/>
                  </a:gdLst>
                  <a:cxnLst>
                    <a:cxn ang="0">
                      <a:pos x="T0" y="T1"/>
                    </a:cxn>
                    <a:cxn ang="0">
                      <a:pos x="T2" y="T3"/>
                    </a:cxn>
                    <a:cxn ang="0">
                      <a:pos x="T4" y="T5"/>
                    </a:cxn>
                  </a:cxnLst>
                  <a:rect l="0" t="0" r="r" b="b"/>
                  <a:pathLst>
                    <a:path w="94" h="50">
                      <a:moveTo>
                        <a:pt x="94" y="30"/>
                      </a:moveTo>
                      <a:cubicBezTo>
                        <a:pt x="94" y="30"/>
                        <a:pt x="43" y="0"/>
                        <a:pt x="0" y="40"/>
                      </a:cubicBezTo>
                      <a:cubicBezTo>
                        <a:pt x="39" y="50"/>
                        <a:pt x="94" y="30"/>
                        <a:pt x="94" y="30"/>
                      </a:cubicBezTo>
                      <a:close/>
                    </a:path>
                  </a:pathLst>
                </a:custGeom>
                <a:solidFill>
                  <a:srgbClr val="BEB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73" name="Freeform 92">
                  <a:extLst>
                    <a:ext uri="{FF2B5EF4-FFF2-40B4-BE49-F238E27FC236}">
                      <a16:creationId xmlns:a16="http://schemas.microsoft.com/office/drawing/2014/main" id="{B0598BB3-884B-69FB-DB98-9EA2C64E7C61}"/>
                    </a:ext>
                  </a:extLst>
                </p:cNvPr>
                <p:cNvSpPr/>
                <p:nvPr/>
              </p:nvSpPr>
              <p:spPr bwMode="auto">
                <a:xfrm>
                  <a:off x="1318" y="1862"/>
                  <a:ext cx="133" cy="25"/>
                </a:xfrm>
                <a:custGeom>
                  <a:gdLst>
                    <a:gd name="T0" fmla="*/ 73 w 73"/>
                    <a:gd name="T1" fmla="*/ 11 h 14"/>
                    <a:gd name="T2" fmla="*/ 0 w 73"/>
                    <a:gd name="T3" fmla="*/ 14 h 14"/>
                    <a:gd name="T4" fmla="*/ 73 w 73"/>
                    <a:gd name="T5" fmla="*/ 11 h 14"/>
                  </a:gdLst>
                  <a:cxnLst>
                    <a:cxn ang="0">
                      <a:pos x="T0" y="T1"/>
                    </a:cxn>
                    <a:cxn ang="0">
                      <a:pos x="T2" y="T3"/>
                    </a:cxn>
                    <a:cxn ang="0">
                      <a:pos x="T4" y="T5"/>
                    </a:cxn>
                  </a:cxnLst>
                  <a:rect l="0" t="0" r="r" b="b"/>
                  <a:pathLst>
                    <a:path w="73" h="14">
                      <a:moveTo>
                        <a:pt x="73" y="11"/>
                      </a:moveTo>
                      <a:cubicBezTo>
                        <a:pt x="73" y="11"/>
                        <a:pt x="36" y="0"/>
                        <a:pt x="0" y="14"/>
                      </a:cubicBezTo>
                      <a:cubicBezTo>
                        <a:pt x="20" y="12"/>
                        <a:pt x="41" y="9"/>
                        <a:pt x="73" y="11"/>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74" name="Freeform 93">
                  <a:extLst>
                    <a:ext uri="{FF2B5EF4-FFF2-40B4-BE49-F238E27FC236}">
                      <a16:creationId xmlns:a16="http://schemas.microsoft.com/office/drawing/2014/main" id="{4A0C385A-71E7-50E5-AE95-FD4257B1A535}"/>
                    </a:ext>
                  </a:extLst>
                </p:cNvPr>
                <p:cNvSpPr/>
                <p:nvPr/>
              </p:nvSpPr>
              <p:spPr bwMode="auto">
                <a:xfrm>
                  <a:off x="1538" y="1790"/>
                  <a:ext cx="99" cy="150"/>
                </a:xfrm>
                <a:custGeom>
                  <a:gdLst>
                    <a:gd name="T0" fmla="*/ 54 w 54"/>
                    <a:gd name="T1" fmla="*/ 82 h 82"/>
                    <a:gd name="T2" fmla="*/ 8 w 54"/>
                    <a:gd name="T3" fmla="*/ 0 h 82"/>
                    <a:gd name="T4" fmla="*/ 54 w 54"/>
                    <a:gd name="T5" fmla="*/ 82 h 82"/>
                  </a:gdLst>
                  <a:cxnLst>
                    <a:cxn ang="0">
                      <a:pos x="T0" y="T1"/>
                    </a:cxn>
                    <a:cxn ang="0">
                      <a:pos x="T2" y="T3"/>
                    </a:cxn>
                    <a:cxn ang="0">
                      <a:pos x="T4" y="T5"/>
                    </a:cxn>
                  </a:cxnLst>
                  <a:rect l="0" t="0" r="r" b="b"/>
                  <a:pathLst>
                    <a:path w="54" h="82">
                      <a:moveTo>
                        <a:pt x="54" y="82"/>
                      </a:moveTo>
                      <a:cubicBezTo>
                        <a:pt x="54" y="82"/>
                        <a:pt x="0" y="57"/>
                        <a:pt x="8" y="0"/>
                      </a:cubicBezTo>
                      <a:cubicBezTo>
                        <a:pt x="39" y="25"/>
                        <a:pt x="54" y="82"/>
                        <a:pt x="54" y="82"/>
                      </a:cubicBezTo>
                    </a:path>
                  </a:pathLst>
                </a:custGeom>
                <a:solidFill>
                  <a:srgbClr val="BEB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75" name="Freeform 94">
                  <a:extLst>
                    <a:ext uri="{FF2B5EF4-FFF2-40B4-BE49-F238E27FC236}">
                      <a16:creationId xmlns:a16="http://schemas.microsoft.com/office/drawing/2014/main" id="{69D5CE72-1052-97B9-66B3-F1DE6EC83ADF}"/>
                    </a:ext>
                  </a:extLst>
                </p:cNvPr>
                <p:cNvSpPr/>
                <p:nvPr/>
              </p:nvSpPr>
              <p:spPr bwMode="auto">
                <a:xfrm>
                  <a:off x="1566" y="1827"/>
                  <a:ext cx="71" cy="113"/>
                </a:xfrm>
                <a:custGeom>
                  <a:gdLst>
                    <a:gd name="T0" fmla="*/ 39 w 39"/>
                    <a:gd name="T1" fmla="*/ 62 h 62"/>
                    <a:gd name="T2" fmla="*/ 0 w 39"/>
                    <a:gd name="T3" fmla="*/ 0 h 62"/>
                    <a:gd name="T4" fmla="*/ 39 w 39"/>
                    <a:gd name="T5" fmla="*/ 62 h 62"/>
                  </a:gdLst>
                  <a:cxnLst>
                    <a:cxn ang="0">
                      <a:pos x="T0" y="T1"/>
                    </a:cxn>
                    <a:cxn ang="0">
                      <a:pos x="T2" y="T3"/>
                    </a:cxn>
                    <a:cxn ang="0">
                      <a:pos x="T4" y="T5"/>
                    </a:cxn>
                  </a:cxnLst>
                  <a:rect l="0" t="0" r="r" b="b"/>
                  <a:pathLst>
                    <a:path w="39" h="62">
                      <a:moveTo>
                        <a:pt x="39" y="62"/>
                      </a:moveTo>
                      <a:cubicBezTo>
                        <a:pt x="39" y="62"/>
                        <a:pt x="9" y="38"/>
                        <a:pt x="0" y="0"/>
                      </a:cubicBezTo>
                      <a:cubicBezTo>
                        <a:pt x="9" y="18"/>
                        <a:pt x="19" y="37"/>
                        <a:pt x="39" y="62"/>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76" name="Freeform 95">
                  <a:extLst>
                    <a:ext uri="{FF2B5EF4-FFF2-40B4-BE49-F238E27FC236}">
                      <a16:creationId xmlns:a16="http://schemas.microsoft.com/office/drawing/2014/main" id="{156129A3-ACDA-1F4D-85F9-78F76B350A9D}"/>
                    </a:ext>
                  </a:extLst>
                </p:cNvPr>
                <p:cNvSpPr/>
                <p:nvPr/>
              </p:nvSpPr>
              <p:spPr bwMode="auto">
                <a:xfrm>
                  <a:off x="1389" y="1891"/>
                  <a:ext cx="151" cy="96"/>
                </a:xfrm>
                <a:custGeom>
                  <a:gdLst>
                    <a:gd name="T0" fmla="*/ 83 w 83"/>
                    <a:gd name="T1" fmla="*/ 9 h 53"/>
                    <a:gd name="T2" fmla="*/ 0 w 83"/>
                    <a:gd name="T3" fmla="*/ 53 h 53"/>
                    <a:gd name="T4" fmla="*/ 83 w 83"/>
                    <a:gd name="T5" fmla="*/ 9 h 53"/>
                  </a:gdLst>
                  <a:cxnLst>
                    <a:cxn ang="0">
                      <a:pos x="T0" y="T1"/>
                    </a:cxn>
                    <a:cxn ang="0">
                      <a:pos x="T2" y="T3"/>
                    </a:cxn>
                    <a:cxn ang="0">
                      <a:pos x="T4" y="T5"/>
                    </a:cxn>
                  </a:cxnLst>
                  <a:rect l="0" t="0" r="r" b="b"/>
                  <a:pathLst>
                    <a:path w="83" h="52">
                      <a:moveTo>
                        <a:pt x="83" y="9"/>
                      </a:moveTo>
                      <a:cubicBezTo>
                        <a:pt x="83" y="9"/>
                        <a:pt x="24" y="0"/>
                        <a:pt x="0" y="53"/>
                      </a:cubicBezTo>
                      <a:cubicBezTo>
                        <a:pt x="39" y="48"/>
                        <a:pt x="83" y="9"/>
                        <a:pt x="83" y="9"/>
                      </a:cubicBezTo>
                      <a:close/>
                    </a:path>
                  </a:pathLst>
                </a:custGeom>
                <a:solidFill>
                  <a:srgbClr val="BEB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77" name="Freeform 96">
                  <a:extLst>
                    <a:ext uri="{FF2B5EF4-FFF2-40B4-BE49-F238E27FC236}">
                      <a16:creationId xmlns:a16="http://schemas.microsoft.com/office/drawing/2014/main" id="{DE9AAB87-3DE9-C10C-E358-BEDA4964DD29}"/>
                    </a:ext>
                  </a:extLst>
                </p:cNvPr>
                <p:cNvSpPr/>
                <p:nvPr/>
              </p:nvSpPr>
              <p:spPr bwMode="auto">
                <a:xfrm>
                  <a:off x="1420" y="1907"/>
                  <a:ext cx="120" cy="55"/>
                </a:xfrm>
                <a:custGeom>
                  <a:gdLst>
                    <a:gd name="T0" fmla="*/ 66 w 66"/>
                    <a:gd name="T1" fmla="*/ 0 h 30"/>
                    <a:gd name="T2" fmla="*/ 0 w 66"/>
                    <a:gd name="T3" fmla="*/ 30 h 30"/>
                    <a:gd name="T4" fmla="*/ 66 w 66"/>
                    <a:gd name="T5" fmla="*/ 0 h 30"/>
                  </a:gdLst>
                  <a:cxnLst>
                    <a:cxn ang="0">
                      <a:pos x="T0" y="T1"/>
                    </a:cxn>
                    <a:cxn ang="0">
                      <a:pos x="T2" y="T3"/>
                    </a:cxn>
                    <a:cxn ang="0">
                      <a:pos x="T4" y="T5"/>
                    </a:cxn>
                  </a:cxnLst>
                  <a:rect l="0" t="0" r="r" b="b"/>
                  <a:pathLst>
                    <a:path w="66" h="30">
                      <a:moveTo>
                        <a:pt x="66" y="0"/>
                      </a:moveTo>
                      <a:cubicBezTo>
                        <a:pt x="66" y="0"/>
                        <a:pt x="28" y="3"/>
                        <a:pt x="0" y="30"/>
                      </a:cubicBezTo>
                      <a:cubicBezTo>
                        <a:pt x="17" y="20"/>
                        <a:pt x="36" y="10"/>
                        <a:pt x="66" y="0"/>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78" name="Freeform 97">
                  <a:extLst>
                    <a:ext uri="{FF2B5EF4-FFF2-40B4-BE49-F238E27FC236}">
                      <a16:creationId xmlns:a16="http://schemas.microsoft.com/office/drawing/2014/main" id="{D29A46EA-0D79-AD7C-0B4C-52BA1AA101F8}"/>
                    </a:ext>
                  </a:extLst>
                </p:cNvPr>
                <p:cNvSpPr/>
                <p:nvPr/>
              </p:nvSpPr>
              <p:spPr bwMode="auto">
                <a:xfrm>
                  <a:off x="1438" y="1752"/>
                  <a:ext cx="99" cy="150"/>
                </a:xfrm>
                <a:custGeom>
                  <a:gdLst>
                    <a:gd name="T0" fmla="*/ 54 w 54"/>
                    <a:gd name="T1" fmla="*/ 82 h 82"/>
                    <a:gd name="T2" fmla="*/ 8 w 54"/>
                    <a:gd name="T3" fmla="*/ 0 h 82"/>
                    <a:gd name="T4" fmla="*/ 54 w 54"/>
                    <a:gd name="T5" fmla="*/ 82 h 82"/>
                  </a:gdLst>
                  <a:cxnLst>
                    <a:cxn ang="0">
                      <a:pos x="T0" y="T1"/>
                    </a:cxn>
                    <a:cxn ang="0">
                      <a:pos x="T2" y="T3"/>
                    </a:cxn>
                    <a:cxn ang="0">
                      <a:pos x="T4" y="T5"/>
                    </a:cxn>
                  </a:cxnLst>
                  <a:rect l="0" t="0" r="r" b="b"/>
                  <a:pathLst>
                    <a:path w="54" h="82">
                      <a:moveTo>
                        <a:pt x="54" y="82"/>
                      </a:moveTo>
                      <a:cubicBezTo>
                        <a:pt x="54" y="82"/>
                        <a:pt x="0" y="58"/>
                        <a:pt x="8" y="0"/>
                      </a:cubicBezTo>
                      <a:cubicBezTo>
                        <a:pt x="39" y="26"/>
                        <a:pt x="54" y="82"/>
                        <a:pt x="54" y="82"/>
                      </a:cubicBezTo>
                      <a:close/>
                    </a:path>
                  </a:pathLst>
                </a:custGeom>
                <a:solidFill>
                  <a:srgbClr val="BEB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79" name="Freeform 98">
                  <a:extLst>
                    <a:ext uri="{FF2B5EF4-FFF2-40B4-BE49-F238E27FC236}">
                      <a16:creationId xmlns:a16="http://schemas.microsoft.com/office/drawing/2014/main" id="{888F0AA1-DEDC-5735-1E6F-9CC0EE21F169}"/>
                    </a:ext>
                  </a:extLst>
                </p:cNvPr>
                <p:cNvSpPr/>
                <p:nvPr/>
              </p:nvSpPr>
              <p:spPr bwMode="auto">
                <a:xfrm>
                  <a:off x="1465" y="1790"/>
                  <a:ext cx="72" cy="112"/>
                </a:xfrm>
                <a:custGeom>
                  <a:gdLst>
                    <a:gd name="T0" fmla="*/ 39 w 39"/>
                    <a:gd name="T1" fmla="*/ 61 h 61"/>
                    <a:gd name="T2" fmla="*/ 0 w 39"/>
                    <a:gd name="T3" fmla="*/ 0 h 61"/>
                    <a:gd name="T4" fmla="*/ 39 w 39"/>
                    <a:gd name="T5" fmla="*/ 61 h 61"/>
                  </a:gdLst>
                  <a:cxnLst>
                    <a:cxn ang="0">
                      <a:pos x="T0" y="T1"/>
                    </a:cxn>
                    <a:cxn ang="0">
                      <a:pos x="T2" y="T3"/>
                    </a:cxn>
                    <a:cxn ang="0">
                      <a:pos x="T4" y="T5"/>
                    </a:cxn>
                  </a:cxnLst>
                  <a:rect l="0" t="0" r="r" b="b"/>
                  <a:pathLst>
                    <a:path w="39" h="61">
                      <a:moveTo>
                        <a:pt x="39" y="61"/>
                      </a:moveTo>
                      <a:cubicBezTo>
                        <a:pt x="39" y="61"/>
                        <a:pt x="9" y="38"/>
                        <a:pt x="0" y="0"/>
                      </a:cubicBezTo>
                      <a:cubicBezTo>
                        <a:pt x="9" y="17"/>
                        <a:pt x="19" y="36"/>
                        <a:pt x="39" y="61"/>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80" name="Freeform 99">
                  <a:extLst>
                    <a:ext uri="{FF2B5EF4-FFF2-40B4-BE49-F238E27FC236}">
                      <a16:creationId xmlns:a16="http://schemas.microsoft.com/office/drawing/2014/main" id="{FCAAAEE0-DF53-296C-4868-AA1CF83CE076}"/>
                    </a:ext>
                  </a:extLst>
                </p:cNvPr>
                <p:cNvSpPr/>
                <p:nvPr/>
              </p:nvSpPr>
              <p:spPr bwMode="auto">
                <a:xfrm>
                  <a:off x="1526" y="1759"/>
                  <a:ext cx="175" cy="261"/>
                </a:xfrm>
                <a:custGeom>
                  <a:gdLst>
                    <a:gd name="T0" fmla="*/ 29 w 96"/>
                    <a:gd name="T1" fmla="*/ 0 h 143"/>
                    <a:gd name="T2" fmla="*/ 0 w 96"/>
                    <a:gd name="T3" fmla="*/ 72 h 143"/>
                    <a:gd name="T4" fmla="*/ 29 w 96"/>
                    <a:gd name="T5" fmla="*/ 143 h 143"/>
                    <a:gd name="T6" fmla="*/ 96 w 96"/>
                    <a:gd name="T7" fmla="*/ 143 h 143"/>
                    <a:gd name="T8" fmla="*/ 96 w 96"/>
                    <a:gd name="T9" fmla="*/ 0 h 143"/>
                    <a:gd name="T10" fmla="*/ 29 w 96"/>
                    <a:gd name="T11" fmla="*/ 0 h 143"/>
                  </a:gdLst>
                  <a:cxnLst>
                    <a:cxn ang="0">
                      <a:pos x="T0" y="T1"/>
                    </a:cxn>
                    <a:cxn ang="0">
                      <a:pos x="T2" y="T3"/>
                    </a:cxn>
                    <a:cxn ang="0">
                      <a:pos x="T4" y="T5"/>
                    </a:cxn>
                    <a:cxn ang="0">
                      <a:pos x="T6" y="T7"/>
                    </a:cxn>
                    <a:cxn ang="0">
                      <a:pos x="T8" y="T9"/>
                    </a:cxn>
                    <a:cxn ang="0">
                      <a:pos x="T10" y="T11"/>
                    </a:cxn>
                  </a:cxnLst>
                  <a:rect l="0" t="0" r="r" b="b"/>
                  <a:pathLst>
                    <a:path w="96" h="143">
                      <a:moveTo>
                        <a:pt x="29" y="0"/>
                      </a:moveTo>
                      <a:cubicBezTo>
                        <a:pt x="13" y="0"/>
                        <a:pt x="0" y="32"/>
                        <a:pt x="0" y="72"/>
                      </a:cubicBezTo>
                      <a:cubicBezTo>
                        <a:pt x="0" y="111"/>
                        <a:pt x="13" y="143"/>
                        <a:pt x="29" y="143"/>
                      </a:cubicBezTo>
                      <a:cubicBezTo>
                        <a:pt x="96" y="143"/>
                        <a:pt x="96" y="143"/>
                        <a:pt x="96" y="143"/>
                      </a:cubicBezTo>
                      <a:cubicBezTo>
                        <a:pt x="96" y="0"/>
                        <a:pt x="96" y="0"/>
                        <a:pt x="96" y="0"/>
                      </a:cubicBezTo>
                      <a:cubicBezTo>
                        <a:pt x="29" y="0"/>
                        <a:pt x="29" y="0"/>
                        <a:pt x="29" y="0"/>
                      </a:cubicBezTo>
                    </a:path>
                  </a:pathLst>
                </a:custGeom>
                <a:solidFill>
                  <a:srgbClr val="59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81" name="Freeform 100">
                  <a:extLst>
                    <a:ext uri="{FF2B5EF4-FFF2-40B4-BE49-F238E27FC236}">
                      <a16:creationId xmlns:a16="http://schemas.microsoft.com/office/drawing/2014/main" id="{02000743-C72B-5012-322D-6BD3788C3810}"/>
                    </a:ext>
                  </a:extLst>
                </p:cNvPr>
                <p:cNvSpPr/>
                <p:nvPr/>
              </p:nvSpPr>
              <p:spPr bwMode="auto">
                <a:xfrm>
                  <a:off x="1526" y="1898"/>
                  <a:ext cx="175" cy="122"/>
                </a:xfrm>
                <a:custGeom>
                  <a:gdLst>
                    <a:gd name="T0" fmla="*/ 96 w 96"/>
                    <a:gd name="T1" fmla="*/ 42 h 67"/>
                    <a:gd name="T2" fmla="*/ 75 w 96"/>
                    <a:gd name="T3" fmla="*/ 43 h 67"/>
                    <a:gd name="T4" fmla="*/ 0 w 96"/>
                    <a:gd name="T5" fmla="*/ 0 h 67"/>
                    <a:gd name="T6" fmla="*/ 29 w 96"/>
                    <a:gd name="T7" fmla="*/ 67 h 67"/>
                    <a:gd name="T8" fmla="*/ 96 w 96"/>
                    <a:gd name="T9" fmla="*/ 67 h 67"/>
                    <a:gd name="T10" fmla="*/ 96 w 96"/>
                    <a:gd name="T11" fmla="*/ 42 h 67"/>
                  </a:gdLst>
                  <a:cxnLst>
                    <a:cxn ang="0">
                      <a:pos x="T0" y="T1"/>
                    </a:cxn>
                    <a:cxn ang="0">
                      <a:pos x="T2" y="T3"/>
                    </a:cxn>
                    <a:cxn ang="0">
                      <a:pos x="T4" y="T5"/>
                    </a:cxn>
                    <a:cxn ang="0">
                      <a:pos x="T6" y="T7"/>
                    </a:cxn>
                    <a:cxn ang="0">
                      <a:pos x="T8" y="T9"/>
                    </a:cxn>
                    <a:cxn ang="0">
                      <a:pos x="T10" y="T11"/>
                    </a:cxn>
                  </a:cxnLst>
                  <a:rect l="0" t="0" r="r" b="b"/>
                  <a:pathLst>
                    <a:path w="96" h="67">
                      <a:moveTo>
                        <a:pt x="96" y="42"/>
                      </a:moveTo>
                      <a:cubicBezTo>
                        <a:pt x="89" y="42"/>
                        <a:pt x="82" y="42"/>
                        <a:pt x="75" y="43"/>
                      </a:cubicBezTo>
                      <a:cubicBezTo>
                        <a:pt x="17" y="49"/>
                        <a:pt x="0" y="0"/>
                        <a:pt x="0" y="0"/>
                      </a:cubicBezTo>
                      <a:cubicBezTo>
                        <a:pt x="1" y="38"/>
                        <a:pt x="14" y="67"/>
                        <a:pt x="29" y="67"/>
                      </a:cubicBezTo>
                      <a:cubicBezTo>
                        <a:pt x="96" y="67"/>
                        <a:pt x="96" y="67"/>
                        <a:pt x="96" y="67"/>
                      </a:cubicBezTo>
                      <a:lnTo>
                        <a:pt x="96" y="42"/>
                      </a:lnTo>
                      <a:close/>
                    </a:path>
                  </a:pathLst>
                </a:custGeom>
                <a:solidFill>
                  <a:srgbClr val="350F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82" name="Oval 101">
                  <a:extLst>
                    <a:ext uri="{FF2B5EF4-FFF2-40B4-BE49-F238E27FC236}">
                      <a16:creationId xmlns:a16="http://schemas.microsoft.com/office/drawing/2014/main" id="{AFC0DF20-5563-F98C-C002-DD6BDD3AD955}"/>
                    </a:ext>
                  </a:extLst>
                </p:cNvPr>
                <p:cNvSpPr>
                  <a:spLocks noChangeArrowheads="1"/>
                </p:cNvSpPr>
                <p:nvPr/>
              </p:nvSpPr>
              <p:spPr bwMode="auto">
                <a:xfrm>
                  <a:off x="1650" y="1759"/>
                  <a:ext cx="104" cy="261"/>
                </a:xfrm>
                <a:prstGeom prst="ellipse">
                  <a:avLst/>
                </a:prstGeom>
                <a:solidFill>
                  <a:srgbClr val="350F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83" name="Oval 102">
                  <a:extLst>
                    <a:ext uri="{FF2B5EF4-FFF2-40B4-BE49-F238E27FC236}">
                      <a16:creationId xmlns:a16="http://schemas.microsoft.com/office/drawing/2014/main" id="{B327EE07-9E74-DC5E-91E0-3758F7D1B4AD}"/>
                    </a:ext>
                  </a:extLst>
                </p:cNvPr>
                <p:cNvSpPr>
                  <a:spLocks noChangeArrowheads="1"/>
                </p:cNvSpPr>
                <p:nvPr/>
              </p:nvSpPr>
              <p:spPr bwMode="auto">
                <a:xfrm>
                  <a:off x="1657" y="1768"/>
                  <a:ext cx="93" cy="245"/>
                </a:xfrm>
                <a:prstGeom prst="ellipse">
                  <a:avLst/>
                </a:prstGeom>
                <a:solidFill>
                  <a:srgbClr val="FFFE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84" name="Freeform 103">
                  <a:extLst>
                    <a:ext uri="{FF2B5EF4-FFF2-40B4-BE49-F238E27FC236}">
                      <a16:creationId xmlns:a16="http://schemas.microsoft.com/office/drawing/2014/main" id="{6B78546A-6F04-15F9-D1C9-93A612D96ECE}"/>
                    </a:ext>
                  </a:extLst>
                </p:cNvPr>
                <p:cNvSpPr/>
                <p:nvPr/>
              </p:nvSpPr>
              <p:spPr bwMode="auto">
                <a:xfrm>
                  <a:off x="1688" y="1810"/>
                  <a:ext cx="44" cy="66"/>
                </a:xfrm>
                <a:custGeom>
                  <a:gdLst>
                    <a:gd name="T0" fmla="*/ 0 w 24"/>
                    <a:gd name="T1" fmla="*/ 16 h 36"/>
                    <a:gd name="T2" fmla="*/ 9 w 24"/>
                    <a:gd name="T3" fmla="*/ 34 h 36"/>
                    <a:gd name="T4" fmla="*/ 24 w 24"/>
                    <a:gd name="T5" fmla="*/ 24 h 36"/>
                    <a:gd name="T6" fmla="*/ 15 w 24"/>
                    <a:gd name="T7" fmla="*/ 2 h 36"/>
                    <a:gd name="T8" fmla="*/ 0 w 24"/>
                    <a:gd name="T9" fmla="*/ 16 h 36"/>
                  </a:gdLst>
                  <a:cxnLst>
                    <a:cxn ang="0">
                      <a:pos x="T0" y="T1"/>
                    </a:cxn>
                    <a:cxn ang="0">
                      <a:pos x="T2" y="T3"/>
                    </a:cxn>
                    <a:cxn ang="0">
                      <a:pos x="T4" y="T5"/>
                    </a:cxn>
                    <a:cxn ang="0">
                      <a:pos x="T6" y="T7"/>
                    </a:cxn>
                    <a:cxn ang="0">
                      <a:pos x="T8" y="T9"/>
                    </a:cxn>
                  </a:cxnLst>
                  <a:rect l="0" t="0" r="r" b="b"/>
                  <a:pathLst>
                    <a:path w="24" h="36">
                      <a:moveTo>
                        <a:pt x="0" y="16"/>
                      </a:moveTo>
                      <a:cubicBezTo>
                        <a:pt x="0" y="16"/>
                        <a:pt x="2" y="31"/>
                        <a:pt x="9" y="34"/>
                      </a:cubicBezTo>
                      <a:cubicBezTo>
                        <a:pt x="16" y="36"/>
                        <a:pt x="24" y="27"/>
                        <a:pt x="24" y="24"/>
                      </a:cubicBezTo>
                      <a:cubicBezTo>
                        <a:pt x="24" y="20"/>
                        <a:pt x="20" y="5"/>
                        <a:pt x="15" y="2"/>
                      </a:cubicBezTo>
                      <a:cubicBezTo>
                        <a:pt x="11" y="0"/>
                        <a:pt x="0" y="16"/>
                        <a:pt x="0" y="16"/>
                      </a:cubicBezTo>
                      <a:close/>
                    </a:path>
                  </a:pathLst>
                </a:custGeom>
                <a:solidFill>
                  <a:srgbClr val="E05B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85" name="Freeform 104">
                  <a:extLst>
                    <a:ext uri="{FF2B5EF4-FFF2-40B4-BE49-F238E27FC236}">
                      <a16:creationId xmlns:a16="http://schemas.microsoft.com/office/drawing/2014/main" id="{16EB836B-644F-2CCE-E7B2-52310FE378BF}"/>
                    </a:ext>
                  </a:extLst>
                </p:cNvPr>
                <p:cNvSpPr/>
                <p:nvPr/>
              </p:nvSpPr>
              <p:spPr bwMode="auto">
                <a:xfrm>
                  <a:off x="1699" y="1854"/>
                  <a:ext cx="36" cy="51"/>
                </a:xfrm>
                <a:custGeom>
                  <a:gdLst>
                    <a:gd name="T0" fmla="*/ 18 w 20"/>
                    <a:gd name="T1" fmla="*/ 0 h 28"/>
                    <a:gd name="T2" fmla="*/ 18 w 20"/>
                    <a:gd name="T3" fmla="*/ 17 h 28"/>
                    <a:gd name="T4" fmla="*/ 3 w 20"/>
                    <a:gd name="T5" fmla="*/ 27 h 28"/>
                    <a:gd name="T6" fmla="*/ 1 w 20"/>
                    <a:gd name="T7" fmla="*/ 4 h 28"/>
                    <a:gd name="T8" fmla="*/ 18 w 20"/>
                    <a:gd name="T9" fmla="*/ 0 h 28"/>
                  </a:gdLst>
                  <a:cxnLst>
                    <a:cxn ang="0">
                      <a:pos x="T0" y="T1"/>
                    </a:cxn>
                    <a:cxn ang="0">
                      <a:pos x="T2" y="T3"/>
                    </a:cxn>
                    <a:cxn ang="0">
                      <a:pos x="T4" y="T5"/>
                    </a:cxn>
                    <a:cxn ang="0">
                      <a:pos x="T6" y="T7"/>
                    </a:cxn>
                    <a:cxn ang="0">
                      <a:pos x="T8" y="T9"/>
                    </a:cxn>
                  </a:cxnLst>
                  <a:rect l="0" t="0" r="r" b="b"/>
                  <a:pathLst>
                    <a:path w="20" h="28">
                      <a:moveTo>
                        <a:pt x="18" y="0"/>
                      </a:moveTo>
                      <a:cubicBezTo>
                        <a:pt x="18" y="0"/>
                        <a:pt x="20" y="11"/>
                        <a:pt x="18" y="17"/>
                      </a:cubicBezTo>
                      <a:cubicBezTo>
                        <a:pt x="16" y="22"/>
                        <a:pt x="6" y="27"/>
                        <a:pt x="3" y="27"/>
                      </a:cubicBezTo>
                      <a:cubicBezTo>
                        <a:pt x="0" y="28"/>
                        <a:pt x="1" y="4"/>
                        <a:pt x="1" y="4"/>
                      </a:cubicBezTo>
                      <a:lnTo>
                        <a:pt x="18" y="0"/>
                      </a:lnTo>
                      <a:close/>
                    </a:path>
                  </a:pathLst>
                </a:custGeom>
                <a:solidFill>
                  <a:srgbClr val="FE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86" name="Freeform 105">
                  <a:extLst>
                    <a:ext uri="{FF2B5EF4-FFF2-40B4-BE49-F238E27FC236}">
                      <a16:creationId xmlns:a16="http://schemas.microsoft.com/office/drawing/2014/main" id="{6C616301-F22B-372A-B4C3-180A209F4F3B}"/>
                    </a:ext>
                  </a:extLst>
                </p:cNvPr>
                <p:cNvSpPr/>
                <p:nvPr/>
              </p:nvSpPr>
              <p:spPr bwMode="auto">
                <a:xfrm>
                  <a:off x="1677" y="1840"/>
                  <a:ext cx="40" cy="64"/>
                </a:xfrm>
                <a:custGeom>
                  <a:gdLst>
                    <a:gd name="T0" fmla="*/ 6 w 22"/>
                    <a:gd name="T1" fmla="*/ 0 h 35"/>
                    <a:gd name="T2" fmla="*/ 0 w 22"/>
                    <a:gd name="T3" fmla="*/ 20 h 35"/>
                    <a:gd name="T4" fmla="*/ 0 w 22"/>
                    <a:gd name="T5" fmla="*/ 26 h 35"/>
                    <a:gd name="T6" fmla="*/ 8 w 22"/>
                    <a:gd name="T7" fmla="*/ 35 h 35"/>
                    <a:gd name="T8" fmla="*/ 22 w 22"/>
                    <a:gd name="T9" fmla="*/ 27 h 35"/>
                    <a:gd name="T10" fmla="*/ 6 w 22"/>
                    <a:gd name="T11" fmla="*/ 0 h 35"/>
                  </a:gdLst>
                  <a:cxnLst>
                    <a:cxn ang="0">
                      <a:pos x="T0" y="T1"/>
                    </a:cxn>
                    <a:cxn ang="0">
                      <a:pos x="T2" y="T3"/>
                    </a:cxn>
                    <a:cxn ang="0">
                      <a:pos x="T4" y="T5"/>
                    </a:cxn>
                    <a:cxn ang="0">
                      <a:pos x="T6" y="T7"/>
                    </a:cxn>
                    <a:cxn ang="0">
                      <a:pos x="T8" y="T9"/>
                    </a:cxn>
                    <a:cxn ang="0">
                      <a:pos x="T10" y="T11"/>
                    </a:cxn>
                  </a:cxnLst>
                  <a:rect l="0" t="0" r="r" b="b"/>
                  <a:pathLst>
                    <a:path w="22" h="35">
                      <a:moveTo>
                        <a:pt x="6" y="0"/>
                      </a:moveTo>
                      <a:cubicBezTo>
                        <a:pt x="6" y="0"/>
                        <a:pt x="1" y="12"/>
                        <a:pt x="0" y="20"/>
                      </a:cubicBezTo>
                      <a:cubicBezTo>
                        <a:pt x="0" y="22"/>
                        <a:pt x="0" y="24"/>
                        <a:pt x="0" y="26"/>
                      </a:cubicBezTo>
                      <a:cubicBezTo>
                        <a:pt x="1" y="31"/>
                        <a:pt x="3" y="35"/>
                        <a:pt x="8" y="35"/>
                      </a:cubicBezTo>
                      <a:cubicBezTo>
                        <a:pt x="15" y="35"/>
                        <a:pt x="22" y="27"/>
                        <a:pt x="22" y="27"/>
                      </a:cubicBezTo>
                      <a:cubicBezTo>
                        <a:pt x="22" y="27"/>
                        <a:pt x="12" y="5"/>
                        <a:pt x="6" y="0"/>
                      </a:cubicBezTo>
                      <a:close/>
                    </a:path>
                  </a:pathLst>
                </a:custGeom>
                <a:solidFill>
                  <a:srgbClr val="5653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87" name="Freeform 106">
                  <a:extLst>
                    <a:ext uri="{FF2B5EF4-FFF2-40B4-BE49-F238E27FC236}">
                      <a16:creationId xmlns:a16="http://schemas.microsoft.com/office/drawing/2014/main" id="{ABCD4EB7-D656-6CE5-7272-B615F78600F8}"/>
                    </a:ext>
                  </a:extLst>
                </p:cNvPr>
                <p:cNvSpPr/>
                <p:nvPr/>
              </p:nvSpPr>
              <p:spPr bwMode="auto">
                <a:xfrm>
                  <a:off x="1684" y="1885"/>
                  <a:ext cx="48" cy="57"/>
                </a:xfrm>
                <a:custGeom>
                  <a:gdLst>
                    <a:gd name="T0" fmla="*/ 26 w 26"/>
                    <a:gd name="T1" fmla="*/ 0 h 31"/>
                    <a:gd name="T2" fmla="*/ 20 w 26"/>
                    <a:gd name="T3" fmla="*/ 26 h 31"/>
                    <a:gd name="T4" fmla="*/ 4 w 26"/>
                    <a:gd name="T5" fmla="*/ 31 h 31"/>
                    <a:gd name="T6" fmla="*/ 0 w 26"/>
                    <a:gd name="T7" fmla="*/ 4 h 31"/>
                    <a:gd name="T8" fmla="*/ 26 w 26"/>
                    <a:gd name="T9" fmla="*/ 0 h 31"/>
                  </a:gdLst>
                  <a:cxnLst>
                    <a:cxn ang="0">
                      <a:pos x="T0" y="T1"/>
                    </a:cxn>
                    <a:cxn ang="0">
                      <a:pos x="T2" y="T3"/>
                    </a:cxn>
                    <a:cxn ang="0">
                      <a:pos x="T4" y="T5"/>
                    </a:cxn>
                    <a:cxn ang="0">
                      <a:pos x="T6" y="T7"/>
                    </a:cxn>
                    <a:cxn ang="0">
                      <a:pos x="T8" y="T9"/>
                    </a:cxn>
                  </a:cxnLst>
                  <a:rect l="0" t="0" r="r" b="b"/>
                  <a:pathLst>
                    <a:path w="26" h="31">
                      <a:moveTo>
                        <a:pt x="26" y="0"/>
                      </a:moveTo>
                      <a:cubicBezTo>
                        <a:pt x="26" y="0"/>
                        <a:pt x="23" y="22"/>
                        <a:pt x="20" y="26"/>
                      </a:cubicBezTo>
                      <a:cubicBezTo>
                        <a:pt x="17" y="31"/>
                        <a:pt x="7" y="31"/>
                        <a:pt x="4" y="31"/>
                      </a:cubicBezTo>
                      <a:cubicBezTo>
                        <a:pt x="0" y="30"/>
                        <a:pt x="0" y="4"/>
                        <a:pt x="0" y="4"/>
                      </a:cubicBezTo>
                      <a:lnTo>
                        <a:pt x="26" y="0"/>
                      </a:lnTo>
                      <a:close/>
                    </a:path>
                  </a:pathLst>
                </a:custGeom>
                <a:solidFill>
                  <a:srgbClr val="8C2A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88" name="Freeform 107">
                  <a:extLst>
                    <a:ext uri="{FF2B5EF4-FFF2-40B4-BE49-F238E27FC236}">
                      <a16:creationId xmlns:a16="http://schemas.microsoft.com/office/drawing/2014/main" id="{25F1E19E-ED4C-96AA-A8A1-A8B9B9B2A082}"/>
                    </a:ext>
                  </a:extLst>
                </p:cNvPr>
                <p:cNvSpPr/>
                <p:nvPr/>
              </p:nvSpPr>
              <p:spPr bwMode="auto">
                <a:xfrm>
                  <a:off x="1681" y="1924"/>
                  <a:ext cx="45" cy="56"/>
                </a:xfrm>
                <a:custGeom>
                  <a:gdLst>
                    <a:gd name="T0" fmla="*/ 24 w 25"/>
                    <a:gd name="T1" fmla="*/ 0 h 31"/>
                    <a:gd name="T2" fmla="*/ 20 w 25"/>
                    <a:gd name="T3" fmla="*/ 23 h 31"/>
                    <a:gd name="T4" fmla="*/ 11 w 25"/>
                    <a:gd name="T5" fmla="*/ 28 h 31"/>
                    <a:gd name="T6" fmla="*/ 2 w 25"/>
                    <a:gd name="T7" fmla="*/ 10 h 31"/>
                    <a:gd name="T8" fmla="*/ 24 w 25"/>
                    <a:gd name="T9" fmla="*/ 0 h 31"/>
                  </a:gdLst>
                  <a:cxnLst>
                    <a:cxn ang="0">
                      <a:pos x="T0" y="T1"/>
                    </a:cxn>
                    <a:cxn ang="0">
                      <a:pos x="T2" y="T3"/>
                    </a:cxn>
                    <a:cxn ang="0">
                      <a:pos x="T4" y="T5"/>
                    </a:cxn>
                    <a:cxn ang="0">
                      <a:pos x="T6" y="T7"/>
                    </a:cxn>
                    <a:cxn ang="0">
                      <a:pos x="T8" y="T9"/>
                    </a:cxn>
                  </a:cxnLst>
                  <a:rect l="0" t="0" r="r" b="b"/>
                  <a:pathLst>
                    <a:path w="25" h="31">
                      <a:moveTo>
                        <a:pt x="24" y="0"/>
                      </a:moveTo>
                      <a:cubicBezTo>
                        <a:pt x="24" y="0"/>
                        <a:pt x="25" y="18"/>
                        <a:pt x="20" y="23"/>
                      </a:cubicBezTo>
                      <a:cubicBezTo>
                        <a:pt x="16" y="29"/>
                        <a:pt x="15" y="31"/>
                        <a:pt x="11" y="28"/>
                      </a:cubicBezTo>
                      <a:cubicBezTo>
                        <a:pt x="7" y="25"/>
                        <a:pt x="3" y="19"/>
                        <a:pt x="2" y="10"/>
                      </a:cubicBezTo>
                      <a:cubicBezTo>
                        <a:pt x="0" y="1"/>
                        <a:pt x="24" y="0"/>
                        <a:pt x="24" y="0"/>
                      </a:cubicBezTo>
                      <a:close/>
                    </a:path>
                  </a:pathLst>
                </a:custGeom>
                <a:solidFill>
                  <a:srgbClr val="F7C3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89" name="Freeform 108">
                  <a:extLst>
                    <a:ext uri="{FF2B5EF4-FFF2-40B4-BE49-F238E27FC236}">
                      <a16:creationId xmlns:a16="http://schemas.microsoft.com/office/drawing/2014/main" id="{DA88FC8C-786F-4CC2-5C1E-3FE550274880}"/>
                    </a:ext>
                  </a:extLst>
                </p:cNvPr>
                <p:cNvSpPr/>
                <p:nvPr/>
              </p:nvSpPr>
              <p:spPr bwMode="auto">
                <a:xfrm>
                  <a:off x="1675" y="1878"/>
                  <a:ext cx="22" cy="73"/>
                </a:xfrm>
                <a:custGeom>
                  <a:gdLst>
                    <a:gd name="T0" fmla="*/ 10 w 12"/>
                    <a:gd name="T1" fmla="*/ 6 h 40"/>
                    <a:gd name="T2" fmla="*/ 10 w 12"/>
                    <a:gd name="T3" fmla="*/ 34 h 40"/>
                    <a:gd name="T4" fmla="*/ 6 w 12"/>
                    <a:gd name="T5" fmla="*/ 38 h 40"/>
                    <a:gd name="T6" fmla="*/ 1 w 12"/>
                    <a:gd name="T7" fmla="*/ 5 h 40"/>
                    <a:gd name="T8" fmla="*/ 10 w 12"/>
                    <a:gd name="T9" fmla="*/ 6 h 40"/>
                  </a:gdLst>
                  <a:cxnLst>
                    <a:cxn ang="0">
                      <a:pos x="T0" y="T1"/>
                    </a:cxn>
                    <a:cxn ang="0">
                      <a:pos x="T2" y="T3"/>
                    </a:cxn>
                    <a:cxn ang="0">
                      <a:pos x="T4" y="T5"/>
                    </a:cxn>
                    <a:cxn ang="0">
                      <a:pos x="T6" y="T7"/>
                    </a:cxn>
                    <a:cxn ang="0">
                      <a:pos x="T8" y="T9"/>
                    </a:cxn>
                  </a:cxnLst>
                  <a:rect l="0" t="0" r="r" b="b"/>
                  <a:pathLst>
                    <a:path w="12" h="40">
                      <a:moveTo>
                        <a:pt x="10" y="6"/>
                      </a:moveTo>
                      <a:cubicBezTo>
                        <a:pt x="10" y="6"/>
                        <a:pt x="12" y="28"/>
                        <a:pt x="10" y="34"/>
                      </a:cubicBezTo>
                      <a:cubicBezTo>
                        <a:pt x="9" y="40"/>
                        <a:pt x="8" y="40"/>
                        <a:pt x="6" y="38"/>
                      </a:cubicBezTo>
                      <a:cubicBezTo>
                        <a:pt x="4" y="36"/>
                        <a:pt x="0" y="9"/>
                        <a:pt x="1" y="5"/>
                      </a:cubicBezTo>
                      <a:cubicBezTo>
                        <a:pt x="2" y="0"/>
                        <a:pt x="10" y="6"/>
                        <a:pt x="10" y="6"/>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90" name="Freeform 109">
                  <a:extLst>
                    <a:ext uri="{FF2B5EF4-FFF2-40B4-BE49-F238E27FC236}">
                      <a16:creationId xmlns:a16="http://schemas.microsoft.com/office/drawing/2014/main" id="{0844D161-BAFB-DACD-5D28-1D7E9BDF1722}"/>
                    </a:ext>
                  </a:extLst>
                </p:cNvPr>
                <p:cNvSpPr/>
                <p:nvPr/>
              </p:nvSpPr>
              <p:spPr bwMode="auto">
                <a:xfrm>
                  <a:off x="1683" y="1790"/>
                  <a:ext cx="14" cy="19"/>
                </a:xfrm>
                <a:custGeom>
                  <a:gdLst>
                    <a:gd name="T0" fmla="*/ 6 w 8"/>
                    <a:gd name="T1" fmla="*/ 6 h 10"/>
                    <a:gd name="T2" fmla="*/ 1 w 8"/>
                    <a:gd name="T3" fmla="*/ 10 h 10"/>
                    <a:gd name="T4" fmla="*/ 2 w 8"/>
                    <a:gd name="T5" fmla="*/ 4 h 10"/>
                    <a:gd name="T6" fmla="*/ 7 w 8"/>
                    <a:gd name="T7" fmla="*/ 0 h 10"/>
                    <a:gd name="T8" fmla="*/ 6 w 8"/>
                    <a:gd name="T9" fmla="*/ 6 h 10"/>
                  </a:gdLst>
                  <a:cxnLst>
                    <a:cxn ang="0">
                      <a:pos x="T0" y="T1"/>
                    </a:cxn>
                    <a:cxn ang="0">
                      <a:pos x="T2" y="T3"/>
                    </a:cxn>
                    <a:cxn ang="0">
                      <a:pos x="T4" y="T5"/>
                    </a:cxn>
                    <a:cxn ang="0">
                      <a:pos x="T6" y="T7"/>
                    </a:cxn>
                    <a:cxn ang="0">
                      <a:pos x="T8" y="T9"/>
                    </a:cxn>
                  </a:cxnLst>
                  <a:rect l="0" t="0" r="r" b="b"/>
                  <a:pathLst>
                    <a:path w="8" h="10">
                      <a:moveTo>
                        <a:pt x="6" y="6"/>
                      </a:moveTo>
                      <a:cubicBezTo>
                        <a:pt x="5" y="9"/>
                        <a:pt x="3" y="10"/>
                        <a:pt x="1" y="10"/>
                      </a:cubicBezTo>
                      <a:cubicBezTo>
                        <a:pt x="0" y="9"/>
                        <a:pt x="1" y="6"/>
                        <a:pt x="2" y="4"/>
                      </a:cubicBezTo>
                      <a:cubicBezTo>
                        <a:pt x="4" y="1"/>
                        <a:pt x="6" y="0"/>
                        <a:pt x="7" y="0"/>
                      </a:cubicBezTo>
                      <a:cubicBezTo>
                        <a:pt x="8" y="1"/>
                        <a:pt x="8" y="4"/>
                        <a:pt x="6"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91" name="Freeform 110">
                  <a:extLst>
                    <a:ext uri="{FF2B5EF4-FFF2-40B4-BE49-F238E27FC236}">
                      <a16:creationId xmlns:a16="http://schemas.microsoft.com/office/drawing/2014/main" id="{2AC12B7A-E7CA-8909-8DF8-8CCCA3B36BA0}"/>
                    </a:ext>
                  </a:extLst>
                </p:cNvPr>
                <p:cNvSpPr/>
                <p:nvPr/>
              </p:nvSpPr>
              <p:spPr bwMode="auto">
                <a:xfrm>
                  <a:off x="1715" y="1801"/>
                  <a:ext cx="19" cy="13"/>
                </a:xfrm>
                <a:custGeom>
                  <a:gdLst>
                    <a:gd name="T0" fmla="*/ 6 w 10"/>
                    <a:gd name="T1" fmla="*/ 2 h 7"/>
                    <a:gd name="T2" fmla="*/ 10 w 10"/>
                    <a:gd name="T3" fmla="*/ 6 h 7"/>
                    <a:gd name="T4" fmla="*/ 4 w 10"/>
                    <a:gd name="T5" fmla="*/ 5 h 7"/>
                    <a:gd name="T6" fmla="*/ 0 w 10"/>
                    <a:gd name="T7" fmla="*/ 1 h 7"/>
                    <a:gd name="T8" fmla="*/ 6 w 10"/>
                    <a:gd name="T9" fmla="*/ 2 h 7"/>
                  </a:gdLst>
                  <a:cxnLst>
                    <a:cxn ang="0">
                      <a:pos x="T0" y="T1"/>
                    </a:cxn>
                    <a:cxn ang="0">
                      <a:pos x="T2" y="T3"/>
                    </a:cxn>
                    <a:cxn ang="0">
                      <a:pos x="T4" y="T5"/>
                    </a:cxn>
                    <a:cxn ang="0">
                      <a:pos x="T6" y="T7"/>
                    </a:cxn>
                    <a:cxn ang="0">
                      <a:pos x="T8" y="T9"/>
                    </a:cxn>
                  </a:cxnLst>
                  <a:rect l="0" t="0" r="r" b="b"/>
                  <a:pathLst>
                    <a:path w="10" h="7">
                      <a:moveTo>
                        <a:pt x="6" y="2"/>
                      </a:moveTo>
                      <a:cubicBezTo>
                        <a:pt x="9" y="3"/>
                        <a:pt x="10" y="5"/>
                        <a:pt x="10" y="6"/>
                      </a:cubicBezTo>
                      <a:cubicBezTo>
                        <a:pt x="9" y="7"/>
                        <a:pt x="7" y="7"/>
                        <a:pt x="4" y="5"/>
                      </a:cubicBezTo>
                      <a:cubicBezTo>
                        <a:pt x="1" y="4"/>
                        <a:pt x="0" y="2"/>
                        <a:pt x="0" y="1"/>
                      </a:cubicBezTo>
                      <a:cubicBezTo>
                        <a:pt x="1" y="0"/>
                        <a:pt x="4" y="0"/>
                        <a:pt x="6" y="2"/>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92" name="Freeform 111">
                  <a:extLst>
                    <a:ext uri="{FF2B5EF4-FFF2-40B4-BE49-F238E27FC236}">
                      <a16:creationId xmlns:a16="http://schemas.microsoft.com/office/drawing/2014/main" id="{4CE8B48F-9373-08A6-5571-AE496999862B}"/>
                    </a:ext>
                  </a:extLst>
                </p:cNvPr>
                <p:cNvSpPr/>
                <p:nvPr/>
              </p:nvSpPr>
              <p:spPr bwMode="auto">
                <a:xfrm>
                  <a:off x="1686" y="1986"/>
                  <a:ext cx="20" cy="11"/>
                </a:xfrm>
                <a:custGeom>
                  <a:gdLst>
                    <a:gd name="T0" fmla="*/ 5 w 11"/>
                    <a:gd name="T1" fmla="*/ 5 h 6"/>
                    <a:gd name="T2" fmla="*/ 1 w 11"/>
                    <a:gd name="T3" fmla="*/ 1 h 6"/>
                    <a:gd name="T4" fmla="*/ 6 w 11"/>
                    <a:gd name="T5" fmla="*/ 1 h 6"/>
                    <a:gd name="T6" fmla="*/ 11 w 11"/>
                    <a:gd name="T7" fmla="*/ 5 h 6"/>
                    <a:gd name="T8" fmla="*/ 5 w 11"/>
                    <a:gd name="T9" fmla="*/ 5 h 6"/>
                  </a:gdLst>
                  <a:cxnLst>
                    <a:cxn ang="0">
                      <a:pos x="T0" y="T1"/>
                    </a:cxn>
                    <a:cxn ang="0">
                      <a:pos x="T2" y="T3"/>
                    </a:cxn>
                    <a:cxn ang="0">
                      <a:pos x="T4" y="T5"/>
                    </a:cxn>
                    <a:cxn ang="0">
                      <a:pos x="T6" y="T7"/>
                    </a:cxn>
                    <a:cxn ang="0">
                      <a:pos x="T8" y="T9"/>
                    </a:cxn>
                  </a:cxnLst>
                  <a:rect l="0" t="0" r="r" b="b"/>
                  <a:pathLst>
                    <a:path w="11" h="6">
                      <a:moveTo>
                        <a:pt x="5" y="5"/>
                      </a:moveTo>
                      <a:cubicBezTo>
                        <a:pt x="2" y="4"/>
                        <a:pt x="0" y="3"/>
                        <a:pt x="1" y="1"/>
                      </a:cubicBezTo>
                      <a:cubicBezTo>
                        <a:pt x="1" y="0"/>
                        <a:pt x="4" y="0"/>
                        <a:pt x="6" y="1"/>
                      </a:cubicBezTo>
                      <a:cubicBezTo>
                        <a:pt x="9" y="2"/>
                        <a:pt x="11" y="4"/>
                        <a:pt x="11" y="5"/>
                      </a:cubicBezTo>
                      <a:cubicBezTo>
                        <a:pt x="10" y="6"/>
                        <a:pt x="8" y="6"/>
                        <a:pt x="5" y="5"/>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93" name="Freeform 112">
                  <a:extLst>
                    <a:ext uri="{FF2B5EF4-FFF2-40B4-BE49-F238E27FC236}">
                      <a16:creationId xmlns:a16="http://schemas.microsoft.com/office/drawing/2014/main" id="{F855F1DA-06B5-FB22-04BC-41D5627D031E}"/>
                    </a:ext>
                  </a:extLst>
                </p:cNvPr>
                <p:cNvSpPr/>
                <p:nvPr/>
              </p:nvSpPr>
              <p:spPr bwMode="auto">
                <a:xfrm>
                  <a:off x="1699" y="1778"/>
                  <a:ext cx="20" cy="12"/>
                </a:xfrm>
                <a:custGeom>
                  <a:gdLst>
                    <a:gd name="T0" fmla="*/ 6 w 11"/>
                    <a:gd name="T1" fmla="*/ 1 h 7"/>
                    <a:gd name="T2" fmla="*/ 11 w 11"/>
                    <a:gd name="T3" fmla="*/ 5 h 7"/>
                    <a:gd name="T4" fmla="*/ 5 w 11"/>
                    <a:gd name="T5" fmla="*/ 6 h 7"/>
                    <a:gd name="T6" fmla="*/ 0 w 11"/>
                    <a:gd name="T7" fmla="*/ 2 h 7"/>
                    <a:gd name="T8" fmla="*/ 6 w 11"/>
                    <a:gd name="T9" fmla="*/ 1 h 7"/>
                  </a:gdLst>
                  <a:cxnLst>
                    <a:cxn ang="0">
                      <a:pos x="T0" y="T1"/>
                    </a:cxn>
                    <a:cxn ang="0">
                      <a:pos x="T2" y="T3"/>
                    </a:cxn>
                    <a:cxn ang="0">
                      <a:pos x="T4" y="T5"/>
                    </a:cxn>
                    <a:cxn ang="0">
                      <a:pos x="T6" y="T7"/>
                    </a:cxn>
                    <a:cxn ang="0">
                      <a:pos x="T8" y="T9"/>
                    </a:cxn>
                  </a:cxnLst>
                  <a:rect l="0" t="0" r="r" b="b"/>
                  <a:pathLst>
                    <a:path w="11" h="7">
                      <a:moveTo>
                        <a:pt x="6" y="1"/>
                      </a:moveTo>
                      <a:cubicBezTo>
                        <a:pt x="9" y="2"/>
                        <a:pt x="11" y="4"/>
                        <a:pt x="11" y="5"/>
                      </a:cubicBezTo>
                      <a:cubicBezTo>
                        <a:pt x="10" y="6"/>
                        <a:pt x="8" y="7"/>
                        <a:pt x="5" y="6"/>
                      </a:cubicBezTo>
                      <a:cubicBezTo>
                        <a:pt x="2" y="5"/>
                        <a:pt x="0" y="3"/>
                        <a:pt x="0" y="2"/>
                      </a:cubicBezTo>
                      <a:cubicBezTo>
                        <a:pt x="1" y="1"/>
                        <a:pt x="3" y="0"/>
                        <a:pt x="6" y="1"/>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94" name="Freeform 113">
                  <a:extLst>
                    <a:ext uri="{FF2B5EF4-FFF2-40B4-BE49-F238E27FC236}">
                      <a16:creationId xmlns:a16="http://schemas.microsoft.com/office/drawing/2014/main" id="{32D3EC90-6CEF-142A-A407-0E3D05484B0E}"/>
                    </a:ext>
                  </a:extLst>
                </p:cNvPr>
                <p:cNvSpPr/>
                <p:nvPr/>
              </p:nvSpPr>
              <p:spPr bwMode="auto">
                <a:xfrm>
                  <a:off x="1712" y="1977"/>
                  <a:ext cx="16" cy="18"/>
                </a:xfrm>
                <a:custGeom>
                  <a:gdLst>
                    <a:gd name="T0" fmla="*/ 3 w 9"/>
                    <a:gd name="T1" fmla="*/ 4 h 10"/>
                    <a:gd name="T2" fmla="*/ 8 w 9"/>
                    <a:gd name="T3" fmla="*/ 1 h 10"/>
                    <a:gd name="T4" fmla="*/ 6 w 9"/>
                    <a:gd name="T5" fmla="*/ 7 h 10"/>
                    <a:gd name="T6" fmla="*/ 0 w 9"/>
                    <a:gd name="T7" fmla="*/ 9 h 10"/>
                    <a:gd name="T8" fmla="*/ 3 w 9"/>
                    <a:gd name="T9" fmla="*/ 4 h 10"/>
                  </a:gdLst>
                  <a:cxnLst>
                    <a:cxn ang="0">
                      <a:pos x="T0" y="T1"/>
                    </a:cxn>
                    <a:cxn ang="0">
                      <a:pos x="T2" y="T3"/>
                    </a:cxn>
                    <a:cxn ang="0">
                      <a:pos x="T4" y="T5"/>
                    </a:cxn>
                    <a:cxn ang="0">
                      <a:pos x="T6" y="T7"/>
                    </a:cxn>
                    <a:cxn ang="0">
                      <a:pos x="T8" y="T9"/>
                    </a:cxn>
                  </a:cxnLst>
                  <a:rect l="0" t="0" r="r" b="b"/>
                  <a:pathLst>
                    <a:path w="9" h="10">
                      <a:moveTo>
                        <a:pt x="3" y="4"/>
                      </a:moveTo>
                      <a:cubicBezTo>
                        <a:pt x="5" y="1"/>
                        <a:pt x="7" y="0"/>
                        <a:pt x="8" y="1"/>
                      </a:cubicBezTo>
                      <a:cubicBezTo>
                        <a:pt x="9" y="2"/>
                        <a:pt x="8" y="5"/>
                        <a:pt x="6" y="7"/>
                      </a:cubicBezTo>
                      <a:cubicBezTo>
                        <a:pt x="4" y="9"/>
                        <a:pt x="1" y="10"/>
                        <a:pt x="0" y="9"/>
                      </a:cubicBezTo>
                      <a:cubicBezTo>
                        <a:pt x="0" y="8"/>
                        <a:pt x="1" y="6"/>
                        <a:pt x="3" y="4"/>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95" name="Freeform 114">
                  <a:extLst>
                    <a:ext uri="{FF2B5EF4-FFF2-40B4-BE49-F238E27FC236}">
                      <a16:creationId xmlns:a16="http://schemas.microsoft.com/office/drawing/2014/main" id="{9B57A252-8AA0-5EAC-909B-CA1733BFF12C}"/>
                    </a:ext>
                  </a:extLst>
                </p:cNvPr>
                <p:cNvSpPr/>
                <p:nvPr/>
              </p:nvSpPr>
              <p:spPr bwMode="auto">
                <a:xfrm>
                  <a:off x="1726" y="1947"/>
                  <a:ext cx="9" cy="20"/>
                </a:xfrm>
                <a:custGeom>
                  <a:gdLst>
                    <a:gd name="T0" fmla="*/ 0 w 5"/>
                    <a:gd name="T1" fmla="*/ 6 h 11"/>
                    <a:gd name="T2" fmla="*/ 1 w 5"/>
                    <a:gd name="T3" fmla="*/ 0 h 11"/>
                    <a:gd name="T4" fmla="*/ 4 w 5"/>
                    <a:gd name="T5" fmla="*/ 5 h 11"/>
                    <a:gd name="T6" fmla="*/ 3 w 5"/>
                    <a:gd name="T7" fmla="*/ 11 h 11"/>
                    <a:gd name="T8" fmla="*/ 0 w 5"/>
                    <a:gd name="T9" fmla="*/ 6 h 11"/>
                  </a:gdLst>
                  <a:cxnLst>
                    <a:cxn ang="0">
                      <a:pos x="T0" y="T1"/>
                    </a:cxn>
                    <a:cxn ang="0">
                      <a:pos x="T2" y="T3"/>
                    </a:cxn>
                    <a:cxn ang="0">
                      <a:pos x="T4" y="T5"/>
                    </a:cxn>
                    <a:cxn ang="0">
                      <a:pos x="T6" y="T7"/>
                    </a:cxn>
                    <a:cxn ang="0">
                      <a:pos x="T8" y="T9"/>
                    </a:cxn>
                  </a:cxnLst>
                  <a:rect l="0" t="0" r="r" b="b"/>
                  <a:pathLst>
                    <a:path w="5" h="11">
                      <a:moveTo>
                        <a:pt x="0" y="6"/>
                      </a:moveTo>
                      <a:cubicBezTo>
                        <a:pt x="0" y="3"/>
                        <a:pt x="0" y="0"/>
                        <a:pt x="1" y="0"/>
                      </a:cubicBezTo>
                      <a:cubicBezTo>
                        <a:pt x="3" y="0"/>
                        <a:pt x="4" y="2"/>
                        <a:pt x="4" y="5"/>
                      </a:cubicBezTo>
                      <a:cubicBezTo>
                        <a:pt x="5" y="8"/>
                        <a:pt x="4" y="11"/>
                        <a:pt x="3" y="11"/>
                      </a:cubicBezTo>
                      <a:cubicBezTo>
                        <a:pt x="2" y="11"/>
                        <a:pt x="0" y="9"/>
                        <a:pt x="0"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96" name="Freeform 115">
                  <a:extLst>
                    <a:ext uri="{FF2B5EF4-FFF2-40B4-BE49-F238E27FC236}">
                      <a16:creationId xmlns:a16="http://schemas.microsoft.com/office/drawing/2014/main" id="{F20B48C1-47B0-106C-532F-3A6C995D590F}"/>
                    </a:ext>
                  </a:extLst>
                </p:cNvPr>
                <p:cNvSpPr/>
                <p:nvPr/>
              </p:nvSpPr>
              <p:spPr bwMode="auto">
                <a:xfrm>
                  <a:off x="1670" y="1821"/>
                  <a:ext cx="20" cy="11"/>
                </a:xfrm>
                <a:custGeom>
                  <a:gdLst>
                    <a:gd name="T0" fmla="*/ 6 w 11"/>
                    <a:gd name="T1" fmla="*/ 1 h 6"/>
                    <a:gd name="T2" fmla="*/ 11 w 11"/>
                    <a:gd name="T3" fmla="*/ 5 h 6"/>
                    <a:gd name="T4" fmla="*/ 5 w 11"/>
                    <a:gd name="T5" fmla="*/ 5 h 6"/>
                    <a:gd name="T6" fmla="*/ 0 w 11"/>
                    <a:gd name="T7" fmla="*/ 1 h 6"/>
                    <a:gd name="T8" fmla="*/ 6 w 11"/>
                    <a:gd name="T9" fmla="*/ 1 h 6"/>
                  </a:gdLst>
                  <a:cxnLst>
                    <a:cxn ang="0">
                      <a:pos x="T0" y="T1"/>
                    </a:cxn>
                    <a:cxn ang="0">
                      <a:pos x="T2" y="T3"/>
                    </a:cxn>
                    <a:cxn ang="0">
                      <a:pos x="T4" y="T5"/>
                    </a:cxn>
                    <a:cxn ang="0">
                      <a:pos x="T6" y="T7"/>
                    </a:cxn>
                    <a:cxn ang="0">
                      <a:pos x="T8" y="T9"/>
                    </a:cxn>
                  </a:cxnLst>
                  <a:rect l="0" t="0" r="r" b="b"/>
                  <a:pathLst>
                    <a:path w="11" h="6">
                      <a:moveTo>
                        <a:pt x="6" y="1"/>
                      </a:moveTo>
                      <a:cubicBezTo>
                        <a:pt x="9" y="2"/>
                        <a:pt x="11" y="4"/>
                        <a:pt x="11" y="5"/>
                      </a:cubicBezTo>
                      <a:cubicBezTo>
                        <a:pt x="10" y="6"/>
                        <a:pt x="8" y="6"/>
                        <a:pt x="5" y="5"/>
                      </a:cubicBezTo>
                      <a:cubicBezTo>
                        <a:pt x="2" y="4"/>
                        <a:pt x="0" y="2"/>
                        <a:pt x="0" y="1"/>
                      </a:cubicBezTo>
                      <a:cubicBezTo>
                        <a:pt x="1" y="0"/>
                        <a:pt x="3" y="0"/>
                        <a:pt x="6" y="1"/>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97" name="Freeform 116">
                  <a:extLst>
                    <a:ext uri="{FF2B5EF4-FFF2-40B4-BE49-F238E27FC236}">
                      <a16:creationId xmlns:a16="http://schemas.microsoft.com/office/drawing/2014/main" id="{312A3EA7-0339-694F-812E-1BDCBEC90A04}"/>
                    </a:ext>
                  </a:extLst>
                </p:cNvPr>
                <p:cNvSpPr/>
                <p:nvPr/>
              </p:nvSpPr>
              <p:spPr bwMode="auto">
                <a:xfrm>
                  <a:off x="1666" y="1845"/>
                  <a:ext cx="9" cy="20"/>
                </a:xfrm>
                <a:custGeom>
                  <a:gdLst>
                    <a:gd name="T0" fmla="*/ 4 w 5"/>
                    <a:gd name="T1" fmla="*/ 6 h 11"/>
                    <a:gd name="T2" fmla="*/ 2 w 5"/>
                    <a:gd name="T3" fmla="*/ 11 h 11"/>
                    <a:gd name="T4" fmla="*/ 0 w 5"/>
                    <a:gd name="T5" fmla="*/ 5 h 11"/>
                    <a:gd name="T6" fmla="*/ 3 w 5"/>
                    <a:gd name="T7" fmla="*/ 0 h 11"/>
                    <a:gd name="T8" fmla="*/ 4 w 5"/>
                    <a:gd name="T9" fmla="*/ 6 h 11"/>
                  </a:gdLst>
                  <a:cxnLst>
                    <a:cxn ang="0">
                      <a:pos x="T0" y="T1"/>
                    </a:cxn>
                    <a:cxn ang="0">
                      <a:pos x="T2" y="T3"/>
                    </a:cxn>
                    <a:cxn ang="0">
                      <a:pos x="T4" y="T5"/>
                    </a:cxn>
                    <a:cxn ang="0">
                      <a:pos x="T6" y="T7"/>
                    </a:cxn>
                    <a:cxn ang="0">
                      <a:pos x="T8" y="T9"/>
                    </a:cxn>
                  </a:cxnLst>
                  <a:rect l="0" t="0" r="r" b="b"/>
                  <a:pathLst>
                    <a:path w="5" h="11">
                      <a:moveTo>
                        <a:pt x="4" y="6"/>
                      </a:moveTo>
                      <a:cubicBezTo>
                        <a:pt x="4" y="9"/>
                        <a:pt x="3" y="11"/>
                        <a:pt x="2" y="11"/>
                      </a:cubicBezTo>
                      <a:cubicBezTo>
                        <a:pt x="0" y="11"/>
                        <a:pt x="0" y="8"/>
                        <a:pt x="0" y="5"/>
                      </a:cubicBezTo>
                      <a:cubicBezTo>
                        <a:pt x="0" y="2"/>
                        <a:pt x="2" y="0"/>
                        <a:pt x="3" y="0"/>
                      </a:cubicBezTo>
                      <a:cubicBezTo>
                        <a:pt x="4" y="0"/>
                        <a:pt x="5" y="3"/>
                        <a:pt x="4"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98" name="Freeform 117">
                  <a:extLst>
                    <a:ext uri="{FF2B5EF4-FFF2-40B4-BE49-F238E27FC236}">
                      <a16:creationId xmlns:a16="http://schemas.microsoft.com/office/drawing/2014/main" id="{29AF3CEF-B57F-564B-E9FC-427B0114AD8A}"/>
                    </a:ext>
                  </a:extLst>
                </p:cNvPr>
                <p:cNvSpPr/>
                <p:nvPr/>
              </p:nvSpPr>
              <p:spPr bwMode="auto">
                <a:xfrm>
                  <a:off x="1735" y="1876"/>
                  <a:ext cx="10" cy="20"/>
                </a:xfrm>
                <a:custGeom>
                  <a:gdLst>
                    <a:gd name="T0" fmla="*/ 5 w 5"/>
                    <a:gd name="T1" fmla="*/ 6 h 11"/>
                    <a:gd name="T2" fmla="*/ 2 w 5"/>
                    <a:gd name="T3" fmla="*/ 11 h 11"/>
                    <a:gd name="T4" fmla="*/ 1 w 5"/>
                    <a:gd name="T5" fmla="*/ 5 h 11"/>
                    <a:gd name="T6" fmla="*/ 4 w 5"/>
                    <a:gd name="T7" fmla="*/ 0 h 11"/>
                    <a:gd name="T8" fmla="*/ 5 w 5"/>
                    <a:gd name="T9" fmla="*/ 6 h 11"/>
                  </a:gdLst>
                  <a:cxnLst>
                    <a:cxn ang="0">
                      <a:pos x="T0" y="T1"/>
                    </a:cxn>
                    <a:cxn ang="0">
                      <a:pos x="T2" y="T3"/>
                    </a:cxn>
                    <a:cxn ang="0">
                      <a:pos x="T4" y="T5"/>
                    </a:cxn>
                    <a:cxn ang="0">
                      <a:pos x="T6" y="T7"/>
                    </a:cxn>
                    <a:cxn ang="0">
                      <a:pos x="T8" y="T9"/>
                    </a:cxn>
                  </a:cxnLst>
                  <a:rect l="0" t="0" r="r" b="b"/>
                  <a:pathLst>
                    <a:path w="5" h="11">
                      <a:moveTo>
                        <a:pt x="5" y="6"/>
                      </a:moveTo>
                      <a:cubicBezTo>
                        <a:pt x="5" y="9"/>
                        <a:pt x="3" y="11"/>
                        <a:pt x="2" y="11"/>
                      </a:cubicBezTo>
                      <a:cubicBezTo>
                        <a:pt x="1" y="11"/>
                        <a:pt x="0" y="8"/>
                        <a:pt x="1" y="5"/>
                      </a:cubicBezTo>
                      <a:cubicBezTo>
                        <a:pt x="1" y="2"/>
                        <a:pt x="2" y="0"/>
                        <a:pt x="4" y="0"/>
                      </a:cubicBezTo>
                      <a:cubicBezTo>
                        <a:pt x="5" y="0"/>
                        <a:pt x="5" y="3"/>
                        <a:pt x="5"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99" name="Freeform 118">
                  <a:extLst>
                    <a:ext uri="{FF2B5EF4-FFF2-40B4-BE49-F238E27FC236}">
                      <a16:creationId xmlns:a16="http://schemas.microsoft.com/office/drawing/2014/main" id="{041F05BB-DF01-69AB-8B40-27C4731B5E4E}"/>
                    </a:ext>
                  </a:extLst>
                </p:cNvPr>
                <p:cNvSpPr/>
                <p:nvPr/>
              </p:nvSpPr>
              <p:spPr bwMode="auto">
                <a:xfrm>
                  <a:off x="1732" y="1829"/>
                  <a:ext cx="11" cy="20"/>
                </a:xfrm>
                <a:custGeom>
                  <a:gdLst>
                    <a:gd name="T0" fmla="*/ 5 w 6"/>
                    <a:gd name="T1" fmla="*/ 5 h 11"/>
                    <a:gd name="T2" fmla="*/ 5 w 6"/>
                    <a:gd name="T3" fmla="*/ 11 h 11"/>
                    <a:gd name="T4" fmla="*/ 1 w 6"/>
                    <a:gd name="T5" fmla="*/ 6 h 11"/>
                    <a:gd name="T6" fmla="*/ 2 w 6"/>
                    <a:gd name="T7" fmla="*/ 1 h 11"/>
                    <a:gd name="T8" fmla="*/ 5 w 6"/>
                    <a:gd name="T9" fmla="*/ 5 h 11"/>
                  </a:gdLst>
                  <a:cxnLst>
                    <a:cxn ang="0">
                      <a:pos x="T0" y="T1"/>
                    </a:cxn>
                    <a:cxn ang="0">
                      <a:pos x="T2" y="T3"/>
                    </a:cxn>
                    <a:cxn ang="0">
                      <a:pos x="T4" y="T5"/>
                    </a:cxn>
                    <a:cxn ang="0">
                      <a:pos x="T6" y="T7"/>
                    </a:cxn>
                    <a:cxn ang="0">
                      <a:pos x="T8" y="T9"/>
                    </a:cxn>
                  </a:cxnLst>
                  <a:rect l="0" t="0" r="r" b="b"/>
                  <a:pathLst>
                    <a:path w="6" h="11">
                      <a:moveTo>
                        <a:pt x="5" y="5"/>
                      </a:moveTo>
                      <a:cubicBezTo>
                        <a:pt x="6" y="8"/>
                        <a:pt x="6" y="10"/>
                        <a:pt x="5" y="11"/>
                      </a:cubicBezTo>
                      <a:cubicBezTo>
                        <a:pt x="4" y="11"/>
                        <a:pt x="2" y="9"/>
                        <a:pt x="1" y="6"/>
                      </a:cubicBezTo>
                      <a:cubicBezTo>
                        <a:pt x="0" y="4"/>
                        <a:pt x="0" y="1"/>
                        <a:pt x="2" y="1"/>
                      </a:cubicBezTo>
                      <a:cubicBezTo>
                        <a:pt x="3" y="0"/>
                        <a:pt x="4" y="2"/>
                        <a:pt x="5" y="5"/>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00" name="Freeform 119">
                  <a:extLst>
                    <a:ext uri="{FF2B5EF4-FFF2-40B4-BE49-F238E27FC236}">
                      <a16:creationId xmlns:a16="http://schemas.microsoft.com/office/drawing/2014/main" id="{E51CE7B8-CAB8-9E69-84EE-5162BD05BFC5}"/>
                    </a:ext>
                  </a:extLst>
                </p:cNvPr>
                <p:cNvSpPr/>
                <p:nvPr/>
              </p:nvSpPr>
              <p:spPr bwMode="auto">
                <a:xfrm>
                  <a:off x="1666" y="1918"/>
                  <a:ext cx="9" cy="20"/>
                </a:xfrm>
                <a:custGeom>
                  <a:gdLst>
                    <a:gd name="T0" fmla="*/ 5 w 5"/>
                    <a:gd name="T1" fmla="*/ 6 h 11"/>
                    <a:gd name="T2" fmla="*/ 2 w 5"/>
                    <a:gd name="T3" fmla="*/ 11 h 11"/>
                    <a:gd name="T4" fmla="*/ 1 w 5"/>
                    <a:gd name="T5" fmla="*/ 5 h 11"/>
                    <a:gd name="T6" fmla="*/ 3 w 5"/>
                    <a:gd name="T7" fmla="*/ 0 h 11"/>
                    <a:gd name="T8" fmla="*/ 5 w 5"/>
                    <a:gd name="T9" fmla="*/ 6 h 11"/>
                  </a:gdLst>
                  <a:cxnLst>
                    <a:cxn ang="0">
                      <a:pos x="T0" y="T1"/>
                    </a:cxn>
                    <a:cxn ang="0">
                      <a:pos x="T2" y="T3"/>
                    </a:cxn>
                    <a:cxn ang="0">
                      <a:pos x="T4" y="T5"/>
                    </a:cxn>
                    <a:cxn ang="0">
                      <a:pos x="T6" y="T7"/>
                    </a:cxn>
                    <a:cxn ang="0">
                      <a:pos x="T8" y="T9"/>
                    </a:cxn>
                  </a:cxnLst>
                  <a:rect l="0" t="0" r="r" b="b"/>
                  <a:pathLst>
                    <a:path w="5" h="11">
                      <a:moveTo>
                        <a:pt x="5" y="6"/>
                      </a:moveTo>
                      <a:cubicBezTo>
                        <a:pt x="4" y="9"/>
                        <a:pt x="3" y="11"/>
                        <a:pt x="2" y="11"/>
                      </a:cubicBezTo>
                      <a:cubicBezTo>
                        <a:pt x="1" y="11"/>
                        <a:pt x="0" y="8"/>
                        <a:pt x="1" y="5"/>
                      </a:cubicBezTo>
                      <a:cubicBezTo>
                        <a:pt x="1" y="2"/>
                        <a:pt x="2" y="0"/>
                        <a:pt x="3" y="0"/>
                      </a:cubicBezTo>
                      <a:cubicBezTo>
                        <a:pt x="5" y="0"/>
                        <a:pt x="5" y="3"/>
                        <a:pt x="5"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01" name="Freeform 120">
                  <a:extLst>
                    <a:ext uri="{FF2B5EF4-FFF2-40B4-BE49-F238E27FC236}">
                      <a16:creationId xmlns:a16="http://schemas.microsoft.com/office/drawing/2014/main" id="{9B0AA215-2A29-11BD-9198-F26634016B67}"/>
                    </a:ext>
                  </a:extLst>
                </p:cNvPr>
                <p:cNvSpPr/>
                <p:nvPr/>
              </p:nvSpPr>
              <p:spPr bwMode="auto">
                <a:xfrm>
                  <a:off x="1728" y="1918"/>
                  <a:ext cx="18" cy="17"/>
                </a:xfrm>
                <a:custGeom>
                  <a:gdLst>
                    <a:gd name="T0" fmla="*/ 6 w 10"/>
                    <a:gd name="T1" fmla="*/ 6 h 9"/>
                    <a:gd name="T2" fmla="*/ 1 w 10"/>
                    <a:gd name="T3" fmla="*/ 8 h 9"/>
                    <a:gd name="T4" fmla="*/ 4 w 10"/>
                    <a:gd name="T5" fmla="*/ 3 h 9"/>
                    <a:gd name="T6" fmla="*/ 9 w 10"/>
                    <a:gd name="T7" fmla="*/ 1 h 9"/>
                    <a:gd name="T8" fmla="*/ 6 w 10"/>
                    <a:gd name="T9" fmla="*/ 6 h 9"/>
                  </a:gdLst>
                  <a:cxnLst>
                    <a:cxn ang="0">
                      <a:pos x="T0" y="T1"/>
                    </a:cxn>
                    <a:cxn ang="0">
                      <a:pos x="T2" y="T3"/>
                    </a:cxn>
                    <a:cxn ang="0">
                      <a:pos x="T4" y="T5"/>
                    </a:cxn>
                    <a:cxn ang="0">
                      <a:pos x="T6" y="T7"/>
                    </a:cxn>
                    <a:cxn ang="0">
                      <a:pos x="T8" y="T9"/>
                    </a:cxn>
                  </a:cxnLst>
                  <a:rect l="0" t="0" r="r" b="b"/>
                  <a:pathLst>
                    <a:path w="10" h="9">
                      <a:moveTo>
                        <a:pt x="6" y="6"/>
                      </a:moveTo>
                      <a:cubicBezTo>
                        <a:pt x="4" y="8"/>
                        <a:pt x="2" y="9"/>
                        <a:pt x="1" y="8"/>
                      </a:cubicBezTo>
                      <a:cubicBezTo>
                        <a:pt x="0" y="7"/>
                        <a:pt x="1" y="5"/>
                        <a:pt x="4" y="3"/>
                      </a:cubicBezTo>
                      <a:cubicBezTo>
                        <a:pt x="6" y="1"/>
                        <a:pt x="8" y="0"/>
                        <a:pt x="9" y="1"/>
                      </a:cubicBezTo>
                      <a:cubicBezTo>
                        <a:pt x="10" y="2"/>
                        <a:pt x="9" y="4"/>
                        <a:pt x="6"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02" name="Freeform 121">
                  <a:extLst>
                    <a:ext uri="{FF2B5EF4-FFF2-40B4-BE49-F238E27FC236}">
                      <a16:creationId xmlns:a16="http://schemas.microsoft.com/office/drawing/2014/main" id="{D400AEE4-975B-E684-5EC8-81E968ACD258}"/>
                    </a:ext>
                  </a:extLst>
                </p:cNvPr>
                <p:cNvSpPr/>
                <p:nvPr/>
              </p:nvSpPr>
              <p:spPr bwMode="auto">
                <a:xfrm>
                  <a:off x="1663" y="1882"/>
                  <a:ext cx="10" cy="20"/>
                </a:xfrm>
                <a:custGeom>
                  <a:gdLst>
                    <a:gd name="T0" fmla="*/ 5 w 6"/>
                    <a:gd name="T1" fmla="*/ 5 h 11"/>
                    <a:gd name="T2" fmla="*/ 5 w 6"/>
                    <a:gd name="T3" fmla="*/ 11 h 11"/>
                    <a:gd name="T4" fmla="*/ 1 w 6"/>
                    <a:gd name="T5" fmla="*/ 6 h 11"/>
                    <a:gd name="T6" fmla="*/ 1 w 6"/>
                    <a:gd name="T7" fmla="*/ 1 h 11"/>
                    <a:gd name="T8" fmla="*/ 5 w 6"/>
                    <a:gd name="T9" fmla="*/ 5 h 11"/>
                  </a:gdLst>
                  <a:cxnLst>
                    <a:cxn ang="0">
                      <a:pos x="T0" y="T1"/>
                    </a:cxn>
                    <a:cxn ang="0">
                      <a:pos x="T2" y="T3"/>
                    </a:cxn>
                    <a:cxn ang="0">
                      <a:pos x="T4" y="T5"/>
                    </a:cxn>
                    <a:cxn ang="0">
                      <a:pos x="T6" y="T7"/>
                    </a:cxn>
                    <a:cxn ang="0">
                      <a:pos x="T8" y="T9"/>
                    </a:cxn>
                  </a:cxnLst>
                  <a:rect l="0" t="0" r="r" b="b"/>
                  <a:pathLst>
                    <a:path w="6" h="11">
                      <a:moveTo>
                        <a:pt x="5" y="5"/>
                      </a:moveTo>
                      <a:cubicBezTo>
                        <a:pt x="6" y="8"/>
                        <a:pt x="6" y="10"/>
                        <a:pt x="5" y="11"/>
                      </a:cubicBezTo>
                      <a:cubicBezTo>
                        <a:pt x="4" y="11"/>
                        <a:pt x="2" y="9"/>
                        <a:pt x="1" y="6"/>
                      </a:cubicBezTo>
                      <a:cubicBezTo>
                        <a:pt x="0" y="4"/>
                        <a:pt x="0" y="1"/>
                        <a:pt x="1" y="1"/>
                      </a:cubicBezTo>
                      <a:cubicBezTo>
                        <a:pt x="2" y="0"/>
                        <a:pt x="4" y="2"/>
                        <a:pt x="5" y="5"/>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03" name="Freeform 122">
                  <a:extLst>
                    <a:ext uri="{FF2B5EF4-FFF2-40B4-BE49-F238E27FC236}">
                      <a16:creationId xmlns:a16="http://schemas.microsoft.com/office/drawing/2014/main" id="{F177E114-48E8-D57B-306E-3B5476E79120}"/>
                    </a:ext>
                  </a:extLst>
                </p:cNvPr>
                <p:cNvSpPr/>
                <p:nvPr/>
              </p:nvSpPr>
              <p:spPr bwMode="auto">
                <a:xfrm>
                  <a:off x="1672" y="1951"/>
                  <a:ext cx="11" cy="20"/>
                </a:xfrm>
                <a:custGeom>
                  <a:gdLst>
                    <a:gd name="T0" fmla="*/ 5 w 6"/>
                    <a:gd name="T1" fmla="*/ 5 h 11"/>
                    <a:gd name="T2" fmla="*/ 5 w 6"/>
                    <a:gd name="T3" fmla="*/ 11 h 11"/>
                    <a:gd name="T4" fmla="*/ 1 w 6"/>
                    <a:gd name="T5" fmla="*/ 6 h 11"/>
                    <a:gd name="T6" fmla="*/ 1 w 6"/>
                    <a:gd name="T7" fmla="*/ 0 h 11"/>
                    <a:gd name="T8" fmla="*/ 5 w 6"/>
                    <a:gd name="T9" fmla="*/ 5 h 11"/>
                  </a:gdLst>
                  <a:cxnLst>
                    <a:cxn ang="0">
                      <a:pos x="T0" y="T1"/>
                    </a:cxn>
                    <a:cxn ang="0">
                      <a:pos x="T2" y="T3"/>
                    </a:cxn>
                    <a:cxn ang="0">
                      <a:pos x="T4" y="T5"/>
                    </a:cxn>
                    <a:cxn ang="0">
                      <a:pos x="T6" y="T7"/>
                    </a:cxn>
                    <a:cxn ang="0">
                      <a:pos x="T8" y="T9"/>
                    </a:cxn>
                  </a:cxnLst>
                  <a:rect l="0" t="0" r="r" b="b"/>
                  <a:pathLst>
                    <a:path w="6" h="11">
                      <a:moveTo>
                        <a:pt x="5" y="5"/>
                      </a:moveTo>
                      <a:cubicBezTo>
                        <a:pt x="6" y="8"/>
                        <a:pt x="6" y="10"/>
                        <a:pt x="5" y="11"/>
                      </a:cubicBezTo>
                      <a:cubicBezTo>
                        <a:pt x="4" y="11"/>
                        <a:pt x="2" y="9"/>
                        <a:pt x="1" y="6"/>
                      </a:cubicBezTo>
                      <a:cubicBezTo>
                        <a:pt x="0" y="3"/>
                        <a:pt x="0" y="1"/>
                        <a:pt x="1" y="0"/>
                      </a:cubicBezTo>
                      <a:cubicBezTo>
                        <a:pt x="2" y="0"/>
                        <a:pt x="4" y="2"/>
                        <a:pt x="5" y="5"/>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04" name="Freeform 123">
                  <a:extLst>
                    <a:ext uri="{FF2B5EF4-FFF2-40B4-BE49-F238E27FC236}">
                      <a16:creationId xmlns:a16="http://schemas.microsoft.com/office/drawing/2014/main" id="{D4AD6041-E4AC-924A-6AD0-693A32F2C618}"/>
                    </a:ext>
                  </a:extLst>
                </p:cNvPr>
                <p:cNvSpPr/>
                <p:nvPr/>
              </p:nvSpPr>
              <p:spPr bwMode="auto">
                <a:xfrm>
                  <a:off x="1544" y="1770"/>
                  <a:ext cx="133" cy="55"/>
                </a:xfrm>
                <a:custGeom>
                  <a:gdLst>
                    <a:gd name="T0" fmla="*/ 47 w 73"/>
                    <a:gd name="T1" fmla="*/ 0 h 30"/>
                    <a:gd name="T2" fmla="*/ 19 w 73"/>
                    <a:gd name="T3" fmla="*/ 0 h 30"/>
                    <a:gd name="T4" fmla="*/ 4 w 73"/>
                    <a:gd name="T5" fmla="*/ 17 h 30"/>
                    <a:gd name="T6" fmla="*/ 5 w 73"/>
                    <a:gd name="T7" fmla="*/ 30 h 30"/>
                    <a:gd name="T8" fmla="*/ 12 w 73"/>
                    <a:gd name="T9" fmla="*/ 22 h 30"/>
                    <a:gd name="T10" fmla="*/ 38 w 73"/>
                    <a:gd name="T11" fmla="*/ 9 h 30"/>
                    <a:gd name="T12" fmla="*/ 47 w 73"/>
                    <a:gd name="T13" fmla="*/ 9 h 30"/>
                    <a:gd name="T14" fmla="*/ 63 w 73"/>
                    <a:gd name="T15" fmla="*/ 0 h 30"/>
                    <a:gd name="T16" fmla="*/ 47 w 73"/>
                    <a:gd name="T17" fmla="*/ 0 h 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30">
                      <a:moveTo>
                        <a:pt x="47" y="0"/>
                      </a:moveTo>
                      <a:cubicBezTo>
                        <a:pt x="34" y="0"/>
                        <a:pt x="19" y="0"/>
                        <a:pt x="19" y="0"/>
                      </a:cubicBezTo>
                      <a:cubicBezTo>
                        <a:pt x="15" y="1"/>
                        <a:pt x="11" y="6"/>
                        <a:pt x="4" y="17"/>
                      </a:cubicBezTo>
                      <a:cubicBezTo>
                        <a:pt x="0" y="24"/>
                        <a:pt x="2" y="30"/>
                        <a:pt x="5" y="30"/>
                      </a:cubicBezTo>
                      <a:cubicBezTo>
                        <a:pt x="7" y="30"/>
                        <a:pt x="10" y="27"/>
                        <a:pt x="12" y="22"/>
                      </a:cubicBezTo>
                      <a:cubicBezTo>
                        <a:pt x="16" y="10"/>
                        <a:pt x="26" y="9"/>
                        <a:pt x="38" y="9"/>
                      </a:cubicBezTo>
                      <a:cubicBezTo>
                        <a:pt x="41" y="9"/>
                        <a:pt x="44" y="9"/>
                        <a:pt x="47" y="9"/>
                      </a:cubicBezTo>
                      <a:cubicBezTo>
                        <a:pt x="62" y="9"/>
                        <a:pt x="73" y="2"/>
                        <a:pt x="63" y="0"/>
                      </a:cubicBezTo>
                      <a:cubicBezTo>
                        <a:pt x="59" y="0"/>
                        <a:pt x="53" y="0"/>
                        <a:pt x="47" y="0"/>
                      </a:cubicBezTo>
                    </a:path>
                  </a:pathLst>
                </a:custGeom>
                <a:solidFill>
                  <a:srgbClr val="752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05" name="Freeform 124">
                  <a:extLst>
                    <a:ext uri="{FF2B5EF4-FFF2-40B4-BE49-F238E27FC236}">
                      <a16:creationId xmlns:a16="http://schemas.microsoft.com/office/drawing/2014/main" id="{D32AE723-4CE2-2281-79DD-773E83792A33}"/>
                    </a:ext>
                  </a:extLst>
                </p:cNvPr>
                <p:cNvSpPr/>
                <p:nvPr/>
              </p:nvSpPr>
              <p:spPr bwMode="auto">
                <a:xfrm>
                  <a:off x="1741" y="1759"/>
                  <a:ext cx="175" cy="261"/>
                </a:xfrm>
                <a:custGeom>
                  <a:gdLst>
                    <a:gd name="T0" fmla="*/ 28 w 96"/>
                    <a:gd name="T1" fmla="*/ 0 h 143"/>
                    <a:gd name="T2" fmla="*/ 0 w 96"/>
                    <a:gd name="T3" fmla="*/ 72 h 143"/>
                    <a:gd name="T4" fmla="*/ 28 w 96"/>
                    <a:gd name="T5" fmla="*/ 143 h 143"/>
                    <a:gd name="T6" fmla="*/ 96 w 96"/>
                    <a:gd name="T7" fmla="*/ 143 h 143"/>
                    <a:gd name="T8" fmla="*/ 96 w 96"/>
                    <a:gd name="T9" fmla="*/ 0 h 143"/>
                    <a:gd name="T10" fmla="*/ 28 w 96"/>
                    <a:gd name="T11" fmla="*/ 0 h 143"/>
                  </a:gdLst>
                  <a:cxnLst>
                    <a:cxn ang="0">
                      <a:pos x="T0" y="T1"/>
                    </a:cxn>
                    <a:cxn ang="0">
                      <a:pos x="T2" y="T3"/>
                    </a:cxn>
                    <a:cxn ang="0">
                      <a:pos x="T4" y="T5"/>
                    </a:cxn>
                    <a:cxn ang="0">
                      <a:pos x="T6" y="T7"/>
                    </a:cxn>
                    <a:cxn ang="0">
                      <a:pos x="T8" y="T9"/>
                    </a:cxn>
                    <a:cxn ang="0">
                      <a:pos x="T10" y="T11"/>
                    </a:cxn>
                  </a:cxnLst>
                  <a:rect l="0" t="0" r="r" b="b"/>
                  <a:pathLst>
                    <a:path w="96" h="143">
                      <a:moveTo>
                        <a:pt x="28" y="0"/>
                      </a:moveTo>
                      <a:cubicBezTo>
                        <a:pt x="13" y="0"/>
                        <a:pt x="0" y="32"/>
                        <a:pt x="0" y="72"/>
                      </a:cubicBezTo>
                      <a:cubicBezTo>
                        <a:pt x="0" y="111"/>
                        <a:pt x="13" y="143"/>
                        <a:pt x="28" y="143"/>
                      </a:cubicBezTo>
                      <a:cubicBezTo>
                        <a:pt x="96" y="143"/>
                        <a:pt x="96" y="143"/>
                        <a:pt x="96" y="143"/>
                      </a:cubicBezTo>
                      <a:cubicBezTo>
                        <a:pt x="96" y="0"/>
                        <a:pt x="96" y="0"/>
                        <a:pt x="96" y="0"/>
                      </a:cubicBezTo>
                      <a:cubicBezTo>
                        <a:pt x="28" y="0"/>
                        <a:pt x="28" y="0"/>
                        <a:pt x="28" y="0"/>
                      </a:cubicBezTo>
                    </a:path>
                  </a:pathLst>
                </a:custGeom>
                <a:solidFill>
                  <a:srgbClr val="59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06" name="Freeform 125">
                  <a:extLst>
                    <a:ext uri="{FF2B5EF4-FFF2-40B4-BE49-F238E27FC236}">
                      <a16:creationId xmlns:a16="http://schemas.microsoft.com/office/drawing/2014/main" id="{CB4A8990-8E84-5D2F-F6B5-7898B98F6DFF}"/>
                    </a:ext>
                  </a:extLst>
                </p:cNvPr>
                <p:cNvSpPr/>
                <p:nvPr/>
              </p:nvSpPr>
              <p:spPr bwMode="auto">
                <a:xfrm>
                  <a:off x="1741" y="1898"/>
                  <a:ext cx="175" cy="122"/>
                </a:xfrm>
                <a:custGeom>
                  <a:gdLst>
                    <a:gd name="T0" fmla="*/ 96 w 96"/>
                    <a:gd name="T1" fmla="*/ 42 h 67"/>
                    <a:gd name="T2" fmla="*/ 74 w 96"/>
                    <a:gd name="T3" fmla="*/ 43 h 67"/>
                    <a:gd name="T4" fmla="*/ 0 w 96"/>
                    <a:gd name="T5" fmla="*/ 0 h 67"/>
                    <a:gd name="T6" fmla="*/ 28 w 96"/>
                    <a:gd name="T7" fmla="*/ 67 h 67"/>
                    <a:gd name="T8" fmla="*/ 96 w 96"/>
                    <a:gd name="T9" fmla="*/ 67 h 67"/>
                    <a:gd name="T10" fmla="*/ 96 w 96"/>
                    <a:gd name="T11" fmla="*/ 42 h 67"/>
                  </a:gdLst>
                  <a:cxnLst>
                    <a:cxn ang="0">
                      <a:pos x="T0" y="T1"/>
                    </a:cxn>
                    <a:cxn ang="0">
                      <a:pos x="T2" y="T3"/>
                    </a:cxn>
                    <a:cxn ang="0">
                      <a:pos x="T4" y="T5"/>
                    </a:cxn>
                    <a:cxn ang="0">
                      <a:pos x="T6" y="T7"/>
                    </a:cxn>
                    <a:cxn ang="0">
                      <a:pos x="T8" y="T9"/>
                    </a:cxn>
                    <a:cxn ang="0">
                      <a:pos x="T10" y="T11"/>
                    </a:cxn>
                  </a:cxnLst>
                  <a:rect l="0" t="0" r="r" b="b"/>
                  <a:pathLst>
                    <a:path w="96" h="67">
                      <a:moveTo>
                        <a:pt x="96" y="42"/>
                      </a:moveTo>
                      <a:cubicBezTo>
                        <a:pt x="89" y="42"/>
                        <a:pt x="82" y="42"/>
                        <a:pt x="74" y="43"/>
                      </a:cubicBezTo>
                      <a:cubicBezTo>
                        <a:pt x="17" y="49"/>
                        <a:pt x="0" y="0"/>
                        <a:pt x="0" y="0"/>
                      </a:cubicBezTo>
                      <a:cubicBezTo>
                        <a:pt x="1" y="38"/>
                        <a:pt x="13" y="67"/>
                        <a:pt x="28" y="67"/>
                      </a:cubicBezTo>
                      <a:cubicBezTo>
                        <a:pt x="96" y="67"/>
                        <a:pt x="96" y="67"/>
                        <a:pt x="96" y="67"/>
                      </a:cubicBezTo>
                      <a:lnTo>
                        <a:pt x="96" y="42"/>
                      </a:lnTo>
                      <a:close/>
                    </a:path>
                  </a:pathLst>
                </a:custGeom>
                <a:solidFill>
                  <a:srgbClr val="350F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07" name="Oval 126">
                  <a:extLst>
                    <a:ext uri="{FF2B5EF4-FFF2-40B4-BE49-F238E27FC236}">
                      <a16:creationId xmlns:a16="http://schemas.microsoft.com/office/drawing/2014/main" id="{89371A31-8A12-485E-DC54-E3CF0E55DEF0}"/>
                    </a:ext>
                  </a:extLst>
                </p:cNvPr>
                <p:cNvSpPr>
                  <a:spLocks noChangeArrowheads="1"/>
                </p:cNvSpPr>
                <p:nvPr/>
              </p:nvSpPr>
              <p:spPr bwMode="auto">
                <a:xfrm>
                  <a:off x="1863" y="1759"/>
                  <a:ext cx="104" cy="261"/>
                </a:xfrm>
                <a:prstGeom prst="ellipse">
                  <a:avLst/>
                </a:prstGeom>
                <a:solidFill>
                  <a:srgbClr val="350F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08" name="Oval 127">
                  <a:extLst>
                    <a:ext uri="{FF2B5EF4-FFF2-40B4-BE49-F238E27FC236}">
                      <a16:creationId xmlns:a16="http://schemas.microsoft.com/office/drawing/2014/main" id="{EC8654B3-B447-7BF9-201B-FE16DC070E84}"/>
                    </a:ext>
                  </a:extLst>
                </p:cNvPr>
                <p:cNvSpPr>
                  <a:spLocks noChangeArrowheads="1"/>
                </p:cNvSpPr>
                <p:nvPr/>
              </p:nvSpPr>
              <p:spPr bwMode="auto">
                <a:xfrm>
                  <a:off x="1870" y="1768"/>
                  <a:ext cx="94" cy="245"/>
                </a:xfrm>
                <a:prstGeom prst="ellipse">
                  <a:avLst/>
                </a:prstGeom>
                <a:solidFill>
                  <a:srgbClr val="FFFE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09" name="Freeform 128">
                  <a:extLst>
                    <a:ext uri="{FF2B5EF4-FFF2-40B4-BE49-F238E27FC236}">
                      <a16:creationId xmlns:a16="http://schemas.microsoft.com/office/drawing/2014/main" id="{65853758-7B90-4C5B-ED84-2B208AE56C3A}"/>
                    </a:ext>
                  </a:extLst>
                </p:cNvPr>
                <p:cNvSpPr/>
                <p:nvPr/>
              </p:nvSpPr>
              <p:spPr bwMode="auto">
                <a:xfrm>
                  <a:off x="1903" y="1810"/>
                  <a:ext cx="44" cy="66"/>
                </a:xfrm>
                <a:custGeom>
                  <a:gdLst>
                    <a:gd name="T0" fmla="*/ 0 w 24"/>
                    <a:gd name="T1" fmla="*/ 16 h 36"/>
                    <a:gd name="T2" fmla="*/ 9 w 24"/>
                    <a:gd name="T3" fmla="*/ 34 h 36"/>
                    <a:gd name="T4" fmla="*/ 24 w 24"/>
                    <a:gd name="T5" fmla="*/ 24 h 36"/>
                    <a:gd name="T6" fmla="*/ 15 w 24"/>
                    <a:gd name="T7" fmla="*/ 2 h 36"/>
                    <a:gd name="T8" fmla="*/ 0 w 24"/>
                    <a:gd name="T9" fmla="*/ 16 h 36"/>
                  </a:gdLst>
                  <a:cxnLst>
                    <a:cxn ang="0">
                      <a:pos x="T0" y="T1"/>
                    </a:cxn>
                    <a:cxn ang="0">
                      <a:pos x="T2" y="T3"/>
                    </a:cxn>
                    <a:cxn ang="0">
                      <a:pos x="T4" y="T5"/>
                    </a:cxn>
                    <a:cxn ang="0">
                      <a:pos x="T6" y="T7"/>
                    </a:cxn>
                    <a:cxn ang="0">
                      <a:pos x="T8" y="T9"/>
                    </a:cxn>
                  </a:cxnLst>
                  <a:rect l="0" t="0" r="r" b="b"/>
                  <a:pathLst>
                    <a:path w="24" h="36">
                      <a:moveTo>
                        <a:pt x="0" y="16"/>
                      </a:moveTo>
                      <a:cubicBezTo>
                        <a:pt x="0" y="16"/>
                        <a:pt x="2" y="31"/>
                        <a:pt x="9" y="34"/>
                      </a:cubicBezTo>
                      <a:cubicBezTo>
                        <a:pt x="15" y="36"/>
                        <a:pt x="23" y="27"/>
                        <a:pt x="24" y="24"/>
                      </a:cubicBezTo>
                      <a:cubicBezTo>
                        <a:pt x="24" y="20"/>
                        <a:pt x="20" y="5"/>
                        <a:pt x="15" y="2"/>
                      </a:cubicBezTo>
                      <a:cubicBezTo>
                        <a:pt x="10" y="0"/>
                        <a:pt x="0" y="16"/>
                        <a:pt x="0" y="16"/>
                      </a:cubicBezTo>
                      <a:close/>
                    </a:path>
                  </a:pathLst>
                </a:custGeom>
                <a:solidFill>
                  <a:srgbClr val="E05B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10" name="Freeform 129">
                  <a:extLst>
                    <a:ext uri="{FF2B5EF4-FFF2-40B4-BE49-F238E27FC236}">
                      <a16:creationId xmlns:a16="http://schemas.microsoft.com/office/drawing/2014/main" id="{EBB0913C-A9DC-D6F8-E5D3-FFB011B58ED6}"/>
                    </a:ext>
                  </a:extLst>
                </p:cNvPr>
                <p:cNvSpPr/>
                <p:nvPr/>
              </p:nvSpPr>
              <p:spPr bwMode="auto">
                <a:xfrm>
                  <a:off x="1914" y="1854"/>
                  <a:ext cx="35" cy="51"/>
                </a:xfrm>
                <a:custGeom>
                  <a:gdLst>
                    <a:gd name="T0" fmla="*/ 18 w 19"/>
                    <a:gd name="T1" fmla="*/ 0 h 28"/>
                    <a:gd name="T2" fmla="*/ 18 w 19"/>
                    <a:gd name="T3" fmla="*/ 17 h 28"/>
                    <a:gd name="T4" fmla="*/ 3 w 19"/>
                    <a:gd name="T5" fmla="*/ 27 h 28"/>
                    <a:gd name="T6" fmla="*/ 1 w 19"/>
                    <a:gd name="T7" fmla="*/ 4 h 28"/>
                    <a:gd name="T8" fmla="*/ 18 w 19"/>
                    <a:gd name="T9" fmla="*/ 0 h 28"/>
                  </a:gdLst>
                  <a:cxnLst>
                    <a:cxn ang="0">
                      <a:pos x="T0" y="T1"/>
                    </a:cxn>
                    <a:cxn ang="0">
                      <a:pos x="T2" y="T3"/>
                    </a:cxn>
                    <a:cxn ang="0">
                      <a:pos x="T4" y="T5"/>
                    </a:cxn>
                    <a:cxn ang="0">
                      <a:pos x="T6" y="T7"/>
                    </a:cxn>
                    <a:cxn ang="0">
                      <a:pos x="T8" y="T9"/>
                    </a:cxn>
                  </a:cxnLst>
                  <a:rect l="0" t="0" r="r" b="b"/>
                  <a:pathLst>
                    <a:path w="19" h="28">
                      <a:moveTo>
                        <a:pt x="18" y="0"/>
                      </a:moveTo>
                      <a:cubicBezTo>
                        <a:pt x="18" y="0"/>
                        <a:pt x="19" y="11"/>
                        <a:pt x="18" y="17"/>
                      </a:cubicBezTo>
                      <a:cubicBezTo>
                        <a:pt x="16" y="22"/>
                        <a:pt x="6" y="27"/>
                        <a:pt x="3" y="27"/>
                      </a:cubicBezTo>
                      <a:cubicBezTo>
                        <a:pt x="0" y="28"/>
                        <a:pt x="1" y="4"/>
                        <a:pt x="1" y="4"/>
                      </a:cubicBezTo>
                      <a:lnTo>
                        <a:pt x="18" y="0"/>
                      </a:lnTo>
                      <a:close/>
                    </a:path>
                  </a:pathLst>
                </a:custGeom>
                <a:solidFill>
                  <a:srgbClr val="FE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11" name="Freeform 130">
                  <a:extLst>
                    <a:ext uri="{FF2B5EF4-FFF2-40B4-BE49-F238E27FC236}">
                      <a16:creationId xmlns:a16="http://schemas.microsoft.com/office/drawing/2014/main" id="{69755BED-1642-DA17-0140-C0A42355F193}"/>
                    </a:ext>
                  </a:extLst>
                </p:cNvPr>
                <p:cNvSpPr/>
                <p:nvPr/>
              </p:nvSpPr>
              <p:spPr bwMode="auto">
                <a:xfrm>
                  <a:off x="1892" y="1840"/>
                  <a:ext cx="41" cy="64"/>
                </a:xfrm>
                <a:custGeom>
                  <a:gdLst>
                    <a:gd name="T0" fmla="*/ 6 w 22"/>
                    <a:gd name="T1" fmla="*/ 0 h 35"/>
                    <a:gd name="T2" fmla="*/ 0 w 22"/>
                    <a:gd name="T3" fmla="*/ 20 h 35"/>
                    <a:gd name="T4" fmla="*/ 0 w 22"/>
                    <a:gd name="T5" fmla="*/ 26 h 35"/>
                    <a:gd name="T6" fmla="*/ 8 w 22"/>
                    <a:gd name="T7" fmla="*/ 35 h 35"/>
                    <a:gd name="T8" fmla="*/ 22 w 22"/>
                    <a:gd name="T9" fmla="*/ 27 h 35"/>
                    <a:gd name="T10" fmla="*/ 6 w 22"/>
                    <a:gd name="T11" fmla="*/ 0 h 35"/>
                  </a:gdLst>
                  <a:cxnLst>
                    <a:cxn ang="0">
                      <a:pos x="T0" y="T1"/>
                    </a:cxn>
                    <a:cxn ang="0">
                      <a:pos x="T2" y="T3"/>
                    </a:cxn>
                    <a:cxn ang="0">
                      <a:pos x="T4" y="T5"/>
                    </a:cxn>
                    <a:cxn ang="0">
                      <a:pos x="T6" y="T7"/>
                    </a:cxn>
                    <a:cxn ang="0">
                      <a:pos x="T8" y="T9"/>
                    </a:cxn>
                    <a:cxn ang="0">
                      <a:pos x="T10" y="T11"/>
                    </a:cxn>
                  </a:cxnLst>
                  <a:rect l="0" t="0" r="r" b="b"/>
                  <a:pathLst>
                    <a:path w="22" h="35">
                      <a:moveTo>
                        <a:pt x="6" y="0"/>
                      </a:moveTo>
                      <a:cubicBezTo>
                        <a:pt x="6" y="0"/>
                        <a:pt x="1" y="12"/>
                        <a:pt x="0" y="20"/>
                      </a:cubicBezTo>
                      <a:cubicBezTo>
                        <a:pt x="0" y="22"/>
                        <a:pt x="0" y="24"/>
                        <a:pt x="0" y="26"/>
                      </a:cubicBezTo>
                      <a:cubicBezTo>
                        <a:pt x="0" y="31"/>
                        <a:pt x="2" y="35"/>
                        <a:pt x="8" y="35"/>
                      </a:cubicBezTo>
                      <a:cubicBezTo>
                        <a:pt x="15" y="35"/>
                        <a:pt x="22" y="27"/>
                        <a:pt x="22" y="27"/>
                      </a:cubicBezTo>
                      <a:cubicBezTo>
                        <a:pt x="22" y="27"/>
                        <a:pt x="12" y="5"/>
                        <a:pt x="6" y="0"/>
                      </a:cubicBezTo>
                      <a:close/>
                    </a:path>
                  </a:pathLst>
                </a:custGeom>
                <a:solidFill>
                  <a:srgbClr val="5653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12" name="Freeform 131">
                  <a:extLst>
                    <a:ext uri="{FF2B5EF4-FFF2-40B4-BE49-F238E27FC236}">
                      <a16:creationId xmlns:a16="http://schemas.microsoft.com/office/drawing/2014/main" id="{C3B933E4-087D-84BF-DD3E-722296754511}"/>
                    </a:ext>
                  </a:extLst>
                </p:cNvPr>
                <p:cNvSpPr/>
                <p:nvPr/>
              </p:nvSpPr>
              <p:spPr bwMode="auto">
                <a:xfrm>
                  <a:off x="1900" y="1885"/>
                  <a:ext cx="47" cy="57"/>
                </a:xfrm>
                <a:custGeom>
                  <a:gdLst>
                    <a:gd name="T0" fmla="*/ 26 w 26"/>
                    <a:gd name="T1" fmla="*/ 0 h 31"/>
                    <a:gd name="T2" fmla="*/ 20 w 26"/>
                    <a:gd name="T3" fmla="*/ 26 h 31"/>
                    <a:gd name="T4" fmla="*/ 3 w 26"/>
                    <a:gd name="T5" fmla="*/ 31 h 31"/>
                    <a:gd name="T6" fmla="*/ 0 w 26"/>
                    <a:gd name="T7" fmla="*/ 4 h 31"/>
                    <a:gd name="T8" fmla="*/ 26 w 26"/>
                    <a:gd name="T9" fmla="*/ 0 h 31"/>
                  </a:gdLst>
                  <a:cxnLst>
                    <a:cxn ang="0">
                      <a:pos x="T0" y="T1"/>
                    </a:cxn>
                    <a:cxn ang="0">
                      <a:pos x="T2" y="T3"/>
                    </a:cxn>
                    <a:cxn ang="0">
                      <a:pos x="T4" y="T5"/>
                    </a:cxn>
                    <a:cxn ang="0">
                      <a:pos x="T6" y="T7"/>
                    </a:cxn>
                    <a:cxn ang="0">
                      <a:pos x="T8" y="T9"/>
                    </a:cxn>
                  </a:cxnLst>
                  <a:rect l="0" t="0" r="r" b="b"/>
                  <a:pathLst>
                    <a:path w="26" h="31">
                      <a:moveTo>
                        <a:pt x="26" y="0"/>
                      </a:moveTo>
                      <a:cubicBezTo>
                        <a:pt x="26" y="0"/>
                        <a:pt x="23" y="22"/>
                        <a:pt x="20" y="26"/>
                      </a:cubicBezTo>
                      <a:cubicBezTo>
                        <a:pt x="16" y="31"/>
                        <a:pt x="7" y="31"/>
                        <a:pt x="3" y="31"/>
                      </a:cubicBezTo>
                      <a:cubicBezTo>
                        <a:pt x="0" y="30"/>
                        <a:pt x="0" y="4"/>
                        <a:pt x="0" y="4"/>
                      </a:cubicBezTo>
                      <a:lnTo>
                        <a:pt x="26" y="0"/>
                      </a:lnTo>
                      <a:close/>
                    </a:path>
                  </a:pathLst>
                </a:custGeom>
                <a:solidFill>
                  <a:srgbClr val="8C2A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13" name="Freeform 132">
                  <a:extLst>
                    <a:ext uri="{FF2B5EF4-FFF2-40B4-BE49-F238E27FC236}">
                      <a16:creationId xmlns:a16="http://schemas.microsoft.com/office/drawing/2014/main" id="{EC263B55-CDB7-0631-13CA-995AC195797F}"/>
                    </a:ext>
                  </a:extLst>
                </p:cNvPr>
                <p:cNvSpPr/>
                <p:nvPr/>
              </p:nvSpPr>
              <p:spPr bwMode="auto">
                <a:xfrm>
                  <a:off x="1896" y="1924"/>
                  <a:ext cx="46" cy="56"/>
                </a:xfrm>
                <a:custGeom>
                  <a:gdLst>
                    <a:gd name="T0" fmla="*/ 24 w 25"/>
                    <a:gd name="T1" fmla="*/ 0 h 31"/>
                    <a:gd name="T2" fmla="*/ 20 w 25"/>
                    <a:gd name="T3" fmla="*/ 23 h 31"/>
                    <a:gd name="T4" fmla="*/ 11 w 25"/>
                    <a:gd name="T5" fmla="*/ 28 h 31"/>
                    <a:gd name="T6" fmla="*/ 1 w 25"/>
                    <a:gd name="T7" fmla="*/ 10 h 31"/>
                    <a:gd name="T8" fmla="*/ 24 w 25"/>
                    <a:gd name="T9" fmla="*/ 0 h 31"/>
                  </a:gdLst>
                  <a:cxnLst>
                    <a:cxn ang="0">
                      <a:pos x="T0" y="T1"/>
                    </a:cxn>
                    <a:cxn ang="0">
                      <a:pos x="T2" y="T3"/>
                    </a:cxn>
                    <a:cxn ang="0">
                      <a:pos x="T4" y="T5"/>
                    </a:cxn>
                    <a:cxn ang="0">
                      <a:pos x="T6" y="T7"/>
                    </a:cxn>
                    <a:cxn ang="0">
                      <a:pos x="T8" y="T9"/>
                    </a:cxn>
                  </a:cxnLst>
                  <a:rect l="0" t="0" r="r" b="b"/>
                  <a:pathLst>
                    <a:path w="25" h="31">
                      <a:moveTo>
                        <a:pt x="24" y="0"/>
                      </a:moveTo>
                      <a:cubicBezTo>
                        <a:pt x="24" y="0"/>
                        <a:pt x="25" y="18"/>
                        <a:pt x="20" y="23"/>
                      </a:cubicBezTo>
                      <a:cubicBezTo>
                        <a:pt x="16" y="29"/>
                        <a:pt x="15" y="31"/>
                        <a:pt x="11" y="28"/>
                      </a:cubicBezTo>
                      <a:cubicBezTo>
                        <a:pt x="6" y="25"/>
                        <a:pt x="3" y="19"/>
                        <a:pt x="1" y="10"/>
                      </a:cubicBezTo>
                      <a:cubicBezTo>
                        <a:pt x="0" y="1"/>
                        <a:pt x="24" y="0"/>
                        <a:pt x="24" y="0"/>
                      </a:cubicBezTo>
                      <a:close/>
                    </a:path>
                  </a:pathLst>
                </a:custGeom>
                <a:solidFill>
                  <a:srgbClr val="F7C3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14" name="Freeform 133">
                  <a:extLst>
                    <a:ext uri="{FF2B5EF4-FFF2-40B4-BE49-F238E27FC236}">
                      <a16:creationId xmlns:a16="http://schemas.microsoft.com/office/drawing/2014/main" id="{C32CAE24-64A2-87C4-E06B-3C308FCFDA37}"/>
                    </a:ext>
                  </a:extLst>
                </p:cNvPr>
                <p:cNvSpPr/>
                <p:nvPr/>
              </p:nvSpPr>
              <p:spPr bwMode="auto">
                <a:xfrm>
                  <a:off x="1891" y="1878"/>
                  <a:ext cx="20" cy="73"/>
                </a:xfrm>
                <a:custGeom>
                  <a:gdLst>
                    <a:gd name="T0" fmla="*/ 10 w 11"/>
                    <a:gd name="T1" fmla="*/ 6 h 40"/>
                    <a:gd name="T2" fmla="*/ 10 w 11"/>
                    <a:gd name="T3" fmla="*/ 34 h 40"/>
                    <a:gd name="T4" fmla="*/ 6 w 11"/>
                    <a:gd name="T5" fmla="*/ 38 h 40"/>
                    <a:gd name="T6" fmla="*/ 1 w 11"/>
                    <a:gd name="T7" fmla="*/ 5 h 40"/>
                    <a:gd name="T8" fmla="*/ 10 w 11"/>
                    <a:gd name="T9" fmla="*/ 6 h 40"/>
                  </a:gdLst>
                  <a:cxnLst>
                    <a:cxn ang="0">
                      <a:pos x="T0" y="T1"/>
                    </a:cxn>
                    <a:cxn ang="0">
                      <a:pos x="T2" y="T3"/>
                    </a:cxn>
                    <a:cxn ang="0">
                      <a:pos x="T4" y="T5"/>
                    </a:cxn>
                    <a:cxn ang="0">
                      <a:pos x="T6" y="T7"/>
                    </a:cxn>
                    <a:cxn ang="0">
                      <a:pos x="T8" y="T9"/>
                    </a:cxn>
                  </a:cxnLst>
                  <a:rect l="0" t="0" r="r" b="b"/>
                  <a:pathLst>
                    <a:path w="11" h="40">
                      <a:moveTo>
                        <a:pt x="10" y="6"/>
                      </a:moveTo>
                      <a:cubicBezTo>
                        <a:pt x="10" y="6"/>
                        <a:pt x="11" y="28"/>
                        <a:pt x="10" y="34"/>
                      </a:cubicBezTo>
                      <a:cubicBezTo>
                        <a:pt x="9" y="40"/>
                        <a:pt x="7" y="40"/>
                        <a:pt x="6" y="38"/>
                      </a:cubicBezTo>
                      <a:cubicBezTo>
                        <a:pt x="4" y="36"/>
                        <a:pt x="0" y="9"/>
                        <a:pt x="1" y="5"/>
                      </a:cubicBezTo>
                      <a:cubicBezTo>
                        <a:pt x="2" y="0"/>
                        <a:pt x="10" y="6"/>
                        <a:pt x="10" y="6"/>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15" name="Freeform 134">
                  <a:extLst>
                    <a:ext uri="{FF2B5EF4-FFF2-40B4-BE49-F238E27FC236}">
                      <a16:creationId xmlns:a16="http://schemas.microsoft.com/office/drawing/2014/main" id="{7AD170EE-9C83-6DFD-A741-F9DF62ACF3E1}"/>
                    </a:ext>
                  </a:extLst>
                </p:cNvPr>
                <p:cNvSpPr/>
                <p:nvPr/>
              </p:nvSpPr>
              <p:spPr bwMode="auto">
                <a:xfrm>
                  <a:off x="1898" y="1790"/>
                  <a:ext cx="14" cy="19"/>
                </a:xfrm>
                <a:custGeom>
                  <a:gdLst>
                    <a:gd name="T0" fmla="*/ 6 w 8"/>
                    <a:gd name="T1" fmla="*/ 6 h 10"/>
                    <a:gd name="T2" fmla="*/ 1 w 8"/>
                    <a:gd name="T3" fmla="*/ 10 h 10"/>
                    <a:gd name="T4" fmla="*/ 2 w 8"/>
                    <a:gd name="T5" fmla="*/ 4 h 10"/>
                    <a:gd name="T6" fmla="*/ 7 w 8"/>
                    <a:gd name="T7" fmla="*/ 0 h 10"/>
                    <a:gd name="T8" fmla="*/ 6 w 8"/>
                    <a:gd name="T9" fmla="*/ 6 h 10"/>
                  </a:gdLst>
                  <a:cxnLst>
                    <a:cxn ang="0">
                      <a:pos x="T0" y="T1"/>
                    </a:cxn>
                    <a:cxn ang="0">
                      <a:pos x="T2" y="T3"/>
                    </a:cxn>
                    <a:cxn ang="0">
                      <a:pos x="T4" y="T5"/>
                    </a:cxn>
                    <a:cxn ang="0">
                      <a:pos x="T6" y="T7"/>
                    </a:cxn>
                    <a:cxn ang="0">
                      <a:pos x="T8" y="T9"/>
                    </a:cxn>
                  </a:cxnLst>
                  <a:rect l="0" t="0" r="r" b="b"/>
                  <a:pathLst>
                    <a:path w="8" h="10">
                      <a:moveTo>
                        <a:pt x="6" y="6"/>
                      </a:moveTo>
                      <a:cubicBezTo>
                        <a:pt x="4" y="9"/>
                        <a:pt x="2" y="10"/>
                        <a:pt x="1" y="10"/>
                      </a:cubicBezTo>
                      <a:cubicBezTo>
                        <a:pt x="0" y="9"/>
                        <a:pt x="0" y="6"/>
                        <a:pt x="2" y="4"/>
                      </a:cubicBezTo>
                      <a:cubicBezTo>
                        <a:pt x="3" y="1"/>
                        <a:pt x="5" y="0"/>
                        <a:pt x="7" y="0"/>
                      </a:cubicBezTo>
                      <a:cubicBezTo>
                        <a:pt x="8" y="1"/>
                        <a:pt x="7" y="4"/>
                        <a:pt x="6"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16" name="Freeform 135">
                  <a:extLst>
                    <a:ext uri="{FF2B5EF4-FFF2-40B4-BE49-F238E27FC236}">
                      <a16:creationId xmlns:a16="http://schemas.microsoft.com/office/drawing/2014/main" id="{038E0D53-A63E-8142-ACA1-5D7C4D1A6566}"/>
                    </a:ext>
                  </a:extLst>
                </p:cNvPr>
                <p:cNvSpPr/>
                <p:nvPr/>
              </p:nvSpPr>
              <p:spPr bwMode="auto">
                <a:xfrm>
                  <a:off x="1931" y="1801"/>
                  <a:ext cx="18" cy="13"/>
                </a:xfrm>
                <a:custGeom>
                  <a:gdLst>
                    <a:gd name="T0" fmla="*/ 6 w 10"/>
                    <a:gd name="T1" fmla="*/ 2 h 7"/>
                    <a:gd name="T2" fmla="*/ 10 w 10"/>
                    <a:gd name="T3" fmla="*/ 6 h 7"/>
                    <a:gd name="T4" fmla="*/ 4 w 10"/>
                    <a:gd name="T5" fmla="*/ 5 h 7"/>
                    <a:gd name="T6" fmla="*/ 0 w 10"/>
                    <a:gd name="T7" fmla="*/ 1 h 7"/>
                    <a:gd name="T8" fmla="*/ 6 w 10"/>
                    <a:gd name="T9" fmla="*/ 2 h 7"/>
                  </a:gdLst>
                  <a:cxnLst>
                    <a:cxn ang="0">
                      <a:pos x="T0" y="T1"/>
                    </a:cxn>
                    <a:cxn ang="0">
                      <a:pos x="T2" y="T3"/>
                    </a:cxn>
                    <a:cxn ang="0">
                      <a:pos x="T4" y="T5"/>
                    </a:cxn>
                    <a:cxn ang="0">
                      <a:pos x="T6" y="T7"/>
                    </a:cxn>
                    <a:cxn ang="0">
                      <a:pos x="T8" y="T9"/>
                    </a:cxn>
                  </a:cxnLst>
                  <a:rect l="0" t="0" r="r" b="b"/>
                  <a:pathLst>
                    <a:path w="10" h="7">
                      <a:moveTo>
                        <a:pt x="6" y="2"/>
                      </a:moveTo>
                      <a:cubicBezTo>
                        <a:pt x="9" y="3"/>
                        <a:pt x="10" y="5"/>
                        <a:pt x="10" y="6"/>
                      </a:cubicBezTo>
                      <a:cubicBezTo>
                        <a:pt x="9" y="7"/>
                        <a:pt x="6" y="7"/>
                        <a:pt x="4" y="5"/>
                      </a:cubicBezTo>
                      <a:cubicBezTo>
                        <a:pt x="1" y="4"/>
                        <a:pt x="0" y="2"/>
                        <a:pt x="0" y="1"/>
                      </a:cubicBezTo>
                      <a:cubicBezTo>
                        <a:pt x="1" y="0"/>
                        <a:pt x="3" y="0"/>
                        <a:pt x="6" y="2"/>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17" name="Freeform 136">
                  <a:extLst>
                    <a:ext uri="{FF2B5EF4-FFF2-40B4-BE49-F238E27FC236}">
                      <a16:creationId xmlns:a16="http://schemas.microsoft.com/office/drawing/2014/main" id="{F3DCDB64-287F-0F3F-2F95-1D7B500DEEE6}"/>
                    </a:ext>
                  </a:extLst>
                </p:cNvPr>
                <p:cNvSpPr/>
                <p:nvPr/>
              </p:nvSpPr>
              <p:spPr bwMode="auto">
                <a:xfrm>
                  <a:off x="1902" y="1986"/>
                  <a:ext cx="20" cy="11"/>
                </a:xfrm>
                <a:custGeom>
                  <a:gdLst>
                    <a:gd name="T0" fmla="*/ 5 w 11"/>
                    <a:gd name="T1" fmla="*/ 5 h 6"/>
                    <a:gd name="T2" fmla="*/ 0 w 11"/>
                    <a:gd name="T3" fmla="*/ 1 h 6"/>
                    <a:gd name="T4" fmla="*/ 6 w 11"/>
                    <a:gd name="T5" fmla="*/ 1 h 6"/>
                    <a:gd name="T6" fmla="*/ 10 w 11"/>
                    <a:gd name="T7" fmla="*/ 5 h 6"/>
                    <a:gd name="T8" fmla="*/ 5 w 11"/>
                    <a:gd name="T9" fmla="*/ 5 h 6"/>
                  </a:gdLst>
                  <a:cxnLst>
                    <a:cxn ang="0">
                      <a:pos x="T0" y="T1"/>
                    </a:cxn>
                    <a:cxn ang="0">
                      <a:pos x="T2" y="T3"/>
                    </a:cxn>
                    <a:cxn ang="0">
                      <a:pos x="T4" y="T5"/>
                    </a:cxn>
                    <a:cxn ang="0">
                      <a:pos x="T6" y="T7"/>
                    </a:cxn>
                    <a:cxn ang="0">
                      <a:pos x="T8" y="T9"/>
                    </a:cxn>
                  </a:cxnLst>
                  <a:rect l="0" t="0" r="r" b="b"/>
                  <a:pathLst>
                    <a:path w="11" h="6">
                      <a:moveTo>
                        <a:pt x="5" y="5"/>
                      </a:moveTo>
                      <a:cubicBezTo>
                        <a:pt x="2" y="4"/>
                        <a:pt x="0" y="3"/>
                        <a:pt x="0" y="1"/>
                      </a:cubicBezTo>
                      <a:cubicBezTo>
                        <a:pt x="1" y="0"/>
                        <a:pt x="3" y="0"/>
                        <a:pt x="6" y="1"/>
                      </a:cubicBezTo>
                      <a:cubicBezTo>
                        <a:pt x="9" y="2"/>
                        <a:pt x="11" y="4"/>
                        <a:pt x="10" y="5"/>
                      </a:cubicBezTo>
                      <a:cubicBezTo>
                        <a:pt x="10" y="6"/>
                        <a:pt x="7" y="6"/>
                        <a:pt x="5" y="5"/>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18" name="Freeform 137">
                  <a:extLst>
                    <a:ext uri="{FF2B5EF4-FFF2-40B4-BE49-F238E27FC236}">
                      <a16:creationId xmlns:a16="http://schemas.microsoft.com/office/drawing/2014/main" id="{C376FFA9-E175-67E5-05A7-9FD3AB7E2455}"/>
                    </a:ext>
                  </a:extLst>
                </p:cNvPr>
                <p:cNvSpPr/>
                <p:nvPr/>
              </p:nvSpPr>
              <p:spPr bwMode="auto">
                <a:xfrm>
                  <a:off x="1914" y="1778"/>
                  <a:ext cx="20" cy="12"/>
                </a:xfrm>
                <a:custGeom>
                  <a:gdLst>
                    <a:gd name="T0" fmla="*/ 6 w 11"/>
                    <a:gd name="T1" fmla="*/ 1 h 7"/>
                    <a:gd name="T2" fmla="*/ 10 w 11"/>
                    <a:gd name="T3" fmla="*/ 5 h 7"/>
                    <a:gd name="T4" fmla="*/ 4 w 11"/>
                    <a:gd name="T5" fmla="*/ 6 h 7"/>
                    <a:gd name="T6" fmla="*/ 0 w 11"/>
                    <a:gd name="T7" fmla="*/ 2 h 7"/>
                    <a:gd name="T8" fmla="*/ 6 w 11"/>
                    <a:gd name="T9" fmla="*/ 1 h 7"/>
                  </a:gdLst>
                  <a:cxnLst>
                    <a:cxn ang="0">
                      <a:pos x="T0" y="T1"/>
                    </a:cxn>
                    <a:cxn ang="0">
                      <a:pos x="T2" y="T3"/>
                    </a:cxn>
                    <a:cxn ang="0">
                      <a:pos x="T4" y="T5"/>
                    </a:cxn>
                    <a:cxn ang="0">
                      <a:pos x="T6" y="T7"/>
                    </a:cxn>
                    <a:cxn ang="0">
                      <a:pos x="T8" y="T9"/>
                    </a:cxn>
                  </a:cxnLst>
                  <a:rect l="0" t="0" r="r" b="b"/>
                  <a:pathLst>
                    <a:path w="11" h="7">
                      <a:moveTo>
                        <a:pt x="6" y="1"/>
                      </a:moveTo>
                      <a:cubicBezTo>
                        <a:pt x="9" y="2"/>
                        <a:pt x="11" y="4"/>
                        <a:pt x="10" y="5"/>
                      </a:cubicBezTo>
                      <a:cubicBezTo>
                        <a:pt x="10" y="6"/>
                        <a:pt x="7" y="7"/>
                        <a:pt x="4" y="6"/>
                      </a:cubicBezTo>
                      <a:cubicBezTo>
                        <a:pt x="2" y="5"/>
                        <a:pt x="0" y="3"/>
                        <a:pt x="0" y="2"/>
                      </a:cubicBezTo>
                      <a:cubicBezTo>
                        <a:pt x="0" y="1"/>
                        <a:pt x="3" y="0"/>
                        <a:pt x="6" y="1"/>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19" name="Freeform 138">
                  <a:extLst>
                    <a:ext uri="{FF2B5EF4-FFF2-40B4-BE49-F238E27FC236}">
                      <a16:creationId xmlns:a16="http://schemas.microsoft.com/office/drawing/2014/main" id="{F28FBF57-DDA1-9663-36D4-42BC33BB3B55}"/>
                    </a:ext>
                  </a:extLst>
                </p:cNvPr>
                <p:cNvSpPr/>
                <p:nvPr/>
              </p:nvSpPr>
              <p:spPr bwMode="auto">
                <a:xfrm>
                  <a:off x="1925" y="1977"/>
                  <a:ext cx="18" cy="18"/>
                </a:xfrm>
                <a:custGeom>
                  <a:gdLst>
                    <a:gd name="T0" fmla="*/ 3 w 10"/>
                    <a:gd name="T1" fmla="*/ 4 h 10"/>
                    <a:gd name="T2" fmla="*/ 9 w 10"/>
                    <a:gd name="T3" fmla="*/ 1 h 10"/>
                    <a:gd name="T4" fmla="*/ 6 w 10"/>
                    <a:gd name="T5" fmla="*/ 7 h 10"/>
                    <a:gd name="T6" fmla="*/ 1 w 10"/>
                    <a:gd name="T7" fmla="*/ 9 h 10"/>
                    <a:gd name="T8" fmla="*/ 3 w 10"/>
                    <a:gd name="T9" fmla="*/ 4 h 10"/>
                  </a:gdLst>
                  <a:cxnLst>
                    <a:cxn ang="0">
                      <a:pos x="T0" y="T1"/>
                    </a:cxn>
                    <a:cxn ang="0">
                      <a:pos x="T2" y="T3"/>
                    </a:cxn>
                    <a:cxn ang="0">
                      <a:pos x="T4" y="T5"/>
                    </a:cxn>
                    <a:cxn ang="0">
                      <a:pos x="T6" y="T7"/>
                    </a:cxn>
                    <a:cxn ang="0">
                      <a:pos x="T8" y="T9"/>
                    </a:cxn>
                  </a:cxnLst>
                  <a:rect l="0" t="0" r="r" b="b"/>
                  <a:pathLst>
                    <a:path w="10" h="10">
                      <a:moveTo>
                        <a:pt x="3" y="4"/>
                      </a:moveTo>
                      <a:cubicBezTo>
                        <a:pt x="5" y="1"/>
                        <a:pt x="8" y="0"/>
                        <a:pt x="9" y="1"/>
                      </a:cubicBezTo>
                      <a:cubicBezTo>
                        <a:pt x="10" y="2"/>
                        <a:pt x="9" y="5"/>
                        <a:pt x="6" y="7"/>
                      </a:cubicBezTo>
                      <a:cubicBezTo>
                        <a:pt x="4" y="9"/>
                        <a:pt x="2" y="10"/>
                        <a:pt x="1" y="9"/>
                      </a:cubicBezTo>
                      <a:cubicBezTo>
                        <a:pt x="0" y="8"/>
                        <a:pt x="1" y="6"/>
                        <a:pt x="3" y="4"/>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20" name="Freeform 139">
                  <a:extLst>
                    <a:ext uri="{FF2B5EF4-FFF2-40B4-BE49-F238E27FC236}">
                      <a16:creationId xmlns:a16="http://schemas.microsoft.com/office/drawing/2014/main" id="{C80294C9-4F5C-29A7-45E6-1F47E8E1F4A7}"/>
                    </a:ext>
                  </a:extLst>
                </p:cNvPr>
                <p:cNvSpPr/>
                <p:nvPr/>
              </p:nvSpPr>
              <p:spPr bwMode="auto">
                <a:xfrm>
                  <a:off x="1940" y="1947"/>
                  <a:ext cx="9" cy="20"/>
                </a:xfrm>
                <a:custGeom>
                  <a:gdLst>
                    <a:gd name="T0" fmla="*/ 1 w 5"/>
                    <a:gd name="T1" fmla="*/ 6 h 11"/>
                    <a:gd name="T2" fmla="*/ 2 w 5"/>
                    <a:gd name="T3" fmla="*/ 0 h 11"/>
                    <a:gd name="T4" fmla="*/ 5 w 5"/>
                    <a:gd name="T5" fmla="*/ 5 h 11"/>
                    <a:gd name="T6" fmla="*/ 4 w 5"/>
                    <a:gd name="T7" fmla="*/ 11 h 11"/>
                    <a:gd name="T8" fmla="*/ 1 w 5"/>
                    <a:gd name="T9" fmla="*/ 6 h 11"/>
                  </a:gdLst>
                  <a:cxnLst>
                    <a:cxn ang="0">
                      <a:pos x="T0" y="T1"/>
                    </a:cxn>
                    <a:cxn ang="0">
                      <a:pos x="T2" y="T3"/>
                    </a:cxn>
                    <a:cxn ang="0">
                      <a:pos x="T4" y="T5"/>
                    </a:cxn>
                    <a:cxn ang="0">
                      <a:pos x="T6" y="T7"/>
                    </a:cxn>
                    <a:cxn ang="0">
                      <a:pos x="T8" y="T9"/>
                    </a:cxn>
                  </a:cxnLst>
                  <a:rect l="0" t="0" r="r" b="b"/>
                  <a:pathLst>
                    <a:path w="5" h="11">
                      <a:moveTo>
                        <a:pt x="1" y="6"/>
                      </a:moveTo>
                      <a:cubicBezTo>
                        <a:pt x="0" y="3"/>
                        <a:pt x="1" y="0"/>
                        <a:pt x="2" y="0"/>
                      </a:cubicBezTo>
                      <a:cubicBezTo>
                        <a:pt x="3" y="0"/>
                        <a:pt x="5" y="2"/>
                        <a:pt x="5" y="5"/>
                      </a:cubicBezTo>
                      <a:cubicBezTo>
                        <a:pt x="5" y="8"/>
                        <a:pt x="5" y="11"/>
                        <a:pt x="4" y="11"/>
                      </a:cubicBezTo>
                      <a:cubicBezTo>
                        <a:pt x="2" y="11"/>
                        <a:pt x="1" y="9"/>
                        <a:pt x="1"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21" name="Freeform 140">
                  <a:extLst>
                    <a:ext uri="{FF2B5EF4-FFF2-40B4-BE49-F238E27FC236}">
                      <a16:creationId xmlns:a16="http://schemas.microsoft.com/office/drawing/2014/main" id="{88253445-E65A-A1AE-46CD-41CAC3E41AA0}"/>
                    </a:ext>
                  </a:extLst>
                </p:cNvPr>
                <p:cNvSpPr/>
                <p:nvPr/>
              </p:nvSpPr>
              <p:spPr bwMode="auto">
                <a:xfrm>
                  <a:off x="1885" y="1821"/>
                  <a:ext cx="20" cy="11"/>
                </a:xfrm>
                <a:custGeom>
                  <a:gdLst>
                    <a:gd name="T0" fmla="*/ 6 w 11"/>
                    <a:gd name="T1" fmla="*/ 1 h 6"/>
                    <a:gd name="T2" fmla="*/ 10 w 11"/>
                    <a:gd name="T3" fmla="*/ 5 h 6"/>
                    <a:gd name="T4" fmla="*/ 4 w 11"/>
                    <a:gd name="T5" fmla="*/ 5 h 6"/>
                    <a:gd name="T6" fmla="*/ 0 w 11"/>
                    <a:gd name="T7" fmla="*/ 1 h 6"/>
                    <a:gd name="T8" fmla="*/ 6 w 11"/>
                    <a:gd name="T9" fmla="*/ 1 h 6"/>
                  </a:gdLst>
                  <a:cxnLst>
                    <a:cxn ang="0">
                      <a:pos x="T0" y="T1"/>
                    </a:cxn>
                    <a:cxn ang="0">
                      <a:pos x="T2" y="T3"/>
                    </a:cxn>
                    <a:cxn ang="0">
                      <a:pos x="T4" y="T5"/>
                    </a:cxn>
                    <a:cxn ang="0">
                      <a:pos x="T6" y="T7"/>
                    </a:cxn>
                    <a:cxn ang="0">
                      <a:pos x="T8" y="T9"/>
                    </a:cxn>
                  </a:cxnLst>
                  <a:rect l="0" t="0" r="r" b="b"/>
                  <a:pathLst>
                    <a:path w="11" h="6">
                      <a:moveTo>
                        <a:pt x="6" y="1"/>
                      </a:moveTo>
                      <a:cubicBezTo>
                        <a:pt x="9" y="2"/>
                        <a:pt x="11" y="4"/>
                        <a:pt x="10" y="5"/>
                      </a:cubicBezTo>
                      <a:cubicBezTo>
                        <a:pt x="10" y="6"/>
                        <a:pt x="7" y="6"/>
                        <a:pt x="4" y="5"/>
                      </a:cubicBezTo>
                      <a:cubicBezTo>
                        <a:pt x="2" y="4"/>
                        <a:pt x="0" y="2"/>
                        <a:pt x="0" y="1"/>
                      </a:cubicBezTo>
                      <a:cubicBezTo>
                        <a:pt x="0" y="0"/>
                        <a:pt x="3" y="0"/>
                        <a:pt x="6" y="1"/>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22" name="Freeform 141">
                  <a:extLst>
                    <a:ext uri="{FF2B5EF4-FFF2-40B4-BE49-F238E27FC236}">
                      <a16:creationId xmlns:a16="http://schemas.microsoft.com/office/drawing/2014/main" id="{1A644B99-D96E-2D97-C81A-C0BC2CFF8351}"/>
                    </a:ext>
                  </a:extLst>
                </p:cNvPr>
                <p:cNvSpPr/>
                <p:nvPr/>
              </p:nvSpPr>
              <p:spPr bwMode="auto">
                <a:xfrm>
                  <a:off x="1880" y="1845"/>
                  <a:ext cx="9" cy="20"/>
                </a:xfrm>
                <a:custGeom>
                  <a:gdLst>
                    <a:gd name="T0" fmla="*/ 5 w 5"/>
                    <a:gd name="T1" fmla="*/ 6 h 11"/>
                    <a:gd name="T2" fmla="*/ 2 w 5"/>
                    <a:gd name="T3" fmla="*/ 11 h 11"/>
                    <a:gd name="T4" fmla="*/ 1 w 5"/>
                    <a:gd name="T5" fmla="*/ 5 h 11"/>
                    <a:gd name="T6" fmla="*/ 4 w 5"/>
                    <a:gd name="T7" fmla="*/ 0 h 11"/>
                    <a:gd name="T8" fmla="*/ 5 w 5"/>
                    <a:gd name="T9" fmla="*/ 6 h 11"/>
                  </a:gdLst>
                  <a:cxnLst>
                    <a:cxn ang="0">
                      <a:pos x="T0" y="T1"/>
                    </a:cxn>
                    <a:cxn ang="0">
                      <a:pos x="T2" y="T3"/>
                    </a:cxn>
                    <a:cxn ang="0">
                      <a:pos x="T4" y="T5"/>
                    </a:cxn>
                    <a:cxn ang="0">
                      <a:pos x="T6" y="T7"/>
                    </a:cxn>
                    <a:cxn ang="0">
                      <a:pos x="T8" y="T9"/>
                    </a:cxn>
                  </a:cxnLst>
                  <a:rect l="0" t="0" r="r" b="b"/>
                  <a:pathLst>
                    <a:path w="5" h="11">
                      <a:moveTo>
                        <a:pt x="5" y="6"/>
                      </a:moveTo>
                      <a:cubicBezTo>
                        <a:pt x="5" y="9"/>
                        <a:pt x="3" y="11"/>
                        <a:pt x="2" y="11"/>
                      </a:cubicBezTo>
                      <a:cubicBezTo>
                        <a:pt x="1" y="11"/>
                        <a:pt x="0" y="8"/>
                        <a:pt x="1" y="5"/>
                      </a:cubicBezTo>
                      <a:cubicBezTo>
                        <a:pt x="1" y="2"/>
                        <a:pt x="2" y="0"/>
                        <a:pt x="4" y="0"/>
                      </a:cubicBezTo>
                      <a:cubicBezTo>
                        <a:pt x="5" y="0"/>
                        <a:pt x="5" y="3"/>
                        <a:pt x="5"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23" name="Freeform 142">
                  <a:extLst>
                    <a:ext uri="{FF2B5EF4-FFF2-40B4-BE49-F238E27FC236}">
                      <a16:creationId xmlns:a16="http://schemas.microsoft.com/office/drawing/2014/main" id="{C8875AAA-038D-2956-7F04-9E1439EBA735}"/>
                    </a:ext>
                  </a:extLst>
                </p:cNvPr>
                <p:cNvSpPr/>
                <p:nvPr/>
              </p:nvSpPr>
              <p:spPr bwMode="auto">
                <a:xfrm>
                  <a:off x="1951" y="1876"/>
                  <a:ext cx="9" cy="20"/>
                </a:xfrm>
                <a:custGeom>
                  <a:gdLst>
                    <a:gd name="T0" fmla="*/ 5 w 5"/>
                    <a:gd name="T1" fmla="*/ 6 h 11"/>
                    <a:gd name="T2" fmla="*/ 2 w 5"/>
                    <a:gd name="T3" fmla="*/ 11 h 11"/>
                    <a:gd name="T4" fmla="*/ 0 w 5"/>
                    <a:gd name="T5" fmla="*/ 5 h 11"/>
                    <a:gd name="T6" fmla="*/ 3 w 5"/>
                    <a:gd name="T7" fmla="*/ 0 h 11"/>
                    <a:gd name="T8" fmla="*/ 5 w 5"/>
                    <a:gd name="T9" fmla="*/ 6 h 11"/>
                  </a:gdLst>
                  <a:cxnLst>
                    <a:cxn ang="0">
                      <a:pos x="T0" y="T1"/>
                    </a:cxn>
                    <a:cxn ang="0">
                      <a:pos x="T2" y="T3"/>
                    </a:cxn>
                    <a:cxn ang="0">
                      <a:pos x="T4" y="T5"/>
                    </a:cxn>
                    <a:cxn ang="0">
                      <a:pos x="T6" y="T7"/>
                    </a:cxn>
                    <a:cxn ang="0">
                      <a:pos x="T8" y="T9"/>
                    </a:cxn>
                  </a:cxnLst>
                  <a:rect l="0" t="0" r="r" b="b"/>
                  <a:pathLst>
                    <a:path w="5" h="11">
                      <a:moveTo>
                        <a:pt x="5" y="6"/>
                      </a:moveTo>
                      <a:cubicBezTo>
                        <a:pt x="4" y="9"/>
                        <a:pt x="3" y="11"/>
                        <a:pt x="2" y="11"/>
                      </a:cubicBezTo>
                      <a:cubicBezTo>
                        <a:pt x="1" y="11"/>
                        <a:pt x="0" y="8"/>
                        <a:pt x="0" y="5"/>
                      </a:cubicBezTo>
                      <a:cubicBezTo>
                        <a:pt x="1" y="2"/>
                        <a:pt x="2" y="0"/>
                        <a:pt x="3" y="0"/>
                      </a:cubicBezTo>
                      <a:cubicBezTo>
                        <a:pt x="4" y="0"/>
                        <a:pt x="5" y="3"/>
                        <a:pt x="5"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24" name="Freeform 143">
                  <a:extLst>
                    <a:ext uri="{FF2B5EF4-FFF2-40B4-BE49-F238E27FC236}">
                      <a16:creationId xmlns:a16="http://schemas.microsoft.com/office/drawing/2014/main" id="{664179DF-A6A4-826E-4DB0-DF3B1E177302}"/>
                    </a:ext>
                  </a:extLst>
                </p:cNvPr>
                <p:cNvSpPr/>
                <p:nvPr/>
              </p:nvSpPr>
              <p:spPr bwMode="auto">
                <a:xfrm>
                  <a:off x="1947" y="1829"/>
                  <a:ext cx="11" cy="20"/>
                </a:xfrm>
                <a:custGeom>
                  <a:gdLst>
                    <a:gd name="T0" fmla="*/ 5 w 6"/>
                    <a:gd name="T1" fmla="*/ 5 h 11"/>
                    <a:gd name="T2" fmla="*/ 5 w 6"/>
                    <a:gd name="T3" fmla="*/ 11 h 11"/>
                    <a:gd name="T4" fmla="*/ 1 w 6"/>
                    <a:gd name="T5" fmla="*/ 6 h 11"/>
                    <a:gd name="T6" fmla="*/ 1 w 6"/>
                    <a:gd name="T7" fmla="*/ 1 h 11"/>
                    <a:gd name="T8" fmla="*/ 5 w 6"/>
                    <a:gd name="T9" fmla="*/ 5 h 11"/>
                  </a:gdLst>
                  <a:cxnLst>
                    <a:cxn ang="0">
                      <a:pos x="T0" y="T1"/>
                    </a:cxn>
                    <a:cxn ang="0">
                      <a:pos x="T2" y="T3"/>
                    </a:cxn>
                    <a:cxn ang="0">
                      <a:pos x="T4" y="T5"/>
                    </a:cxn>
                    <a:cxn ang="0">
                      <a:pos x="T6" y="T7"/>
                    </a:cxn>
                    <a:cxn ang="0">
                      <a:pos x="T8" y="T9"/>
                    </a:cxn>
                  </a:cxnLst>
                  <a:rect l="0" t="0" r="r" b="b"/>
                  <a:pathLst>
                    <a:path w="6" h="11">
                      <a:moveTo>
                        <a:pt x="5" y="5"/>
                      </a:moveTo>
                      <a:cubicBezTo>
                        <a:pt x="6" y="8"/>
                        <a:pt x="6" y="10"/>
                        <a:pt x="5" y="11"/>
                      </a:cubicBezTo>
                      <a:cubicBezTo>
                        <a:pt x="4" y="11"/>
                        <a:pt x="2" y="9"/>
                        <a:pt x="1" y="6"/>
                      </a:cubicBezTo>
                      <a:cubicBezTo>
                        <a:pt x="0" y="4"/>
                        <a:pt x="0" y="1"/>
                        <a:pt x="1" y="1"/>
                      </a:cubicBezTo>
                      <a:cubicBezTo>
                        <a:pt x="2" y="0"/>
                        <a:pt x="4" y="2"/>
                        <a:pt x="5" y="5"/>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25" name="Freeform 144">
                  <a:extLst>
                    <a:ext uri="{FF2B5EF4-FFF2-40B4-BE49-F238E27FC236}">
                      <a16:creationId xmlns:a16="http://schemas.microsoft.com/office/drawing/2014/main" id="{0FE2E9FB-53EB-6465-2F5A-244A4E2A0FFD}"/>
                    </a:ext>
                  </a:extLst>
                </p:cNvPr>
                <p:cNvSpPr/>
                <p:nvPr/>
              </p:nvSpPr>
              <p:spPr bwMode="auto">
                <a:xfrm>
                  <a:off x="1881" y="1918"/>
                  <a:ext cx="10" cy="20"/>
                </a:xfrm>
                <a:custGeom>
                  <a:gdLst>
                    <a:gd name="T0" fmla="*/ 5 w 5"/>
                    <a:gd name="T1" fmla="*/ 6 h 11"/>
                    <a:gd name="T2" fmla="*/ 2 w 5"/>
                    <a:gd name="T3" fmla="*/ 11 h 11"/>
                    <a:gd name="T4" fmla="*/ 0 w 5"/>
                    <a:gd name="T5" fmla="*/ 5 h 11"/>
                    <a:gd name="T6" fmla="*/ 3 w 5"/>
                    <a:gd name="T7" fmla="*/ 0 h 11"/>
                    <a:gd name="T8" fmla="*/ 5 w 5"/>
                    <a:gd name="T9" fmla="*/ 6 h 11"/>
                  </a:gdLst>
                  <a:cxnLst>
                    <a:cxn ang="0">
                      <a:pos x="T0" y="T1"/>
                    </a:cxn>
                    <a:cxn ang="0">
                      <a:pos x="T2" y="T3"/>
                    </a:cxn>
                    <a:cxn ang="0">
                      <a:pos x="T4" y="T5"/>
                    </a:cxn>
                    <a:cxn ang="0">
                      <a:pos x="T6" y="T7"/>
                    </a:cxn>
                    <a:cxn ang="0">
                      <a:pos x="T8" y="T9"/>
                    </a:cxn>
                  </a:cxnLst>
                  <a:rect l="0" t="0" r="r" b="b"/>
                  <a:pathLst>
                    <a:path w="5" h="11">
                      <a:moveTo>
                        <a:pt x="5" y="6"/>
                      </a:moveTo>
                      <a:cubicBezTo>
                        <a:pt x="4" y="9"/>
                        <a:pt x="3" y="11"/>
                        <a:pt x="2" y="11"/>
                      </a:cubicBezTo>
                      <a:cubicBezTo>
                        <a:pt x="0" y="11"/>
                        <a:pt x="0" y="8"/>
                        <a:pt x="0" y="5"/>
                      </a:cubicBezTo>
                      <a:cubicBezTo>
                        <a:pt x="1" y="2"/>
                        <a:pt x="2" y="0"/>
                        <a:pt x="3" y="0"/>
                      </a:cubicBezTo>
                      <a:cubicBezTo>
                        <a:pt x="4" y="0"/>
                        <a:pt x="5" y="3"/>
                        <a:pt x="5"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26" name="Freeform 145">
                  <a:extLst>
                    <a:ext uri="{FF2B5EF4-FFF2-40B4-BE49-F238E27FC236}">
                      <a16:creationId xmlns:a16="http://schemas.microsoft.com/office/drawing/2014/main" id="{1156DBD2-ABF3-3CB5-428A-20E9D04FBF4C}"/>
                    </a:ext>
                  </a:extLst>
                </p:cNvPr>
                <p:cNvSpPr/>
                <p:nvPr/>
              </p:nvSpPr>
              <p:spPr bwMode="auto">
                <a:xfrm>
                  <a:off x="1943" y="1918"/>
                  <a:ext cx="19" cy="17"/>
                </a:xfrm>
                <a:custGeom>
                  <a:gdLst>
                    <a:gd name="T0" fmla="*/ 6 w 10"/>
                    <a:gd name="T1" fmla="*/ 6 h 9"/>
                    <a:gd name="T2" fmla="*/ 1 w 10"/>
                    <a:gd name="T3" fmla="*/ 8 h 9"/>
                    <a:gd name="T4" fmla="*/ 3 w 10"/>
                    <a:gd name="T5" fmla="*/ 3 h 9"/>
                    <a:gd name="T6" fmla="*/ 9 w 10"/>
                    <a:gd name="T7" fmla="*/ 1 h 9"/>
                    <a:gd name="T8" fmla="*/ 6 w 10"/>
                    <a:gd name="T9" fmla="*/ 6 h 9"/>
                  </a:gdLst>
                  <a:cxnLst>
                    <a:cxn ang="0">
                      <a:pos x="T0" y="T1"/>
                    </a:cxn>
                    <a:cxn ang="0">
                      <a:pos x="T2" y="T3"/>
                    </a:cxn>
                    <a:cxn ang="0">
                      <a:pos x="T4" y="T5"/>
                    </a:cxn>
                    <a:cxn ang="0">
                      <a:pos x="T6" y="T7"/>
                    </a:cxn>
                    <a:cxn ang="0">
                      <a:pos x="T8" y="T9"/>
                    </a:cxn>
                  </a:cxnLst>
                  <a:rect l="0" t="0" r="r" b="b"/>
                  <a:pathLst>
                    <a:path w="10" h="9">
                      <a:moveTo>
                        <a:pt x="6" y="6"/>
                      </a:moveTo>
                      <a:cubicBezTo>
                        <a:pt x="4" y="8"/>
                        <a:pt x="1" y="9"/>
                        <a:pt x="1" y="8"/>
                      </a:cubicBezTo>
                      <a:cubicBezTo>
                        <a:pt x="0" y="7"/>
                        <a:pt x="1" y="5"/>
                        <a:pt x="3" y="3"/>
                      </a:cubicBezTo>
                      <a:cubicBezTo>
                        <a:pt x="5" y="1"/>
                        <a:pt x="8" y="0"/>
                        <a:pt x="9" y="1"/>
                      </a:cubicBezTo>
                      <a:cubicBezTo>
                        <a:pt x="10" y="2"/>
                        <a:pt x="8" y="4"/>
                        <a:pt x="6"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27" name="Freeform 146">
                  <a:extLst>
                    <a:ext uri="{FF2B5EF4-FFF2-40B4-BE49-F238E27FC236}">
                      <a16:creationId xmlns:a16="http://schemas.microsoft.com/office/drawing/2014/main" id="{8D28D510-02C2-68A2-B98F-D408FDC8D532}"/>
                    </a:ext>
                  </a:extLst>
                </p:cNvPr>
                <p:cNvSpPr/>
                <p:nvPr/>
              </p:nvSpPr>
              <p:spPr bwMode="auto">
                <a:xfrm>
                  <a:off x="1878" y="1882"/>
                  <a:ext cx="11" cy="20"/>
                </a:xfrm>
                <a:custGeom>
                  <a:gdLst>
                    <a:gd name="T0" fmla="*/ 5 w 6"/>
                    <a:gd name="T1" fmla="*/ 5 h 11"/>
                    <a:gd name="T2" fmla="*/ 4 w 6"/>
                    <a:gd name="T3" fmla="*/ 11 h 11"/>
                    <a:gd name="T4" fmla="*/ 1 w 6"/>
                    <a:gd name="T5" fmla="*/ 6 h 11"/>
                    <a:gd name="T6" fmla="*/ 1 w 6"/>
                    <a:gd name="T7" fmla="*/ 1 h 11"/>
                    <a:gd name="T8" fmla="*/ 5 w 6"/>
                    <a:gd name="T9" fmla="*/ 5 h 11"/>
                  </a:gdLst>
                  <a:cxnLst>
                    <a:cxn ang="0">
                      <a:pos x="T0" y="T1"/>
                    </a:cxn>
                    <a:cxn ang="0">
                      <a:pos x="T2" y="T3"/>
                    </a:cxn>
                    <a:cxn ang="0">
                      <a:pos x="T4" y="T5"/>
                    </a:cxn>
                    <a:cxn ang="0">
                      <a:pos x="T6" y="T7"/>
                    </a:cxn>
                    <a:cxn ang="0">
                      <a:pos x="T8" y="T9"/>
                    </a:cxn>
                  </a:cxnLst>
                  <a:rect l="0" t="0" r="r" b="b"/>
                  <a:pathLst>
                    <a:path w="6" h="11">
                      <a:moveTo>
                        <a:pt x="5" y="5"/>
                      </a:moveTo>
                      <a:cubicBezTo>
                        <a:pt x="6" y="8"/>
                        <a:pt x="6" y="10"/>
                        <a:pt x="4" y="11"/>
                      </a:cubicBezTo>
                      <a:cubicBezTo>
                        <a:pt x="3" y="11"/>
                        <a:pt x="2" y="9"/>
                        <a:pt x="1" y="6"/>
                      </a:cubicBezTo>
                      <a:cubicBezTo>
                        <a:pt x="0" y="4"/>
                        <a:pt x="0" y="1"/>
                        <a:pt x="1" y="1"/>
                      </a:cubicBezTo>
                      <a:cubicBezTo>
                        <a:pt x="2" y="0"/>
                        <a:pt x="4" y="2"/>
                        <a:pt x="5" y="5"/>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28" name="Freeform 147">
                  <a:extLst>
                    <a:ext uri="{FF2B5EF4-FFF2-40B4-BE49-F238E27FC236}">
                      <a16:creationId xmlns:a16="http://schemas.microsoft.com/office/drawing/2014/main" id="{3234BBCA-6963-50D4-3A25-A24A52CEF454}"/>
                    </a:ext>
                  </a:extLst>
                </p:cNvPr>
                <p:cNvSpPr/>
                <p:nvPr/>
              </p:nvSpPr>
              <p:spPr bwMode="auto">
                <a:xfrm>
                  <a:off x="1885" y="1951"/>
                  <a:ext cx="13" cy="20"/>
                </a:xfrm>
                <a:custGeom>
                  <a:gdLst>
                    <a:gd name="T0" fmla="*/ 6 w 7"/>
                    <a:gd name="T1" fmla="*/ 5 h 11"/>
                    <a:gd name="T2" fmla="*/ 5 w 7"/>
                    <a:gd name="T3" fmla="*/ 11 h 11"/>
                    <a:gd name="T4" fmla="*/ 1 w 7"/>
                    <a:gd name="T5" fmla="*/ 6 h 11"/>
                    <a:gd name="T6" fmla="*/ 2 w 7"/>
                    <a:gd name="T7" fmla="*/ 0 h 11"/>
                    <a:gd name="T8" fmla="*/ 6 w 7"/>
                    <a:gd name="T9" fmla="*/ 5 h 11"/>
                  </a:gdLst>
                  <a:cxnLst>
                    <a:cxn ang="0">
                      <a:pos x="T0" y="T1"/>
                    </a:cxn>
                    <a:cxn ang="0">
                      <a:pos x="T2" y="T3"/>
                    </a:cxn>
                    <a:cxn ang="0">
                      <a:pos x="T4" y="T5"/>
                    </a:cxn>
                    <a:cxn ang="0">
                      <a:pos x="T6" y="T7"/>
                    </a:cxn>
                    <a:cxn ang="0">
                      <a:pos x="T8" y="T9"/>
                    </a:cxn>
                  </a:cxnLst>
                  <a:rect l="0" t="0" r="r" b="b"/>
                  <a:pathLst>
                    <a:path w="7" h="11">
                      <a:moveTo>
                        <a:pt x="6" y="5"/>
                      </a:moveTo>
                      <a:cubicBezTo>
                        <a:pt x="7" y="8"/>
                        <a:pt x="6" y="10"/>
                        <a:pt x="5" y="11"/>
                      </a:cubicBezTo>
                      <a:cubicBezTo>
                        <a:pt x="4" y="11"/>
                        <a:pt x="2" y="9"/>
                        <a:pt x="1" y="6"/>
                      </a:cubicBezTo>
                      <a:cubicBezTo>
                        <a:pt x="0" y="3"/>
                        <a:pt x="1" y="1"/>
                        <a:pt x="2" y="0"/>
                      </a:cubicBezTo>
                      <a:cubicBezTo>
                        <a:pt x="3" y="0"/>
                        <a:pt x="5" y="2"/>
                        <a:pt x="6" y="5"/>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29" name="Freeform 148">
                  <a:extLst>
                    <a:ext uri="{FF2B5EF4-FFF2-40B4-BE49-F238E27FC236}">
                      <a16:creationId xmlns:a16="http://schemas.microsoft.com/office/drawing/2014/main" id="{A0FC69D4-32E6-026A-6E50-7DFA0EEB2F9A}"/>
                    </a:ext>
                  </a:extLst>
                </p:cNvPr>
                <p:cNvSpPr/>
                <p:nvPr/>
              </p:nvSpPr>
              <p:spPr bwMode="auto">
                <a:xfrm>
                  <a:off x="1759" y="1770"/>
                  <a:ext cx="133" cy="55"/>
                </a:xfrm>
                <a:custGeom>
                  <a:gdLst>
                    <a:gd name="T0" fmla="*/ 46 w 73"/>
                    <a:gd name="T1" fmla="*/ 0 h 30"/>
                    <a:gd name="T2" fmla="*/ 19 w 73"/>
                    <a:gd name="T3" fmla="*/ 0 h 30"/>
                    <a:gd name="T4" fmla="*/ 4 w 73"/>
                    <a:gd name="T5" fmla="*/ 17 h 30"/>
                    <a:gd name="T6" fmla="*/ 5 w 73"/>
                    <a:gd name="T7" fmla="*/ 30 h 30"/>
                    <a:gd name="T8" fmla="*/ 12 w 73"/>
                    <a:gd name="T9" fmla="*/ 22 h 30"/>
                    <a:gd name="T10" fmla="*/ 38 w 73"/>
                    <a:gd name="T11" fmla="*/ 9 h 30"/>
                    <a:gd name="T12" fmla="*/ 47 w 73"/>
                    <a:gd name="T13" fmla="*/ 9 h 30"/>
                    <a:gd name="T14" fmla="*/ 62 w 73"/>
                    <a:gd name="T15" fmla="*/ 0 h 30"/>
                    <a:gd name="T16" fmla="*/ 46 w 73"/>
                    <a:gd name="T17" fmla="*/ 0 h 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30">
                      <a:moveTo>
                        <a:pt x="46" y="0"/>
                      </a:moveTo>
                      <a:cubicBezTo>
                        <a:pt x="33" y="0"/>
                        <a:pt x="19" y="0"/>
                        <a:pt x="19" y="0"/>
                      </a:cubicBezTo>
                      <a:cubicBezTo>
                        <a:pt x="14" y="1"/>
                        <a:pt x="11" y="6"/>
                        <a:pt x="4" y="17"/>
                      </a:cubicBezTo>
                      <a:cubicBezTo>
                        <a:pt x="0" y="24"/>
                        <a:pt x="2" y="30"/>
                        <a:pt x="5" y="30"/>
                      </a:cubicBezTo>
                      <a:cubicBezTo>
                        <a:pt x="7" y="30"/>
                        <a:pt x="10" y="27"/>
                        <a:pt x="12" y="22"/>
                      </a:cubicBezTo>
                      <a:cubicBezTo>
                        <a:pt x="15" y="10"/>
                        <a:pt x="26" y="9"/>
                        <a:pt x="38" y="9"/>
                      </a:cubicBezTo>
                      <a:cubicBezTo>
                        <a:pt x="41" y="9"/>
                        <a:pt x="44" y="9"/>
                        <a:pt x="47" y="9"/>
                      </a:cubicBezTo>
                      <a:cubicBezTo>
                        <a:pt x="62" y="9"/>
                        <a:pt x="73" y="2"/>
                        <a:pt x="62" y="0"/>
                      </a:cubicBezTo>
                      <a:cubicBezTo>
                        <a:pt x="59" y="0"/>
                        <a:pt x="53" y="0"/>
                        <a:pt x="46" y="0"/>
                      </a:cubicBezTo>
                    </a:path>
                  </a:pathLst>
                </a:custGeom>
                <a:solidFill>
                  <a:srgbClr val="752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30" name="Freeform 149">
                  <a:extLst>
                    <a:ext uri="{FF2B5EF4-FFF2-40B4-BE49-F238E27FC236}">
                      <a16:creationId xmlns:a16="http://schemas.microsoft.com/office/drawing/2014/main" id="{1DED839A-1D82-D9C3-F79B-54E6FED99677}"/>
                    </a:ext>
                  </a:extLst>
                </p:cNvPr>
                <p:cNvSpPr/>
                <p:nvPr/>
              </p:nvSpPr>
              <p:spPr bwMode="auto">
                <a:xfrm>
                  <a:off x="1954" y="1759"/>
                  <a:ext cx="176" cy="261"/>
                </a:xfrm>
                <a:custGeom>
                  <a:gdLst>
                    <a:gd name="T0" fmla="*/ 29 w 96"/>
                    <a:gd name="T1" fmla="*/ 0 h 143"/>
                    <a:gd name="T2" fmla="*/ 0 w 96"/>
                    <a:gd name="T3" fmla="*/ 72 h 143"/>
                    <a:gd name="T4" fmla="*/ 29 w 96"/>
                    <a:gd name="T5" fmla="*/ 143 h 143"/>
                    <a:gd name="T6" fmla="*/ 96 w 96"/>
                    <a:gd name="T7" fmla="*/ 143 h 143"/>
                    <a:gd name="T8" fmla="*/ 96 w 96"/>
                    <a:gd name="T9" fmla="*/ 0 h 143"/>
                    <a:gd name="T10" fmla="*/ 29 w 96"/>
                    <a:gd name="T11" fmla="*/ 0 h 143"/>
                  </a:gdLst>
                  <a:cxnLst>
                    <a:cxn ang="0">
                      <a:pos x="T0" y="T1"/>
                    </a:cxn>
                    <a:cxn ang="0">
                      <a:pos x="T2" y="T3"/>
                    </a:cxn>
                    <a:cxn ang="0">
                      <a:pos x="T4" y="T5"/>
                    </a:cxn>
                    <a:cxn ang="0">
                      <a:pos x="T6" y="T7"/>
                    </a:cxn>
                    <a:cxn ang="0">
                      <a:pos x="T8" y="T9"/>
                    </a:cxn>
                    <a:cxn ang="0">
                      <a:pos x="T10" y="T11"/>
                    </a:cxn>
                  </a:cxnLst>
                  <a:rect l="0" t="0" r="r" b="b"/>
                  <a:pathLst>
                    <a:path w="96" h="143">
                      <a:moveTo>
                        <a:pt x="29" y="0"/>
                      </a:moveTo>
                      <a:cubicBezTo>
                        <a:pt x="13" y="0"/>
                        <a:pt x="0" y="32"/>
                        <a:pt x="0" y="72"/>
                      </a:cubicBezTo>
                      <a:cubicBezTo>
                        <a:pt x="0" y="111"/>
                        <a:pt x="13" y="143"/>
                        <a:pt x="29" y="143"/>
                      </a:cubicBezTo>
                      <a:cubicBezTo>
                        <a:pt x="96" y="143"/>
                        <a:pt x="96" y="143"/>
                        <a:pt x="96" y="143"/>
                      </a:cubicBezTo>
                      <a:cubicBezTo>
                        <a:pt x="96" y="0"/>
                        <a:pt x="96" y="0"/>
                        <a:pt x="96" y="0"/>
                      </a:cubicBezTo>
                      <a:cubicBezTo>
                        <a:pt x="29" y="0"/>
                        <a:pt x="29" y="0"/>
                        <a:pt x="29" y="0"/>
                      </a:cubicBezTo>
                    </a:path>
                  </a:pathLst>
                </a:custGeom>
                <a:solidFill>
                  <a:srgbClr val="59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31" name="Freeform 150">
                  <a:extLst>
                    <a:ext uri="{FF2B5EF4-FFF2-40B4-BE49-F238E27FC236}">
                      <a16:creationId xmlns:a16="http://schemas.microsoft.com/office/drawing/2014/main" id="{74CA088C-25C3-686D-E546-C35CB91CE6AC}"/>
                    </a:ext>
                  </a:extLst>
                </p:cNvPr>
                <p:cNvSpPr/>
                <p:nvPr/>
              </p:nvSpPr>
              <p:spPr bwMode="auto">
                <a:xfrm>
                  <a:off x="1956" y="1898"/>
                  <a:ext cx="174" cy="122"/>
                </a:xfrm>
                <a:custGeom>
                  <a:gdLst>
                    <a:gd name="T0" fmla="*/ 95 w 95"/>
                    <a:gd name="T1" fmla="*/ 42 h 67"/>
                    <a:gd name="T2" fmla="*/ 74 w 95"/>
                    <a:gd name="T3" fmla="*/ 43 h 67"/>
                    <a:gd name="T4" fmla="*/ 0 w 95"/>
                    <a:gd name="T5" fmla="*/ 0 h 67"/>
                    <a:gd name="T6" fmla="*/ 28 w 95"/>
                    <a:gd name="T7" fmla="*/ 67 h 67"/>
                    <a:gd name="T8" fmla="*/ 95 w 95"/>
                    <a:gd name="T9" fmla="*/ 67 h 67"/>
                    <a:gd name="T10" fmla="*/ 95 w 95"/>
                    <a:gd name="T11" fmla="*/ 42 h 67"/>
                  </a:gdLst>
                  <a:cxnLst>
                    <a:cxn ang="0">
                      <a:pos x="T0" y="T1"/>
                    </a:cxn>
                    <a:cxn ang="0">
                      <a:pos x="T2" y="T3"/>
                    </a:cxn>
                    <a:cxn ang="0">
                      <a:pos x="T4" y="T5"/>
                    </a:cxn>
                    <a:cxn ang="0">
                      <a:pos x="T6" y="T7"/>
                    </a:cxn>
                    <a:cxn ang="0">
                      <a:pos x="T8" y="T9"/>
                    </a:cxn>
                    <a:cxn ang="0">
                      <a:pos x="T10" y="T11"/>
                    </a:cxn>
                  </a:cxnLst>
                  <a:rect l="0" t="0" r="r" b="b"/>
                  <a:pathLst>
                    <a:path w="95" h="67">
                      <a:moveTo>
                        <a:pt x="95" y="42"/>
                      </a:moveTo>
                      <a:cubicBezTo>
                        <a:pt x="89" y="42"/>
                        <a:pt x="82" y="42"/>
                        <a:pt x="74" y="43"/>
                      </a:cubicBezTo>
                      <a:cubicBezTo>
                        <a:pt x="17" y="49"/>
                        <a:pt x="0" y="0"/>
                        <a:pt x="0" y="0"/>
                      </a:cubicBezTo>
                      <a:cubicBezTo>
                        <a:pt x="0" y="38"/>
                        <a:pt x="13" y="67"/>
                        <a:pt x="28" y="67"/>
                      </a:cubicBezTo>
                      <a:cubicBezTo>
                        <a:pt x="95" y="67"/>
                        <a:pt x="95" y="67"/>
                        <a:pt x="95" y="67"/>
                      </a:cubicBezTo>
                      <a:lnTo>
                        <a:pt x="95" y="42"/>
                      </a:lnTo>
                      <a:close/>
                    </a:path>
                  </a:pathLst>
                </a:custGeom>
                <a:solidFill>
                  <a:srgbClr val="350F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32" name="Oval 151">
                  <a:extLst>
                    <a:ext uri="{FF2B5EF4-FFF2-40B4-BE49-F238E27FC236}">
                      <a16:creationId xmlns:a16="http://schemas.microsoft.com/office/drawing/2014/main" id="{FC8737F6-0D79-17A6-7EB9-80FD0A210884}"/>
                    </a:ext>
                  </a:extLst>
                </p:cNvPr>
                <p:cNvSpPr>
                  <a:spLocks noChangeArrowheads="1"/>
                </p:cNvSpPr>
                <p:nvPr/>
              </p:nvSpPr>
              <p:spPr bwMode="auto">
                <a:xfrm>
                  <a:off x="2078" y="1759"/>
                  <a:ext cx="104" cy="261"/>
                </a:xfrm>
                <a:prstGeom prst="ellipse">
                  <a:avLst/>
                </a:prstGeom>
                <a:solidFill>
                  <a:srgbClr val="350F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33" name="Oval 152">
                  <a:extLst>
                    <a:ext uri="{FF2B5EF4-FFF2-40B4-BE49-F238E27FC236}">
                      <a16:creationId xmlns:a16="http://schemas.microsoft.com/office/drawing/2014/main" id="{E0DFB13A-F6A8-DB43-829F-10FA594585B8}"/>
                    </a:ext>
                  </a:extLst>
                </p:cNvPr>
                <p:cNvSpPr>
                  <a:spLocks noChangeArrowheads="1"/>
                </p:cNvSpPr>
                <p:nvPr/>
              </p:nvSpPr>
              <p:spPr bwMode="auto">
                <a:xfrm>
                  <a:off x="2086" y="1768"/>
                  <a:ext cx="93" cy="245"/>
                </a:xfrm>
                <a:prstGeom prst="ellipse">
                  <a:avLst/>
                </a:prstGeom>
                <a:solidFill>
                  <a:srgbClr val="FFFE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34" name="Freeform 153">
                  <a:extLst>
                    <a:ext uri="{FF2B5EF4-FFF2-40B4-BE49-F238E27FC236}">
                      <a16:creationId xmlns:a16="http://schemas.microsoft.com/office/drawing/2014/main" id="{24AE8081-C8F2-43CF-5501-3222D907B97F}"/>
                    </a:ext>
                  </a:extLst>
                </p:cNvPr>
                <p:cNvSpPr/>
                <p:nvPr/>
              </p:nvSpPr>
              <p:spPr bwMode="auto">
                <a:xfrm>
                  <a:off x="2117" y="1810"/>
                  <a:ext cx="45" cy="66"/>
                </a:xfrm>
                <a:custGeom>
                  <a:gdLst>
                    <a:gd name="T0" fmla="*/ 0 w 25"/>
                    <a:gd name="T1" fmla="*/ 16 h 36"/>
                    <a:gd name="T2" fmla="*/ 9 w 25"/>
                    <a:gd name="T3" fmla="*/ 34 h 36"/>
                    <a:gd name="T4" fmla="*/ 24 w 25"/>
                    <a:gd name="T5" fmla="*/ 24 h 36"/>
                    <a:gd name="T6" fmla="*/ 16 w 25"/>
                    <a:gd name="T7" fmla="*/ 2 h 36"/>
                    <a:gd name="T8" fmla="*/ 0 w 25"/>
                    <a:gd name="T9" fmla="*/ 16 h 36"/>
                  </a:gdLst>
                  <a:cxnLst>
                    <a:cxn ang="0">
                      <a:pos x="T0" y="T1"/>
                    </a:cxn>
                    <a:cxn ang="0">
                      <a:pos x="T2" y="T3"/>
                    </a:cxn>
                    <a:cxn ang="0">
                      <a:pos x="T4" y="T5"/>
                    </a:cxn>
                    <a:cxn ang="0">
                      <a:pos x="T6" y="T7"/>
                    </a:cxn>
                    <a:cxn ang="0">
                      <a:pos x="T8" y="T9"/>
                    </a:cxn>
                  </a:cxnLst>
                  <a:rect l="0" t="0" r="r" b="b"/>
                  <a:pathLst>
                    <a:path w="25" h="36">
                      <a:moveTo>
                        <a:pt x="0" y="16"/>
                      </a:moveTo>
                      <a:cubicBezTo>
                        <a:pt x="0" y="16"/>
                        <a:pt x="2" y="31"/>
                        <a:pt x="9" y="34"/>
                      </a:cubicBezTo>
                      <a:cubicBezTo>
                        <a:pt x="16" y="36"/>
                        <a:pt x="24" y="27"/>
                        <a:pt x="24" y="24"/>
                      </a:cubicBezTo>
                      <a:cubicBezTo>
                        <a:pt x="25" y="20"/>
                        <a:pt x="20" y="5"/>
                        <a:pt x="16" y="2"/>
                      </a:cubicBezTo>
                      <a:cubicBezTo>
                        <a:pt x="11" y="0"/>
                        <a:pt x="0" y="16"/>
                        <a:pt x="0" y="16"/>
                      </a:cubicBezTo>
                      <a:close/>
                    </a:path>
                  </a:pathLst>
                </a:custGeom>
                <a:solidFill>
                  <a:srgbClr val="E05B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35" name="Freeform 154">
                  <a:extLst>
                    <a:ext uri="{FF2B5EF4-FFF2-40B4-BE49-F238E27FC236}">
                      <a16:creationId xmlns:a16="http://schemas.microsoft.com/office/drawing/2014/main" id="{680912CF-C71E-FC30-85F4-2A315259BC9D}"/>
                    </a:ext>
                  </a:extLst>
                </p:cNvPr>
                <p:cNvSpPr/>
                <p:nvPr/>
              </p:nvSpPr>
              <p:spPr bwMode="auto">
                <a:xfrm>
                  <a:off x="2128" y="1854"/>
                  <a:ext cx="36" cy="51"/>
                </a:xfrm>
                <a:custGeom>
                  <a:gdLst>
                    <a:gd name="T0" fmla="*/ 18 w 20"/>
                    <a:gd name="T1" fmla="*/ 0 h 28"/>
                    <a:gd name="T2" fmla="*/ 18 w 20"/>
                    <a:gd name="T3" fmla="*/ 17 h 28"/>
                    <a:gd name="T4" fmla="*/ 4 w 20"/>
                    <a:gd name="T5" fmla="*/ 27 h 28"/>
                    <a:gd name="T6" fmla="*/ 1 w 20"/>
                    <a:gd name="T7" fmla="*/ 4 h 28"/>
                    <a:gd name="T8" fmla="*/ 18 w 20"/>
                    <a:gd name="T9" fmla="*/ 0 h 28"/>
                  </a:gdLst>
                  <a:cxnLst>
                    <a:cxn ang="0">
                      <a:pos x="T0" y="T1"/>
                    </a:cxn>
                    <a:cxn ang="0">
                      <a:pos x="T2" y="T3"/>
                    </a:cxn>
                    <a:cxn ang="0">
                      <a:pos x="T4" y="T5"/>
                    </a:cxn>
                    <a:cxn ang="0">
                      <a:pos x="T6" y="T7"/>
                    </a:cxn>
                    <a:cxn ang="0">
                      <a:pos x="T8" y="T9"/>
                    </a:cxn>
                  </a:cxnLst>
                  <a:rect l="0" t="0" r="r" b="b"/>
                  <a:pathLst>
                    <a:path w="20" h="28">
                      <a:moveTo>
                        <a:pt x="18" y="0"/>
                      </a:moveTo>
                      <a:cubicBezTo>
                        <a:pt x="18" y="0"/>
                        <a:pt x="20" y="11"/>
                        <a:pt x="18" y="17"/>
                      </a:cubicBezTo>
                      <a:cubicBezTo>
                        <a:pt x="17" y="22"/>
                        <a:pt x="7" y="27"/>
                        <a:pt x="4" y="27"/>
                      </a:cubicBezTo>
                      <a:cubicBezTo>
                        <a:pt x="0" y="28"/>
                        <a:pt x="1" y="4"/>
                        <a:pt x="1" y="4"/>
                      </a:cubicBezTo>
                      <a:lnTo>
                        <a:pt x="18" y="0"/>
                      </a:lnTo>
                      <a:close/>
                    </a:path>
                  </a:pathLst>
                </a:custGeom>
                <a:solidFill>
                  <a:srgbClr val="FE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36" name="Freeform 155">
                  <a:extLst>
                    <a:ext uri="{FF2B5EF4-FFF2-40B4-BE49-F238E27FC236}">
                      <a16:creationId xmlns:a16="http://schemas.microsoft.com/office/drawing/2014/main" id="{F11D1393-C738-CDB0-13FF-2E5DC4C14008}"/>
                    </a:ext>
                  </a:extLst>
                </p:cNvPr>
                <p:cNvSpPr/>
                <p:nvPr/>
              </p:nvSpPr>
              <p:spPr bwMode="auto">
                <a:xfrm>
                  <a:off x="2106" y="1840"/>
                  <a:ext cx="42" cy="64"/>
                </a:xfrm>
                <a:custGeom>
                  <a:gdLst>
                    <a:gd name="T0" fmla="*/ 6 w 23"/>
                    <a:gd name="T1" fmla="*/ 0 h 35"/>
                    <a:gd name="T2" fmla="*/ 1 w 23"/>
                    <a:gd name="T3" fmla="*/ 20 h 35"/>
                    <a:gd name="T4" fmla="*/ 1 w 23"/>
                    <a:gd name="T5" fmla="*/ 26 h 35"/>
                    <a:gd name="T6" fmla="*/ 8 w 23"/>
                    <a:gd name="T7" fmla="*/ 35 h 35"/>
                    <a:gd name="T8" fmla="*/ 23 w 23"/>
                    <a:gd name="T9" fmla="*/ 27 h 35"/>
                    <a:gd name="T10" fmla="*/ 6 w 23"/>
                    <a:gd name="T11" fmla="*/ 0 h 35"/>
                  </a:gdLst>
                  <a:cxnLst>
                    <a:cxn ang="0">
                      <a:pos x="T0" y="T1"/>
                    </a:cxn>
                    <a:cxn ang="0">
                      <a:pos x="T2" y="T3"/>
                    </a:cxn>
                    <a:cxn ang="0">
                      <a:pos x="T4" y="T5"/>
                    </a:cxn>
                    <a:cxn ang="0">
                      <a:pos x="T6" y="T7"/>
                    </a:cxn>
                    <a:cxn ang="0">
                      <a:pos x="T8" y="T9"/>
                    </a:cxn>
                    <a:cxn ang="0">
                      <a:pos x="T10" y="T11"/>
                    </a:cxn>
                  </a:cxnLst>
                  <a:rect l="0" t="0" r="r" b="b"/>
                  <a:pathLst>
                    <a:path w="23" h="35">
                      <a:moveTo>
                        <a:pt x="6" y="0"/>
                      </a:moveTo>
                      <a:cubicBezTo>
                        <a:pt x="6" y="0"/>
                        <a:pt x="2" y="12"/>
                        <a:pt x="1" y="20"/>
                      </a:cubicBezTo>
                      <a:cubicBezTo>
                        <a:pt x="1" y="22"/>
                        <a:pt x="0" y="24"/>
                        <a:pt x="1" y="26"/>
                      </a:cubicBezTo>
                      <a:cubicBezTo>
                        <a:pt x="1" y="31"/>
                        <a:pt x="3" y="35"/>
                        <a:pt x="8" y="35"/>
                      </a:cubicBezTo>
                      <a:cubicBezTo>
                        <a:pt x="16" y="35"/>
                        <a:pt x="23" y="27"/>
                        <a:pt x="23" y="27"/>
                      </a:cubicBezTo>
                      <a:cubicBezTo>
                        <a:pt x="23" y="27"/>
                        <a:pt x="13" y="5"/>
                        <a:pt x="6" y="0"/>
                      </a:cubicBezTo>
                      <a:close/>
                    </a:path>
                  </a:pathLst>
                </a:custGeom>
                <a:solidFill>
                  <a:srgbClr val="5653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37" name="Freeform 156">
                  <a:extLst>
                    <a:ext uri="{FF2B5EF4-FFF2-40B4-BE49-F238E27FC236}">
                      <a16:creationId xmlns:a16="http://schemas.microsoft.com/office/drawing/2014/main" id="{D3C77266-977C-4A29-307A-DEB469CDC76B}"/>
                    </a:ext>
                  </a:extLst>
                </p:cNvPr>
                <p:cNvSpPr/>
                <p:nvPr/>
              </p:nvSpPr>
              <p:spPr bwMode="auto">
                <a:xfrm>
                  <a:off x="2115" y="1885"/>
                  <a:ext cx="46" cy="57"/>
                </a:xfrm>
                <a:custGeom>
                  <a:gdLst>
                    <a:gd name="T0" fmla="*/ 25 w 25"/>
                    <a:gd name="T1" fmla="*/ 0 h 31"/>
                    <a:gd name="T2" fmla="*/ 19 w 25"/>
                    <a:gd name="T3" fmla="*/ 26 h 31"/>
                    <a:gd name="T4" fmla="*/ 3 w 25"/>
                    <a:gd name="T5" fmla="*/ 31 h 31"/>
                    <a:gd name="T6" fmla="*/ 0 w 25"/>
                    <a:gd name="T7" fmla="*/ 4 h 31"/>
                    <a:gd name="T8" fmla="*/ 25 w 25"/>
                    <a:gd name="T9" fmla="*/ 0 h 31"/>
                  </a:gdLst>
                  <a:cxnLst>
                    <a:cxn ang="0">
                      <a:pos x="T0" y="T1"/>
                    </a:cxn>
                    <a:cxn ang="0">
                      <a:pos x="T2" y="T3"/>
                    </a:cxn>
                    <a:cxn ang="0">
                      <a:pos x="T4" y="T5"/>
                    </a:cxn>
                    <a:cxn ang="0">
                      <a:pos x="T6" y="T7"/>
                    </a:cxn>
                    <a:cxn ang="0">
                      <a:pos x="T8" y="T9"/>
                    </a:cxn>
                  </a:cxnLst>
                  <a:rect l="0" t="0" r="r" b="b"/>
                  <a:pathLst>
                    <a:path w="25" h="31">
                      <a:moveTo>
                        <a:pt x="25" y="0"/>
                      </a:moveTo>
                      <a:cubicBezTo>
                        <a:pt x="25" y="0"/>
                        <a:pt x="23" y="22"/>
                        <a:pt x="19" y="26"/>
                      </a:cubicBezTo>
                      <a:cubicBezTo>
                        <a:pt x="16" y="31"/>
                        <a:pt x="6" y="31"/>
                        <a:pt x="3" y="31"/>
                      </a:cubicBezTo>
                      <a:cubicBezTo>
                        <a:pt x="0" y="30"/>
                        <a:pt x="0" y="4"/>
                        <a:pt x="0" y="4"/>
                      </a:cubicBezTo>
                      <a:lnTo>
                        <a:pt x="25" y="0"/>
                      </a:lnTo>
                      <a:close/>
                    </a:path>
                  </a:pathLst>
                </a:custGeom>
                <a:solidFill>
                  <a:srgbClr val="8C2A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38" name="Freeform 157">
                  <a:extLst>
                    <a:ext uri="{FF2B5EF4-FFF2-40B4-BE49-F238E27FC236}">
                      <a16:creationId xmlns:a16="http://schemas.microsoft.com/office/drawing/2014/main" id="{21D25DA4-D7D7-0F79-6EDC-55DEAD32F331}"/>
                    </a:ext>
                  </a:extLst>
                </p:cNvPr>
                <p:cNvSpPr/>
                <p:nvPr/>
              </p:nvSpPr>
              <p:spPr bwMode="auto">
                <a:xfrm>
                  <a:off x="2109" y="1924"/>
                  <a:ext cx="46" cy="56"/>
                </a:xfrm>
                <a:custGeom>
                  <a:gdLst>
                    <a:gd name="T0" fmla="*/ 24 w 25"/>
                    <a:gd name="T1" fmla="*/ 0 h 31"/>
                    <a:gd name="T2" fmla="*/ 21 w 25"/>
                    <a:gd name="T3" fmla="*/ 23 h 31"/>
                    <a:gd name="T4" fmla="*/ 11 w 25"/>
                    <a:gd name="T5" fmla="*/ 28 h 31"/>
                    <a:gd name="T6" fmla="*/ 2 w 25"/>
                    <a:gd name="T7" fmla="*/ 10 h 31"/>
                    <a:gd name="T8" fmla="*/ 24 w 25"/>
                    <a:gd name="T9" fmla="*/ 0 h 31"/>
                  </a:gdLst>
                  <a:cxnLst>
                    <a:cxn ang="0">
                      <a:pos x="T0" y="T1"/>
                    </a:cxn>
                    <a:cxn ang="0">
                      <a:pos x="T2" y="T3"/>
                    </a:cxn>
                    <a:cxn ang="0">
                      <a:pos x="T4" y="T5"/>
                    </a:cxn>
                    <a:cxn ang="0">
                      <a:pos x="T6" y="T7"/>
                    </a:cxn>
                    <a:cxn ang="0">
                      <a:pos x="T8" y="T9"/>
                    </a:cxn>
                  </a:cxnLst>
                  <a:rect l="0" t="0" r="r" b="b"/>
                  <a:pathLst>
                    <a:path w="25" h="31">
                      <a:moveTo>
                        <a:pt x="24" y="0"/>
                      </a:moveTo>
                      <a:cubicBezTo>
                        <a:pt x="24" y="0"/>
                        <a:pt x="25" y="18"/>
                        <a:pt x="21" y="23"/>
                      </a:cubicBezTo>
                      <a:cubicBezTo>
                        <a:pt x="16" y="29"/>
                        <a:pt x="15" y="31"/>
                        <a:pt x="11" y="28"/>
                      </a:cubicBezTo>
                      <a:cubicBezTo>
                        <a:pt x="7" y="25"/>
                        <a:pt x="4" y="19"/>
                        <a:pt x="2" y="10"/>
                      </a:cubicBezTo>
                      <a:cubicBezTo>
                        <a:pt x="0" y="1"/>
                        <a:pt x="24" y="0"/>
                        <a:pt x="24" y="0"/>
                      </a:cubicBezTo>
                      <a:close/>
                    </a:path>
                  </a:pathLst>
                </a:custGeom>
                <a:solidFill>
                  <a:srgbClr val="F7C3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39" name="Freeform 158">
                  <a:extLst>
                    <a:ext uri="{FF2B5EF4-FFF2-40B4-BE49-F238E27FC236}">
                      <a16:creationId xmlns:a16="http://schemas.microsoft.com/office/drawing/2014/main" id="{A012DA23-91F3-EDD8-D1E0-2126E15CA5F3}"/>
                    </a:ext>
                  </a:extLst>
                </p:cNvPr>
                <p:cNvSpPr/>
                <p:nvPr/>
              </p:nvSpPr>
              <p:spPr bwMode="auto">
                <a:xfrm>
                  <a:off x="2104" y="1878"/>
                  <a:ext cx="22" cy="73"/>
                </a:xfrm>
                <a:custGeom>
                  <a:gdLst>
                    <a:gd name="T0" fmla="*/ 11 w 12"/>
                    <a:gd name="T1" fmla="*/ 6 h 40"/>
                    <a:gd name="T2" fmla="*/ 11 w 12"/>
                    <a:gd name="T3" fmla="*/ 34 h 40"/>
                    <a:gd name="T4" fmla="*/ 6 w 12"/>
                    <a:gd name="T5" fmla="*/ 38 h 40"/>
                    <a:gd name="T6" fmla="*/ 2 w 12"/>
                    <a:gd name="T7" fmla="*/ 5 h 40"/>
                    <a:gd name="T8" fmla="*/ 11 w 12"/>
                    <a:gd name="T9" fmla="*/ 6 h 40"/>
                  </a:gdLst>
                  <a:cxnLst>
                    <a:cxn ang="0">
                      <a:pos x="T0" y="T1"/>
                    </a:cxn>
                    <a:cxn ang="0">
                      <a:pos x="T2" y="T3"/>
                    </a:cxn>
                    <a:cxn ang="0">
                      <a:pos x="T4" y="T5"/>
                    </a:cxn>
                    <a:cxn ang="0">
                      <a:pos x="T6" y="T7"/>
                    </a:cxn>
                    <a:cxn ang="0">
                      <a:pos x="T8" y="T9"/>
                    </a:cxn>
                  </a:cxnLst>
                  <a:rect l="0" t="0" r="r" b="b"/>
                  <a:pathLst>
                    <a:path w="12" h="40">
                      <a:moveTo>
                        <a:pt x="11" y="6"/>
                      </a:moveTo>
                      <a:cubicBezTo>
                        <a:pt x="11" y="6"/>
                        <a:pt x="12" y="28"/>
                        <a:pt x="11" y="34"/>
                      </a:cubicBezTo>
                      <a:cubicBezTo>
                        <a:pt x="9" y="40"/>
                        <a:pt x="8" y="40"/>
                        <a:pt x="6" y="38"/>
                      </a:cubicBezTo>
                      <a:cubicBezTo>
                        <a:pt x="4" y="36"/>
                        <a:pt x="0" y="9"/>
                        <a:pt x="2" y="5"/>
                      </a:cubicBezTo>
                      <a:cubicBezTo>
                        <a:pt x="3" y="0"/>
                        <a:pt x="11" y="6"/>
                        <a:pt x="11" y="6"/>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40" name="Freeform 159">
                  <a:extLst>
                    <a:ext uri="{FF2B5EF4-FFF2-40B4-BE49-F238E27FC236}">
                      <a16:creationId xmlns:a16="http://schemas.microsoft.com/office/drawing/2014/main" id="{192A3414-F1FD-77B4-103E-B4624EBE8555}"/>
                    </a:ext>
                  </a:extLst>
                </p:cNvPr>
                <p:cNvSpPr/>
                <p:nvPr/>
              </p:nvSpPr>
              <p:spPr bwMode="auto">
                <a:xfrm>
                  <a:off x="2113" y="1790"/>
                  <a:ext cx="13" cy="19"/>
                </a:xfrm>
                <a:custGeom>
                  <a:gdLst>
                    <a:gd name="T0" fmla="*/ 5 w 7"/>
                    <a:gd name="T1" fmla="*/ 6 h 10"/>
                    <a:gd name="T2" fmla="*/ 1 w 7"/>
                    <a:gd name="T3" fmla="*/ 10 h 10"/>
                    <a:gd name="T4" fmla="*/ 2 w 7"/>
                    <a:gd name="T5" fmla="*/ 4 h 10"/>
                    <a:gd name="T6" fmla="*/ 6 w 7"/>
                    <a:gd name="T7" fmla="*/ 0 h 10"/>
                    <a:gd name="T8" fmla="*/ 5 w 7"/>
                    <a:gd name="T9" fmla="*/ 6 h 10"/>
                  </a:gdLst>
                  <a:cxnLst>
                    <a:cxn ang="0">
                      <a:pos x="T0" y="T1"/>
                    </a:cxn>
                    <a:cxn ang="0">
                      <a:pos x="T2" y="T3"/>
                    </a:cxn>
                    <a:cxn ang="0">
                      <a:pos x="T4" y="T5"/>
                    </a:cxn>
                    <a:cxn ang="0">
                      <a:pos x="T6" y="T7"/>
                    </a:cxn>
                    <a:cxn ang="0">
                      <a:pos x="T8" y="T9"/>
                    </a:cxn>
                  </a:cxnLst>
                  <a:rect l="0" t="0" r="r" b="b"/>
                  <a:pathLst>
                    <a:path w="7" h="10">
                      <a:moveTo>
                        <a:pt x="5" y="6"/>
                      </a:moveTo>
                      <a:cubicBezTo>
                        <a:pt x="4" y="9"/>
                        <a:pt x="2" y="10"/>
                        <a:pt x="1" y="10"/>
                      </a:cubicBezTo>
                      <a:cubicBezTo>
                        <a:pt x="0" y="9"/>
                        <a:pt x="0" y="6"/>
                        <a:pt x="2" y="4"/>
                      </a:cubicBezTo>
                      <a:cubicBezTo>
                        <a:pt x="3" y="1"/>
                        <a:pt x="5" y="0"/>
                        <a:pt x="6" y="0"/>
                      </a:cubicBezTo>
                      <a:cubicBezTo>
                        <a:pt x="7" y="1"/>
                        <a:pt x="7" y="4"/>
                        <a:pt x="5"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41" name="Freeform 160">
                  <a:extLst>
                    <a:ext uri="{FF2B5EF4-FFF2-40B4-BE49-F238E27FC236}">
                      <a16:creationId xmlns:a16="http://schemas.microsoft.com/office/drawing/2014/main" id="{5DFD5E61-721B-BA65-8B22-E14CF7DE41BA}"/>
                    </a:ext>
                  </a:extLst>
                </p:cNvPr>
                <p:cNvSpPr/>
                <p:nvPr/>
              </p:nvSpPr>
              <p:spPr bwMode="auto">
                <a:xfrm>
                  <a:off x="2144" y="1801"/>
                  <a:ext cx="20" cy="13"/>
                </a:xfrm>
                <a:custGeom>
                  <a:gdLst>
                    <a:gd name="T0" fmla="*/ 7 w 11"/>
                    <a:gd name="T1" fmla="*/ 2 h 7"/>
                    <a:gd name="T2" fmla="*/ 10 w 11"/>
                    <a:gd name="T3" fmla="*/ 6 h 7"/>
                    <a:gd name="T4" fmla="*/ 4 w 11"/>
                    <a:gd name="T5" fmla="*/ 5 h 7"/>
                    <a:gd name="T6" fmla="*/ 1 w 11"/>
                    <a:gd name="T7" fmla="*/ 1 h 7"/>
                    <a:gd name="T8" fmla="*/ 7 w 11"/>
                    <a:gd name="T9" fmla="*/ 2 h 7"/>
                  </a:gdLst>
                  <a:cxnLst>
                    <a:cxn ang="0">
                      <a:pos x="T0" y="T1"/>
                    </a:cxn>
                    <a:cxn ang="0">
                      <a:pos x="T2" y="T3"/>
                    </a:cxn>
                    <a:cxn ang="0">
                      <a:pos x="T4" y="T5"/>
                    </a:cxn>
                    <a:cxn ang="0">
                      <a:pos x="T6" y="T7"/>
                    </a:cxn>
                    <a:cxn ang="0">
                      <a:pos x="T8" y="T9"/>
                    </a:cxn>
                  </a:cxnLst>
                  <a:rect l="0" t="0" r="r" b="b"/>
                  <a:pathLst>
                    <a:path w="11" h="7">
                      <a:moveTo>
                        <a:pt x="7" y="2"/>
                      </a:moveTo>
                      <a:cubicBezTo>
                        <a:pt x="9" y="3"/>
                        <a:pt x="11" y="5"/>
                        <a:pt x="10" y="6"/>
                      </a:cubicBezTo>
                      <a:cubicBezTo>
                        <a:pt x="10" y="7"/>
                        <a:pt x="7" y="7"/>
                        <a:pt x="4" y="5"/>
                      </a:cubicBezTo>
                      <a:cubicBezTo>
                        <a:pt x="2" y="4"/>
                        <a:pt x="0" y="2"/>
                        <a:pt x="1" y="1"/>
                      </a:cubicBezTo>
                      <a:cubicBezTo>
                        <a:pt x="1" y="0"/>
                        <a:pt x="4" y="0"/>
                        <a:pt x="7" y="2"/>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42" name="Freeform 161">
                  <a:extLst>
                    <a:ext uri="{FF2B5EF4-FFF2-40B4-BE49-F238E27FC236}">
                      <a16:creationId xmlns:a16="http://schemas.microsoft.com/office/drawing/2014/main" id="{03238F33-01DE-F14E-7D8F-3340A2EC2955}"/>
                    </a:ext>
                  </a:extLst>
                </p:cNvPr>
                <p:cNvSpPr/>
                <p:nvPr/>
              </p:nvSpPr>
              <p:spPr bwMode="auto">
                <a:xfrm>
                  <a:off x="2117" y="1986"/>
                  <a:ext cx="20" cy="11"/>
                </a:xfrm>
                <a:custGeom>
                  <a:gdLst>
                    <a:gd name="T0" fmla="*/ 4 w 11"/>
                    <a:gd name="T1" fmla="*/ 5 h 6"/>
                    <a:gd name="T2" fmla="*/ 0 w 11"/>
                    <a:gd name="T3" fmla="*/ 1 h 6"/>
                    <a:gd name="T4" fmla="*/ 6 w 11"/>
                    <a:gd name="T5" fmla="*/ 1 h 6"/>
                    <a:gd name="T6" fmla="*/ 10 w 11"/>
                    <a:gd name="T7" fmla="*/ 5 h 6"/>
                    <a:gd name="T8" fmla="*/ 4 w 11"/>
                    <a:gd name="T9" fmla="*/ 5 h 6"/>
                  </a:gdLst>
                  <a:cxnLst>
                    <a:cxn ang="0">
                      <a:pos x="T0" y="T1"/>
                    </a:cxn>
                    <a:cxn ang="0">
                      <a:pos x="T2" y="T3"/>
                    </a:cxn>
                    <a:cxn ang="0">
                      <a:pos x="T4" y="T5"/>
                    </a:cxn>
                    <a:cxn ang="0">
                      <a:pos x="T6" y="T7"/>
                    </a:cxn>
                    <a:cxn ang="0">
                      <a:pos x="T8" y="T9"/>
                    </a:cxn>
                  </a:cxnLst>
                  <a:rect l="0" t="0" r="r" b="b"/>
                  <a:pathLst>
                    <a:path w="11" h="6">
                      <a:moveTo>
                        <a:pt x="4" y="5"/>
                      </a:moveTo>
                      <a:cubicBezTo>
                        <a:pt x="1" y="4"/>
                        <a:pt x="0" y="3"/>
                        <a:pt x="0" y="1"/>
                      </a:cubicBezTo>
                      <a:cubicBezTo>
                        <a:pt x="0" y="0"/>
                        <a:pt x="3" y="0"/>
                        <a:pt x="6" y="1"/>
                      </a:cubicBezTo>
                      <a:cubicBezTo>
                        <a:pt x="9" y="2"/>
                        <a:pt x="11" y="4"/>
                        <a:pt x="10" y="5"/>
                      </a:cubicBezTo>
                      <a:cubicBezTo>
                        <a:pt x="10" y="6"/>
                        <a:pt x="7" y="6"/>
                        <a:pt x="4" y="5"/>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43" name="Freeform 162">
                  <a:extLst>
                    <a:ext uri="{FF2B5EF4-FFF2-40B4-BE49-F238E27FC236}">
                      <a16:creationId xmlns:a16="http://schemas.microsoft.com/office/drawing/2014/main" id="{5F377C08-2351-C949-3ADC-E1A0751C5B27}"/>
                    </a:ext>
                  </a:extLst>
                </p:cNvPr>
                <p:cNvSpPr/>
                <p:nvPr/>
              </p:nvSpPr>
              <p:spPr bwMode="auto">
                <a:xfrm>
                  <a:off x="2128" y="1778"/>
                  <a:ext cx="20" cy="12"/>
                </a:xfrm>
                <a:custGeom>
                  <a:gdLst>
                    <a:gd name="T0" fmla="*/ 7 w 11"/>
                    <a:gd name="T1" fmla="*/ 1 h 7"/>
                    <a:gd name="T2" fmla="*/ 11 w 11"/>
                    <a:gd name="T3" fmla="*/ 5 h 7"/>
                    <a:gd name="T4" fmla="*/ 5 w 11"/>
                    <a:gd name="T5" fmla="*/ 6 h 7"/>
                    <a:gd name="T6" fmla="*/ 1 w 11"/>
                    <a:gd name="T7" fmla="*/ 2 h 7"/>
                    <a:gd name="T8" fmla="*/ 7 w 11"/>
                    <a:gd name="T9" fmla="*/ 1 h 7"/>
                  </a:gdLst>
                  <a:cxnLst>
                    <a:cxn ang="0">
                      <a:pos x="T0" y="T1"/>
                    </a:cxn>
                    <a:cxn ang="0">
                      <a:pos x="T2" y="T3"/>
                    </a:cxn>
                    <a:cxn ang="0">
                      <a:pos x="T4" y="T5"/>
                    </a:cxn>
                    <a:cxn ang="0">
                      <a:pos x="T6" y="T7"/>
                    </a:cxn>
                    <a:cxn ang="0">
                      <a:pos x="T8" y="T9"/>
                    </a:cxn>
                  </a:cxnLst>
                  <a:rect l="0" t="0" r="r" b="b"/>
                  <a:pathLst>
                    <a:path w="11" h="7">
                      <a:moveTo>
                        <a:pt x="7" y="1"/>
                      </a:moveTo>
                      <a:cubicBezTo>
                        <a:pt x="9" y="2"/>
                        <a:pt x="11" y="4"/>
                        <a:pt x="11" y="5"/>
                      </a:cubicBezTo>
                      <a:cubicBezTo>
                        <a:pt x="11" y="6"/>
                        <a:pt x="8" y="7"/>
                        <a:pt x="5" y="6"/>
                      </a:cubicBezTo>
                      <a:cubicBezTo>
                        <a:pt x="2" y="5"/>
                        <a:pt x="0" y="3"/>
                        <a:pt x="1" y="2"/>
                      </a:cubicBezTo>
                      <a:cubicBezTo>
                        <a:pt x="1" y="1"/>
                        <a:pt x="4" y="0"/>
                        <a:pt x="7" y="1"/>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44" name="Freeform 163">
                  <a:extLst>
                    <a:ext uri="{FF2B5EF4-FFF2-40B4-BE49-F238E27FC236}">
                      <a16:creationId xmlns:a16="http://schemas.microsoft.com/office/drawing/2014/main" id="{5DF65CE4-970A-9F37-D602-E75F7ED2EB4E}"/>
                    </a:ext>
                  </a:extLst>
                </p:cNvPr>
                <p:cNvSpPr/>
                <p:nvPr/>
              </p:nvSpPr>
              <p:spPr bwMode="auto">
                <a:xfrm>
                  <a:off x="2141" y="1977"/>
                  <a:ext cx="16" cy="18"/>
                </a:xfrm>
                <a:custGeom>
                  <a:gdLst>
                    <a:gd name="T0" fmla="*/ 3 w 9"/>
                    <a:gd name="T1" fmla="*/ 4 h 10"/>
                    <a:gd name="T2" fmla="*/ 8 w 9"/>
                    <a:gd name="T3" fmla="*/ 1 h 10"/>
                    <a:gd name="T4" fmla="*/ 6 w 9"/>
                    <a:gd name="T5" fmla="*/ 7 h 10"/>
                    <a:gd name="T6" fmla="*/ 1 w 9"/>
                    <a:gd name="T7" fmla="*/ 9 h 10"/>
                    <a:gd name="T8" fmla="*/ 3 w 9"/>
                    <a:gd name="T9" fmla="*/ 4 h 10"/>
                  </a:gdLst>
                  <a:cxnLst>
                    <a:cxn ang="0">
                      <a:pos x="T0" y="T1"/>
                    </a:cxn>
                    <a:cxn ang="0">
                      <a:pos x="T2" y="T3"/>
                    </a:cxn>
                    <a:cxn ang="0">
                      <a:pos x="T4" y="T5"/>
                    </a:cxn>
                    <a:cxn ang="0">
                      <a:pos x="T6" y="T7"/>
                    </a:cxn>
                    <a:cxn ang="0">
                      <a:pos x="T8" y="T9"/>
                    </a:cxn>
                  </a:cxnLst>
                  <a:rect l="0" t="0" r="r" b="b"/>
                  <a:pathLst>
                    <a:path w="9" h="10">
                      <a:moveTo>
                        <a:pt x="3" y="4"/>
                      </a:moveTo>
                      <a:cubicBezTo>
                        <a:pt x="5" y="1"/>
                        <a:pt x="8" y="0"/>
                        <a:pt x="8" y="1"/>
                      </a:cubicBezTo>
                      <a:cubicBezTo>
                        <a:pt x="9" y="2"/>
                        <a:pt x="8" y="5"/>
                        <a:pt x="6" y="7"/>
                      </a:cubicBezTo>
                      <a:cubicBezTo>
                        <a:pt x="4" y="9"/>
                        <a:pt x="2" y="10"/>
                        <a:pt x="1" y="9"/>
                      </a:cubicBezTo>
                      <a:cubicBezTo>
                        <a:pt x="0" y="8"/>
                        <a:pt x="1" y="6"/>
                        <a:pt x="3" y="4"/>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45" name="Freeform 164">
                  <a:extLst>
                    <a:ext uri="{FF2B5EF4-FFF2-40B4-BE49-F238E27FC236}">
                      <a16:creationId xmlns:a16="http://schemas.microsoft.com/office/drawing/2014/main" id="{6D5CB198-37DE-43E7-533E-BF17D2121802}"/>
                    </a:ext>
                  </a:extLst>
                </p:cNvPr>
                <p:cNvSpPr/>
                <p:nvPr/>
              </p:nvSpPr>
              <p:spPr bwMode="auto">
                <a:xfrm>
                  <a:off x="2155" y="1947"/>
                  <a:ext cx="9" cy="20"/>
                </a:xfrm>
                <a:custGeom>
                  <a:gdLst>
                    <a:gd name="T0" fmla="*/ 0 w 5"/>
                    <a:gd name="T1" fmla="*/ 6 h 11"/>
                    <a:gd name="T2" fmla="*/ 2 w 5"/>
                    <a:gd name="T3" fmla="*/ 0 h 11"/>
                    <a:gd name="T4" fmla="*/ 5 w 5"/>
                    <a:gd name="T5" fmla="*/ 5 h 11"/>
                    <a:gd name="T6" fmla="*/ 3 w 5"/>
                    <a:gd name="T7" fmla="*/ 11 h 11"/>
                    <a:gd name="T8" fmla="*/ 0 w 5"/>
                    <a:gd name="T9" fmla="*/ 6 h 11"/>
                  </a:gdLst>
                  <a:cxnLst>
                    <a:cxn ang="0">
                      <a:pos x="T0" y="T1"/>
                    </a:cxn>
                    <a:cxn ang="0">
                      <a:pos x="T2" y="T3"/>
                    </a:cxn>
                    <a:cxn ang="0">
                      <a:pos x="T4" y="T5"/>
                    </a:cxn>
                    <a:cxn ang="0">
                      <a:pos x="T6" y="T7"/>
                    </a:cxn>
                    <a:cxn ang="0">
                      <a:pos x="T8" y="T9"/>
                    </a:cxn>
                  </a:cxnLst>
                  <a:rect l="0" t="0" r="r" b="b"/>
                  <a:pathLst>
                    <a:path w="5" h="11">
                      <a:moveTo>
                        <a:pt x="0" y="6"/>
                      </a:moveTo>
                      <a:cubicBezTo>
                        <a:pt x="0" y="3"/>
                        <a:pt x="1" y="0"/>
                        <a:pt x="2" y="0"/>
                      </a:cubicBezTo>
                      <a:cubicBezTo>
                        <a:pt x="3" y="0"/>
                        <a:pt x="4" y="2"/>
                        <a:pt x="5" y="5"/>
                      </a:cubicBezTo>
                      <a:cubicBezTo>
                        <a:pt x="5" y="8"/>
                        <a:pt x="4" y="11"/>
                        <a:pt x="3" y="11"/>
                      </a:cubicBezTo>
                      <a:cubicBezTo>
                        <a:pt x="2" y="11"/>
                        <a:pt x="1" y="9"/>
                        <a:pt x="0"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46" name="Freeform 165">
                  <a:extLst>
                    <a:ext uri="{FF2B5EF4-FFF2-40B4-BE49-F238E27FC236}">
                      <a16:creationId xmlns:a16="http://schemas.microsoft.com/office/drawing/2014/main" id="{46032C87-E2DE-9EC4-9A0E-CC4940E69956}"/>
                    </a:ext>
                  </a:extLst>
                </p:cNvPr>
                <p:cNvSpPr/>
                <p:nvPr/>
              </p:nvSpPr>
              <p:spPr bwMode="auto">
                <a:xfrm>
                  <a:off x="2099" y="1821"/>
                  <a:ext cx="20" cy="11"/>
                </a:xfrm>
                <a:custGeom>
                  <a:gdLst>
                    <a:gd name="T0" fmla="*/ 7 w 11"/>
                    <a:gd name="T1" fmla="*/ 1 h 6"/>
                    <a:gd name="T2" fmla="*/ 11 w 11"/>
                    <a:gd name="T3" fmla="*/ 5 h 6"/>
                    <a:gd name="T4" fmla="*/ 5 w 11"/>
                    <a:gd name="T5" fmla="*/ 5 h 6"/>
                    <a:gd name="T6" fmla="*/ 1 w 11"/>
                    <a:gd name="T7" fmla="*/ 1 h 6"/>
                    <a:gd name="T8" fmla="*/ 7 w 11"/>
                    <a:gd name="T9" fmla="*/ 1 h 6"/>
                  </a:gdLst>
                  <a:cxnLst>
                    <a:cxn ang="0">
                      <a:pos x="T0" y="T1"/>
                    </a:cxn>
                    <a:cxn ang="0">
                      <a:pos x="T2" y="T3"/>
                    </a:cxn>
                    <a:cxn ang="0">
                      <a:pos x="T4" y="T5"/>
                    </a:cxn>
                    <a:cxn ang="0">
                      <a:pos x="T6" y="T7"/>
                    </a:cxn>
                    <a:cxn ang="0">
                      <a:pos x="T8" y="T9"/>
                    </a:cxn>
                  </a:cxnLst>
                  <a:rect l="0" t="0" r="r" b="b"/>
                  <a:pathLst>
                    <a:path w="11" h="6">
                      <a:moveTo>
                        <a:pt x="7" y="1"/>
                      </a:moveTo>
                      <a:cubicBezTo>
                        <a:pt x="9" y="2"/>
                        <a:pt x="11" y="4"/>
                        <a:pt x="11" y="5"/>
                      </a:cubicBezTo>
                      <a:cubicBezTo>
                        <a:pt x="11" y="6"/>
                        <a:pt x="8" y="6"/>
                        <a:pt x="5" y="5"/>
                      </a:cubicBezTo>
                      <a:cubicBezTo>
                        <a:pt x="2" y="4"/>
                        <a:pt x="0" y="2"/>
                        <a:pt x="1" y="1"/>
                      </a:cubicBezTo>
                      <a:cubicBezTo>
                        <a:pt x="1" y="0"/>
                        <a:pt x="4" y="0"/>
                        <a:pt x="7" y="1"/>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47" name="Freeform 166">
                  <a:extLst>
                    <a:ext uri="{FF2B5EF4-FFF2-40B4-BE49-F238E27FC236}">
                      <a16:creationId xmlns:a16="http://schemas.microsoft.com/office/drawing/2014/main" id="{EE9F315C-CE87-B1A8-8976-0960850506C0}"/>
                    </a:ext>
                  </a:extLst>
                </p:cNvPr>
                <p:cNvSpPr/>
                <p:nvPr/>
              </p:nvSpPr>
              <p:spPr bwMode="auto">
                <a:xfrm>
                  <a:off x="2095" y="1845"/>
                  <a:ext cx="9" cy="20"/>
                </a:xfrm>
                <a:custGeom>
                  <a:gdLst>
                    <a:gd name="T0" fmla="*/ 5 w 5"/>
                    <a:gd name="T1" fmla="*/ 6 h 11"/>
                    <a:gd name="T2" fmla="*/ 2 w 5"/>
                    <a:gd name="T3" fmla="*/ 11 h 11"/>
                    <a:gd name="T4" fmla="*/ 0 w 5"/>
                    <a:gd name="T5" fmla="*/ 5 h 11"/>
                    <a:gd name="T6" fmla="*/ 3 w 5"/>
                    <a:gd name="T7" fmla="*/ 0 h 11"/>
                    <a:gd name="T8" fmla="*/ 5 w 5"/>
                    <a:gd name="T9" fmla="*/ 6 h 11"/>
                  </a:gdLst>
                  <a:cxnLst>
                    <a:cxn ang="0">
                      <a:pos x="T0" y="T1"/>
                    </a:cxn>
                    <a:cxn ang="0">
                      <a:pos x="T2" y="T3"/>
                    </a:cxn>
                    <a:cxn ang="0">
                      <a:pos x="T4" y="T5"/>
                    </a:cxn>
                    <a:cxn ang="0">
                      <a:pos x="T6" y="T7"/>
                    </a:cxn>
                    <a:cxn ang="0">
                      <a:pos x="T8" y="T9"/>
                    </a:cxn>
                  </a:cxnLst>
                  <a:rect l="0" t="0" r="r" b="b"/>
                  <a:pathLst>
                    <a:path w="5" h="11">
                      <a:moveTo>
                        <a:pt x="5" y="6"/>
                      </a:moveTo>
                      <a:cubicBezTo>
                        <a:pt x="4" y="9"/>
                        <a:pt x="3" y="11"/>
                        <a:pt x="2" y="11"/>
                      </a:cubicBezTo>
                      <a:cubicBezTo>
                        <a:pt x="1" y="11"/>
                        <a:pt x="0" y="8"/>
                        <a:pt x="0" y="5"/>
                      </a:cubicBezTo>
                      <a:cubicBezTo>
                        <a:pt x="1" y="2"/>
                        <a:pt x="2" y="0"/>
                        <a:pt x="3" y="0"/>
                      </a:cubicBezTo>
                      <a:cubicBezTo>
                        <a:pt x="4" y="0"/>
                        <a:pt x="5" y="3"/>
                        <a:pt x="5"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48" name="Freeform 167">
                  <a:extLst>
                    <a:ext uri="{FF2B5EF4-FFF2-40B4-BE49-F238E27FC236}">
                      <a16:creationId xmlns:a16="http://schemas.microsoft.com/office/drawing/2014/main" id="{901BAD8C-E4F8-90DE-C232-5F4B825830AB}"/>
                    </a:ext>
                  </a:extLst>
                </p:cNvPr>
                <p:cNvSpPr/>
                <p:nvPr/>
              </p:nvSpPr>
              <p:spPr bwMode="auto">
                <a:xfrm>
                  <a:off x="2166" y="1876"/>
                  <a:ext cx="9" cy="20"/>
                </a:xfrm>
                <a:custGeom>
                  <a:gdLst>
                    <a:gd name="T0" fmla="*/ 4 w 5"/>
                    <a:gd name="T1" fmla="*/ 6 h 11"/>
                    <a:gd name="T2" fmla="*/ 1 w 5"/>
                    <a:gd name="T3" fmla="*/ 11 h 11"/>
                    <a:gd name="T4" fmla="*/ 0 w 5"/>
                    <a:gd name="T5" fmla="*/ 5 h 11"/>
                    <a:gd name="T6" fmla="*/ 3 w 5"/>
                    <a:gd name="T7" fmla="*/ 0 h 11"/>
                    <a:gd name="T8" fmla="*/ 4 w 5"/>
                    <a:gd name="T9" fmla="*/ 6 h 11"/>
                  </a:gdLst>
                  <a:cxnLst>
                    <a:cxn ang="0">
                      <a:pos x="T0" y="T1"/>
                    </a:cxn>
                    <a:cxn ang="0">
                      <a:pos x="T2" y="T3"/>
                    </a:cxn>
                    <a:cxn ang="0">
                      <a:pos x="T4" y="T5"/>
                    </a:cxn>
                    <a:cxn ang="0">
                      <a:pos x="T6" y="T7"/>
                    </a:cxn>
                    <a:cxn ang="0">
                      <a:pos x="T8" y="T9"/>
                    </a:cxn>
                  </a:cxnLst>
                  <a:rect l="0" t="0" r="r" b="b"/>
                  <a:pathLst>
                    <a:path w="5" h="11">
                      <a:moveTo>
                        <a:pt x="4" y="6"/>
                      </a:moveTo>
                      <a:cubicBezTo>
                        <a:pt x="4" y="9"/>
                        <a:pt x="3" y="11"/>
                        <a:pt x="1" y="11"/>
                      </a:cubicBezTo>
                      <a:cubicBezTo>
                        <a:pt x="0" y="11"/>
                        <a:pt x="0" y="8"/>
                        <a:pt x="0" y="5"/>
                      </a:cubicBezTo>
                      <a:cubicBezTo>
                        <a:pt x="0" y="2"/>
                        <a:pt x="2" y="0"/>
                        <a:pt x="3" y="0"/>
                      </a:cubicBezTo>
                      <a:cubicBezTo>
                        <a:pt x="4" y="0"/>
                        <a:pt x="5" y="3"/>
                        <a:pt x="4"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49" name="Freeform 168">
                  <a:extLst>
                    <a:ext uri="{FF2B5EF4-FFF2-40B4-BE49-F238E27FC236}">
                      <a16:creationId xmlns:a16="http://schemas.microsoft.com/office/drawing/2014/main" id="{A54F8ED0-5F34-11A0-FDA6-B0E7E5ED6536}"/>
                    </a:ext>
                  </a:extLst>
                </p:cNvPr>
                <p:cNvSpPr/>
                <p:nvPr/>
              </p:nvSpPr>
              <p:spPr bwMode="auto">
                <a:xfrm>
                  <a:off x="2162" y="1829"/>
                  <a:ext cx="11" cy="20"/>
                </a:xfrm>
                <a:custGeom>
                  <a:gdLst>
                    <a:gd name="T0" fmla="*/ 5 w 6"/>
                    <a:gd name="T1" fmla="*/ 5 h 11"/>
                    <a:gd name="T2" fmla="*/ 4 w 6"/>
                    <a:gd name="T3" fmla="*/ 11 h 11"/>
                    <a:gd name="T4" fmla="*/ 1 w 6"/>
                    <a:gd name="T5" fmla="*/ 6 h 11"/>
                    <a:gd name="T6" fmla="*/ 1 w 6"/>
                    <a:gd name="T7" fmla="*/ 1 h 11"/>
                    <a:gd name="T8" fmla="*/ 5 w 6"/>
                    <a:gd name="T9" fmla="*/ 5 h 11"/>
                  </a:gdLst>
                  <a:cxnLst>
                    <a:cxn ang="0">
                      <a:pos x="T0" y="T1"/>
                    </a:cxn>
                    <a:cxn ang="0">
                      <a:pos x="T2" y="T3"/>
                    </a:cxn>
                    <a:cxn ang="0">
                      <a:pos x="T4" y="T5"/>
                    </a:cxn>
                    <a:cxn ang="0">
                      <a:pos x="T6" y="T7"/>
                    </a:cxn>
                    <a:cxn ang="0">
                      <a:pos x="T8" y="T9"/>
                    </a:cxn>
                  </a:cxnLst>
                  <a:rect l="0" t="0" r="r" b="b"/>
                  <a:pathLst>
                    <a:path w="6" h="11">
                      <a:moveTo>
                        <a:pt x="5" y="5"/>
                      </a:moveTo>
                      <a:cubicBezTo>
                        <a:pt x="6" y="8"/>
                        <a:pt x="6" y="10"/>
                        <a:pt x="4" y="11"/>
                      </a:cubicBezTo>
                      <a:cubicBezTo>
                        <a:pt x="3" y="11"/>
                        <a:pt x="1" y="9"/>
                        <a:pt x="1" y="6"/>
                      </a:cubicBezTo>
                      <a:cubicBezTo>
                        <a:pt x="0" y="4"/>
                        <a:pt x="0" y="1"/>
                        <a:pt x="1" y="1"/>
                      </a:cubicBezTo>
                      <a:cubicBezTo>
                        <a:pt x="2" y="0"/>
                        <a:pt x="4" y="2"/>
                        <a:pt x="5" y="5"/>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50" name="Freeform 169">
                  <a:extLst>
                    <a:ext uri="{FF2B5EF4-FFF2-40B4-BE49-F238E27FC236}">
                      <a16:creationId xmlns:a16="http://schemas.microsoft.com/office/drawing/2014/main" id="{387A45EF-193F-33F2-5D91-5CAAAB1DAAC1}"/>
                    </a:ext>
                  </a:extLst>
                </p:cNvPr>
                <p:cNvSpPr/>
                <p:nvPr/>
              </p:nvSpPr>
              <p:spPr bwMode="auto">
                <a:xfrm>
                  <a:off x="2095" y="1918"/>
                  <a:ext cx="11" cy="20"/>
                </a:xfrm>
                <a:custGeom>
                  <a:gdLst>
                    <a:gd name="T0" fmla="*/ 5 w 6"/>
                    <a:gd name="T1" fmla="*/ 6 h 11"/>
                    <a:gd name="T2" fmla="*/ 2 w 6"/>
                    <a:gd name="T3" fmla="*/ 11 h 11"/>
                    <a:gd name="T4" fmla="*/ 1 w 6"/>
                    <a:gd name="T5" fmla="*/ 5 h 11"/>
                    <a:gd name="T6" fmla="*/ 4 w 6"/>
                    <a:gd name="T7" fmla="*/ 0 h 11"/>
                    <a:gd name="T8" fmla="*/ 5 w 6"/>
                    <a:gd name="T9" fmla="*/ 6 h 11"/>
                  </a:gdLst>
                  <a:cxnLst>
                    <a:cxn ang="0">
                      <a:pos x="T0" y="T1"/>
                    </a:cxn>
                    <a:cxn ang="0">
                      <a:pos x="T2" y="T3"/>
                    </a:cxn>
                    <a:cxn ang="0">
                      <a:pos x="T4" y="T5"/>
                    </a:cxn>
                    <a:cxn ang="0">
                      <a:pos x="T6" y="T7"/>
                    </a:cxn>
                    <a:cxn ang="0">
                      <a:pos x="T8" y="T9"/>
                    </a:cxn>
                  </a:cxnLst>
                  <a:rect l="0" t="0" r="r" b="b"/>
                  <a:pathLst>
                    <a:path w="6" h="11">
                      <a:moveTo>
                        <a:pt x="5" y="6"/>
                      </a:moveTo>
                      <a:cubicBezTo>
                        <a:pt x="5" y="9"/>
                        <a:pt x="4" y="11"/>
                        <a:pt x="2" y="11"/>
                      </a:cubicBezTo>
                      <a:cubicBezTo>
                        <a:pt x="1" y="11"/>
                        <a:pt x="0" y="8"/>
                        <a:pt x="1" y="5"/>
                      </a:cubicBezTo>
                      <a:cubicBezTo>
                        <a:pt x="1" y="2"/>
                        <a:pt x="2" y="0"/>
                        <a:pt x="4" y="0"/>
                      </a:cubicBezTo>
                      <a:cubicBezTo>
                        <a:pt x="5" y="0"/>
                        <a:pt x="6" y="3"/>
                        <a:pt x="5"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51" name="Freeform 170">
                  <a:extLst>
                    <a:ext uri="{FF2B5EF4-FFF2-40B4-BE49-F238E27FC236}">
                      <a16:creationId xmlns:a16="http://schemas.microsoft.com/office/drawing/2014/main" id="{4F47D026-1B2B-42D1-04B6-03963890B64A}"/>
                    </a:ext>
                  </a:extLst>
                </p:cNvPr>
                <p:cNvSpPr/>
                <p:nvPr/>
              </p:nvSpPr>
              <p:spPr bwMode="auto">
                <a:xfrm>
                  <a:off x="2157" y="1918"/>
                  <a:ext cx="18" cy="17"/>
                </a:xfrm>
                <a:custGeom>
                  <a:gdLst>
                    <a:gd name="T0" fmla="*/ 7 w 10"/>
                    <a:gd name="T1" fmla="*/ 6 h 9"/>
                    <a:gd name="T2" fmla="*/ 1 w 10"/>
                    <a:gd name="T3" fmla="*/ 8 h 9"/>
                    <a:gd name="T4" fmla="*/ 4 w 10"/>
                    <a:gd name="T5" fmla="*/ 3 h 9"/>
                    <a:gd name="T6" fmla="*/ 9 w 10"/>
                    <a:gd name="T7" fmla="*/ 1 h 9"/>
                    <a:gd name="T8" fmla="*/ 7 w 10"/>
                    <a:gd name="T9" fmla="*/ 6 h 9"/>
                  </a:gdLst>
                  <a:cxnLst>
                    <a:cxn ang="0">
                      <a:pos x="T0" y="T1"/>
                    </a:cxn>
                    <a:cxn ang="0">
                      <a:pos x="T2" y="T3"/>
                    </a:cxn>
                    <a:cxn ang="0">
                      <a:pos x="T4" y="T5"/>
                    </a:cxn>
                    <a:cxn ang="0">
                      <a:pos x="T6" y="T7"/>
                    </a:cxn>
                    <a:cxn ang="0">
                      <a:pos x="T8" y="T9"/>
                    </a:cxn>
                  </a:cxnLst>
                  <a:rect l="0" t="0" r="r" b="b"/>
                  <a:pathLst>
                    <a:path w="10" h="9">
                      <a:moveTo>
                        <a:pt x="7" y="6"/>
                      </a:moveTo>
                      <a:cubicBezTo>
                        <a:pt x="5" y="8"/>
                        <a:pt x="2" y="9"/>
                        <a:pt x="1" y="8"/>
                      </a:cubicBezTo>
                      <a:cubicBezTo>
                        <a:pt x="0" y="7"/>
                        <a:pt x="2" y="5"/>
                        <a:pt x="4" y="3"/>
                      </a:cubicBezTo>
                      <a:cubicBezTo>
                        <a:pt x="6" y="1"/>
                        <a:pt x="9" y="0"/>
                        <a:pt x="9" y="1"/>
                      </a:cubicBezTo>
                      <a:cubicBezTo>
                        <a:pt x="10" y="2"/>
                        <a:pt x="9" y="4"/>
                        <a:pt x="7"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52" name="Freeform 171">
                  <a:extLst>
                    <a:ext uri="{FF2B5EF4-FFF2-40B4-BE49-F238E27FC236}">
                      <a16:creationId xmlns:a16="http://schemas.microsoft.com/office/drawing/2014/main" id="{F3B96995-5155-57E7-060E-643509F4466D}"/>
                    </a:ext>
                  </a:extLst>
                </p:cNvPr>
                <p:cNvSpPr/>
                <p:nvPr/>
              </p:nvSpPr>
              <p:spPr bwMode="auto">
                <a:xfrm>
                  <a:off x="2091" y="1882"/>
                  <a:ext cx="11" cy="20"/>
                </a:xfrm>
                <a:custGeom>
                  <a:gdLst>
                    <a:gd name="T0" fmla="*/ 5 w 6"/>
                    <a:gd name="T1" fmla="*/ 5 h 11"/>
                    <a:gd name="T2" fmla="*/ 5 w 6"/>
                    <a:gd name="T3" fmla="*/ 11 h 11"/>
                    <a:gd name="T4" fmla="*/ 1 w 6"/>
                    <a:gd name="T5" fmla="*/ 6 h 11"/>
                    <a:gd name="T6" fmla="*/ 2 w 6"/>
                    <a:gd name="T7" fmla="*/ 1 h 11"/>
                    <a:gd name="T8" fmla="*/ 5 w 6"/>
                    <a:gd name="T9" fmla="*/ 5 h 11"/>
                  </a:gdLst>
                  <a:cxnLst>
                    <a:cxn ang="0">
                      <a:pos x="T0" y="T1"/>
                    </a:cxn>
                    <a:cxn ang="0">
                      <a:pos x="T2" y="T3"/>
                    </a:cxn>
                    <a:cxn ang="0">
                      <a:pos x="T4" y="T5"/>
                    </a:cxn>
                    <a:cxn ang="0">
                      <a:pos x="T6" y="T7"/>
                    </a:cxn>
                    <a:cxn ang="0">
                      <a:pos x="T8" y="T9"/>
                    </a:cxn>
                  </a:cxnLst>
                  <a:rect l="0" t="0" r="r" b="b"/>
                  <a:pathLst>
                    <a:path w="6" h="11">
                      <a:moveTo>
                        <a:pt x="5" y="5"/>
                      </a:moveTo>
                      <a:cubicBezTo>
                        <a:pt x="6" y="8"/>
                        <a:pt x="6" y="10"/>
                        <a:pt x="5" y="11"/>
                      </a:cubicBezTo>
                      <a:cubicBezTo>
                        <a:pt x="4" y="11"/>
                        <a:pt x="2" y="9"/>
                        <a:pt x="1" y="6"/>
                      </a:cubicBezTo>
                      <a:cubicBezTo>
                        <a:pt x="0" y="4"/>
                        <a:pt x="0" y="1"/>
                        <a:pt x="2" y="1"/>
                      </a:cubicBezTo>
                      <a:cubicBezTo>
                        <a:pt x="3" y="0"/>
                        <a:pt x="4" y="2"/>
                        <a:pt x="5" y="5"/>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53" name="Freeform 172">
                  <a:extLst>
                    <a:ext uri="{FF2B5EF4-FFF2-40B4-BE49-F238E27FC236}">
                      <a16:creationId xmlns:a16="http://schemas.microsoft.com/office/drawing/2014/main" id="{8A071177-CFC6-20FC-A94D-7BE0B460C39F}"/>
                    </a:ext>
                  </a:extLst>
                </p:cNvPr>
                <p:cNvSpPr/>
                <p:nvPr/>
              </p:nvSpPr>
              <p:spPr bwMode="auto">
                <a:xfrm>
                  <a:off x="2100" y="1951"/>
                  <a:ext cx="11" cy="20"/>
                </a:xfrm>
                <a:custGeom>
                  <a:gdLst>
                    <a:gd name="T0" fmla="*/ 5 w 6"/>
                    <a:gd name="T1" fmla="*/ 5 h 11"/>
                    <a:gd name="T2" fmla="*/ 5 w 6"/>
                    <a:gd name="T3" fmla="*/ 11 h 11"/>
                    <a:gd name="T4" fmla="*/ 1 w 6"/>
                    <a:gd name="T5" fmla="*/ 6 h 11"/>
                    <a:gd name="T6" fmla="*/ 1 w 6"/>
                    <a:gd name="T7" fmla="*/ 0 h 11"/>
                    <a:gd name="T8" fmla="*/ 5 w 6"/>
                    <a:gd name="T9" fmla="*/ 5 h 11"/>
                  </a:gdLst>
                  <a:cxnLst>
                    <a:cxn ang="0">
                      <a:pos x="T0" y="T1"/>
                    </a:cxn>
                    <a:cxn ang="0">
                      <a:pos x="T2" y="T3"/>
                    </a:cxn>
                    <a:cxn ang="0">
                      <a:pos x="T4" y="T5"/>
                    </a:cxn>
                    <a:cxn ang="0">
                      <a:pos x="T6" y="T7"/>
                    </a:cxn>
                    <a:cxn ang="0">
                      <a:pos x="T8" y="T9"/>
                    </a:cxn>
                  </a:cxnLst>
                  <a:rect l="0" t="0" r="r" b="b"/>
                  <a:pathLst>
                    <a:path w="6" h="11">
                      <a:moveTo>
                        <a:pt x="5" y="5"/>
                      </a:moveTo>
                      <a:cubicBezTo>
                        <a:pt x="6" y="8"/>
                        <a:pt x="6" y="10"/>
                        <a:pt x="5" y="11"/>
                      </a:cubicBezTo>
                      <a:cubicBezTo>
                        <a:pt x="4" y="11"/>
                        <a:pt x="2" y="9"/>
                        <a:pt x="1" y="6"/>
                      </a:cubicBezTo>
                      <a:cubicBezTo>
                        <a:pt x="0" y="3"/>
                        <a:pt x="0" y="1"/>
                        <a:pt x="1" y="0"/>
                      </a:cubicBezTo>
                      <a:cubicBezTo>
                        <a:pt x="3" y="0"/>
                        <a:pt x="4" y="2"/>
                        <a:pt x="5" y="5"/>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54" name="Freeform 173">
                  <a:extLst>
                    <a:ext uri="{FF2B5EF4-FFF2-40B4-BE49-F238E27FC236}">
                      <a16:creationId xmlns:a16="http://schemas.microsoft.com/office/drawing/2014/main" id="{164585EB-98D9-64C8-1EFC-9992F1FB0B2F}"/>
                    </a:ext>
                  </a:extLst>
                </p:cNvPr>
                <p:cNvSpPr/>
                <p:nvPr/>
              </p:nvSpPr>
              <p:spPr bwMode="auto">
                <a:xfrm>
                  <a:off x="1974" y="1770"/>
                  <a:ext cx="134" cy="55"/>
                </a:xfrm>
                <a:custGeom>
                  <a:gdLst>
                    <a:gd name="T0" fmla="*/ 46 w 73"/>
                    <a:gd name="T1" fmla="*/ 0 h 30"/>
                    <a:gd name="T2" fmla="*/ 18 w 73"/>
                    <a:gd name="T3" fmla="*/ 0 h 30"/>
                    <a:gd name="T4" fmla="*/ 4 w 73"/>
                    <a:gd name="T5" fmla="*/ 17 h 30"/>
                    <a:gd name="T6" fmla="*/ 5 w 73"/>
                    <a:gd name="T7" fmla="*/ 30 h 30"/>
                    <a:gd name="T8" fmla="*/ 11 w 73"/>
                    <a:gd name="T9" fmla="*/ 22 h 30"/>
                    <a:gd name="T10" fmla="*/ 37 w 73"/>
                    <a:gd name="T11" fmla="*/ 9 h 30"/>
                    <a:gd name="T12" fmla="*/ 46 w 73"/>
                    <a:gd name="T13" fmla="*/ 9 h 30"/>
                    <a:gd name="T14" fmla="*/ 62 w 73"/>
                    <a:gd name="T15" fmla="*/ 0 h 30"/>
                    <a:gd name="T16" fmla="*/ 46 w 73"/>
                    <a:gd name="T17" fmla="*/ 0 h 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30">
                      <a:moveTo>
                        <a:pt x="46" y="0"/>
                      </a:moveTo>
                      <a:cubicBezTo>
                        <a:pt x="33" y="0"/>
                        <a:pt x="18" y="0"/>
                        <a:pt x="18" y="0"/>
                      </a:cubicBezTo>
                      <a:cubicBezTo>
                        <a:pt x="14" y="1"/>
                        <a:pt x="10" y="6"/>
                        <a:pt x="4" y="17"/>
                      </a:cubicBezTo>
                      <a:cubicBezTo>
                        <a:pt x="0" y="24"/>
                        <a:pt x="1" y="30"/>
                        <a:pt x="5" y="30"/>
                      </a:cubicBezTo>
                      <a:cubicBezTo>
                        <a:pt x="7" y="30"/>
                        <a:pt x="9" y="27"/>
                        <a:pt x="11" y="22"/>
                      </a:cubicBezTo>
                      <a:cubicBezTo>
                        <a:pt x="15" y="10"/>
                        <a:pt x="25" y="9"/>
                        <a:pt x="37" y="9"/>
                      </a:cubicBezTo>
                      <a:cubicBezTo>
                        <a:pt x="40" y="9"/>
                        <a:pt x="43" y="9"/>
                        <a:pt x="46" y="9"/>
                      </a:cubicBezTo>
                      <a:cubicBezTo>
                        <a:pt x="62" y="9"/>
                        <a:pt x="73" y="2"/>
                        <a:pt x="62" y="0"/>
                      </a:cubicBezTo>
                      <a:cubicBezTo>
                        <a:pt x="58" y="0"/>
                        <a:pt x="52" y="0"/>
                        <a:pt x="46" y="0"/>
                      </a:cubicBezTo>
                    </a:path>
                  </a:pathLst>
                </a:custGeom>
                <a:solidFill>
                  <a:srgbClr val="752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55" name="Freeform 174">
                  <a:extLst>
                    <a:ext uri="{FF2B5EF4-FFF2-40B4-BE49-F238E27FC236}">
                      <a16:creationId xmlns:a16="http://schemas.microsoft.com/office/drawing/2014/main" id="{9B0A67CF-EFFC-3F36-8B4C-F148676D2721}"/>
                    </a:ext>
                  </a:extLst>
                </p:cNvPr>
                <p:cNvSpPr/>
                <p:nvPr/>
              </p:nvSpPr>
              <p:spPr bwMode="auto">
                <a:xfrm>
                  <a:off x="2170" y="1759"/>
                  <a:ext cx="175" cy="261"/>
                </a:xfrm>
                <a:custGeom>
                  <a:gdLst>
                    <a:gd name="T0" fmla="*/ 29 w 96"/>
                    <a:gd name="T1" fmla="*/ 0 h 143"/>
                    <a:gd name="T2" fmla="*/ 0 w 96"/>
                    <a:gd name="T3" fmla="*/ 72 h 143"/>
                    <a:gd name="T4" fmla="*/ 29 w 96"/>
                    <a:gd name="T5" fmla="*/ 143 h 143"/>
                    <a:gd name="T6" fmla="*/ 96 w 96"/>
                    <a:gd name="T7" fmla="*/ 143 h 143"/>
                    <a:gd name="T8" fmla="*/ 96 w 96"/>
                    <a:gd name="T9" fmla="*/ 0 h 143"/>
                    <a:gd name="T10" fmla="*/ 29 w 96"/>
                    <a:gd name="T11" fmla="*/ 0 h 143"/>
                  </a:gdLst>
                  <a:cxnLst>
                    <a:cxn ang="0">
                      <a:pos x="T0" y="T1"/>
                    </a:cxn>
                    <a:cxn ang="0">
                      <a:pos x="T2" y="T3"/>
                    </a:cxn>
                    <a:cxn ang="0">
                      <a:pos x="T4" y="T5"/>
                    </a:cxn>
                    <a:cxn ang="0">
                      <a:pos x="T6" y="T7"/>
                    </a:cxn>
                    <a:cxn ang="0">
                      <a:pos x="T8" y="T9"/>
                    </a:cxn>
                    <a:cxn ang="0">
                      <a:pos x="T10" y="T11"/>
                    </a:cxn>
                  </a:cxnLst>
                  <a:rect l="0" t="0" r="r" b="b"/>
                  <a:pathLst>
                    <a:path w="96" h="143">
                      <a:moveTo>
                        <a:pt x="29" y="0"/>
                      </a:moveTo>
                      <a:cubicBezTo>
                        <a:pt x="13" y="0"/>
                        <a:pt x="0" y="32"/>
                        <a:pt x="0" y="72"/>
                      </a:cubicBezTo>
                      <a:cubicBezTo>
                        <a:pt x="0" y="111"/>
                        <a:pt x="13" y="143"/>
                        <a:pt x="29" y="143"/>
                      </a:cubicBezTo>
                      <a:cubicBezTo>
                        <a:pt x="96" y="143"/>
                        <a:pt x="96" y="143"/>
                        <a:pt x="96" y="143"/>
                      </a:cubicBezTo>
                      <a:cubicBezTo>
                        <a:pt x="96" y="0"/>
                        <a:pt x="96" y="0"/>
                        <a:pt x="96" y="0"/>
                      </a:cubicBezTo>
                      <a:cubicBezTo>
                        <a:pt x="29" y="0"/>
                        <a:pt x="29" y="0"/>
                        <a:pt x="29" y="0"/>
                      </a:cubicBezTo>
                    </a:path>
                  </a:pathLst>
                </a:custGeom>
                <a:solidFill>
                  <a:srgbClr val="59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56" name="Freeform 175">
                  <a:extLst>
                    <a:ext uri="{FF2B5EF4-FFF2-40B4-BE49-F238E27FC236}">
                      <a16:creationId xmlns:a16="http://schemas.microsoft.com/office/drawing/2014/main" id="{6B0242E3-0A45-D20D-BBFF-1A6EBF097A56}"/>
                    </a:ext>
                  </a:extLst>
                </p:cNvPr>
                <p:cNvSpPr/>
                <p:nvPr/>
              </p:nvSpPr>
              <p:spPr bwMode="auto">
                <a:xfrm>
                  <a:off x="2170" y="1898"/>
                  <a:ext cx="175" cy="122"/>
                </a:xfrm>
                <a:custGeom>
                  <a:gdLst>
                    <a:gd name="T0" fmla="*/ 96 w 96"/>
                    <a:gd name="T1" fmla="*/ 42 h 67"/>
                    <a:gd name="T2" fmla="*/ 75 w 96"/>
                    <a:gd name="T3" fmla="*/ 43 h 67"/>
                    <a:gd name="T4" fmla="*/ 0 w 96"/>
                    <a:gd name="T5" fmla="*/ 0 h 67"/>
                    <a:gd name="T6" fmla="*/ 29 w 96"/>
                    <a:gd name="T7" fmla="*/ 67 h 67"/>
                    <a:gd name="T8" fmla="*/ 96 w 96"/>
                    <a:gd name="T9" fmla="*/ 67 h 67"/>
                    <a:gd name="T10" fmla="*/ 96 w 96"/>
                    <a:gd name="T11" fmla="*/ 42 h 67"/>
                  </a:gdLst>
                  <a:cxnLst>
                    <a:cxn ang="0">
                      <a:pos x="T0" y="T1"/>
                    </a:cxn>
                    <a:cxn ang="0">
                      <a:pos x="T2" y="T3"/>
                    </a:cxn>
                    <a:cxn ang="0">
                      <a:pos x="T4" y="T5"/>
                    </a:cxn>
                    <a:cxn ang="0">
                      <a:pos x="T6" y="T7"/>
                    </a:cxn>
                    <a:cxn ang="0">
                      <a:pos x="T8" y="T9"/>
                    </a:cxn>
                    <a:cxn ang="0">
                      <a:pos x="T10" y="T11"/>
                    </a:cxn>
                  </a:cxnLst>
                  <a:rect l="0" t="0" r="r" b="b"/>
                  <a:pathLst>
                    <a:path w="96" h="67">
                      <a:moveTo>
                        <a:pt x="96" y="42"/>
                      </a:moveTo>
                      <a:cubicBezTo>
                        <a:pt x="89" y="42"/>
                        <a:pt x="82" y="42"/>
                        <a:pt x="75" y="43"/>
                      </a:cubicBezTo>
                      <a:cubicBezTo>
                        <a:pt x="17" y="49"/>
                        <a:pt x="0" y="0"/>
                        <a:pt x="0" y="0"/>
                      </a:cubicBezTo>
                      <a:cubicBezTo>
                        <a:pt x="1" y="38"/>
                        <a:pt x="13" y="67"/>
                        <a:pt x="29" y="67"/>
                      </a:cubicBezTo>
                      <a:cubicBezTo>
                        <a:pt x="96" y="67"/>
                        <a:pt x="96" y="67"/>
                        <a:pt x="96" y="67"/>
                      </a:cubicBezTo>
                      <a:lnTo>
                        <a:pt x="96" y="42"/>
                      </a:lnTo>
                      <a:close/>
                    </a:path>
                  </a:pathLst>
                </a:custGeom>
                <a:solidFill>
                  <a:srgbClr val="350F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57" name="Oval 176">
                  <a:extLst>
                    <a:ext uri="{FF2B5EF4-FFF2-40B4-BE49-F238E27FC236}">
                      <a16:creationId xmlns:a16="http://schemas.microsoft.com/office/drawing/2014/main" id="{26F24356-2B62-0F6C-7EFB-9949C915FB47}"/>
                    </a:ext>
                  </a:extLst>
                </p:cNvPr>
                <p:cNvSpPr>
                  <a:spLocks noChangeArrowheads="1"/>
                </p:cNvSpPr>
                <p:nvPr/>
              </p:nvSpPr>
              <p:spPr bwMode="auto">
                <a:xfrm>
                  <a:off x="2294" y="1759"/>
                  <a:ext cx="104" cy="261"/>
                </a:xfrm>
                <a:prstGeom prst="ellipse">
                  <a:avLst/>
                </a:prstGeom>
                <a:solidFill>
                  <a:srgbClr val="350F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58" name="Oval 177">
                  <a:extLst>
                    <a:ext uri="{FF2B5EF4-FFF2-40B4-BE49-F238E27FC236}">
                      <a16:creationId xmlns:a16="http://schemas.microsoft.com/office/drawing/2014/main" id="{6779EFB7-96F3-F210-92D3-18A8CD079540}"/>
                    </a:ext>
                  </a:extLst>
                </p:cNvPr>
                <p:cNvSpPr>
                  <a:spLocks noChangeArrowheads="1"/>
                </p:cNvSpPr>
                <p:nvPr/>
              </p:nvSpPr>
              <p:spPr bwMode="auto">
                <a:xfrm>
                  <a:off x="2301" y="1768"/>
                  <a:ext cx="93" cy="245"/>
                </a:xfrm>
                <a:prstGeom prst="ellipse">
                  <a:avLst/>
                </a:prstGeom>
                <a:solidFill>
                  <a:srgbClr val="FFFE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59" name="Freeform 178">
                  <a:extLst>
                    <a:ext uri="{FF2B5EF4-FFF2-40B4-BE49-F238E27FC236}">
                      <a16:creationId xmlns:a16="http://schemas.microsoft.com/office/drawing/2014/main" id="{C6CFCC1C-1A7D-CABF-A3B2-D748DF70B0BA}"/>
                    </a:ext>
                  </a:extLst>
                </p:cNvPr>
                <p:cNvSpPr/>
                <p:nvPr/>
              </p:nvSpPr>
              <p:spPr bwMode="auto">
                <a:xfrm>
                  <a:off x="2332" y="1810"/>
                  <a:ext cx="44" cy="66"/>
                </a:xfrm>
                <a:custGeom>
                  <a:gdLst>
                    <a:gd name="T0" fmla="*/ 0 w 24"/>
                    <a:gd name="T1" fmla="*/ 16 h 36"/>
                    <a:gd name="T2" fmla="*/ 9 w 24"/>
                    <a:gd name="T3" fmla="*/ 34 h 36"/>
                    <a:gd name="T4" fmla="*/ 24 w 24"/>
                    <a:gd name="T5" fmla="*/ 24 h 36"/>
                    <a:gd name="T6" fmla="*/ 15 w 24"/>
                    <a:gd name="T7" fmla="*/ 2 h 36"/>
                    <a:gd name="T8" fmla="*/ 0 w 24"/>
                    <a:gd name="T9" fmla="*/ 16 h 36"/>
                  </a:gdLst>
                  <a:cxnLst>
                    <a:cxn ang="0">
                      <a:pos x="T0" y="T1"/>
                    </a:cxn>
                    <a:cxn ang="0">
                      <a:pos x="T2" y="T3"/>
                    </a:cxn>
                    <a:cxn ang="0">
                      <a:pos x="T4" y="T5"/>
                    </a:cxn>
                    <a:cxn ang="0">
                      <a:pos x="T6" y="T7"/>
                    </a:cxn>
                    <a:cxn ang="0">
                      <a:pos x="T8" y="T9"/>
                    </a:cxn>
                  </a:cxnLst>
                  <a:rect l="0" t="0" r="r" b="b"/>
                  <a:pathLst>
                    <a:path w="24" h="36">
                      <a:moveTo>
                        <a:pt x="0" y="16"/>
                      </a:moveTo>
                      <a:cubicBezTo>
                        <a:pt x="0" y="16"/>
                        <a:pt x="2" y="31"/>
                        <a:pt x="9" y="34"/>
                      </a:cubicBezTo>
                      <a:cubicBezTo>
                        <a:pt x="16" y="36"/>
                        <a:pt x="24" y="27"/>
                        <a:pt x="24" y="24"/>
                      </a:cubicBezTo>
                      <a:cubicBezTo>
                        <a:pt x="24" y="20"/>
                        <a:pt x="20" y="5"/>
                        <a:pt x="15" y="2"/>
                      </a:cubicBezTo>
                      <a:cubicBezTo>
                        <a:pt x="11" y="0"/>
                        <a:pt x="0" y="16"/>
                        <a:pt x="0" y="16"/>
                      </a:cubicBezTo>
                      <a:close/>
                    </a:path>
                  </a:pathLst>
                </a:custGeom>
                <a:solidFill>
                  <a:srgbClr val="E05B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60" name="Freeform 179">
                  <a:extLst>
                    <a:ext uri="{FF2B5EF4-FFF2-40B4-BE49-F238E27FC236}">
                      <a16:creationId xmlns:a16="http://schemas.microsoft.com/office/drawing/2014/main" id="{1C02B8B1-2232-7927-270B-6065162A0BDD}"/>
                    </a:ext>
                  </a:extLst>
                </p:cNvPr>
                <p:cNvSpPr/>
                <p:nvPr/>
              </p:nvSpPr>
              <p:spPr bwMode="auto">
                <a:xfrm>
                  <a:off x="2343" y="1854"/>
                  <a:ext cx="37" cy="51"/>
                </a:xfrm>
                <a:custGeom>
                  <a:gdLst>
                    <a:gd name="T0" fmla="*/ 18 w 20"/>
                    <a:gd name="T1" fmla="*/ 0 h 28"/>
                    <a:gd name="T2" fmla="*/ 18 w 20"/>
                    <a:gd name="T3" fmla="*/ 17 h 28"/>
                    <a:gd name="T4" fmla="*/ 3 w 20"/>
                    <a:gd name="T5" fmla="*/ 27 h 28"/>
                    <a:gd name="T6" fmla="*/ 1 w 20"/>
                    <a:gd name="T7" fmla="*/ 4 h 28"/>
                    <a:gd name="T8" fmla="*/ 18 w 20"/>
                    <a:gd name="T9" fmla="*/ 0 h 28"/>
                  </a:gdLst>
                  <a:cxnLst>
                    <a:cxn ang="0">
                      <a:pos x="T0" y="T1"/>
                    </a:cxn>
                    <a:cxn ang="0">
                      <a:pos x="T2" y="T3"/>
                    </a:cxn>
                    <a:cxn ang="0">
                      <a:pos x="T4" y="T5"/>
                    </a:cxn>
                    <a:cxn ang="0">
                      <a:pos x="T6" y="T7"/>
                    </a:cxn>
                    <a:cxn ang="0">
                      <a:pos x="T8" y="T9"/>
                    </a:cxn>
                  </a:cxnLst>
                  <a:rect l="0" t="0" r="r" b="b"/>
                  <a:pathLst>
                    <a:path w="20" h="28">
                      <a:moveTo>
                        <a:pt x="18" y="0"/>
                      </a:moveTo>
                      <a:cubicBezTo>
                        <a:pt x="18" y="0"/>
                        <a:pt x="20" y="11"/>
                        <a:pt x="18" y="17"/>
                      </a:cubicBezTo>
                      <a:cubicBezTo>
                        <a:pt x="16" y="22"/>
                        <a:pt x="6" y="27"/>
                        <a:pt x="3" y="27"/>
                      </a:cubicBezTo>
                      <a:cubicBezTo>
                        <a:pt x="0" y="28"/>
                        <a:pt x="1" y="4"/>
                        <a:pt x="1" y="4"/>
                      </a:cubicBezTo>
                      <a:lnTo>
                        <a:pt x="18" y="0"/>
                      </a:lnTo>
                      <a:close/>
                    </a:path>
                  </a:pathLst>
                </a:custGeom>
                <a:solidFill>
                  <a:srgbClr val="FE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61" name="Freeform 180">
                  <a:extLst>
                    <a:ext uri="{FF2B5EF4-FFF2-40B4-BE49-F238E27FC236}">
                      <a16:creationId xmlns:a16="http://schemas.microsoft.com/office/drawing/2014/main" id="{56CB29DE-CB23-9A8F-6C34-82BF669A2B8A}"/>
                    </a:ext>
                  </a:extLst>
                </p:cNvPr>
                <p:cNvSpPr/>
                <p:nvPr/>
              </p:nvSpPr>
              <p:spPr bwMode="auto">
                <a:xfrm>
                  <a:off x="2321" y="1840"/>
                  <a:ext cx="40" cy="64"/>
                </a:xfrm>
                <a:custGeom>
                  <a:gdLst>
                    <a:gd name="T0" fmla="*/ 6 w 22"/>
                    <a:gd name="T1" fmla="*/ 0 h 35"/>
                    <a:gd name="T2" fmla="*/ 0 w 22"/>
                    <a:gd name="T3" fmla="*/ 20 h 35"/>
                    <a:gd name="T4" fmla="*/ 0 w 22"/>
                    <a:gd name="T5" fmla="*/ 26 h 35"/>
                    <a:gd name="T6" fmla="*/ 8 w 22"/>
                    <a:gd name="T7" fmla="*/ 35 h 35"/>
                    <a:gd name="T8" fmla="*/ 22 w 22"/>
                    <a:gd name="T9" fmla="*/ 27 h 35"/>
                    <a:gd name="T10" fmla="*/ 6 w 22"/>
                    <a:gd name="T11" fmla="*/ 0 h 35"/>
                  </a:gdLst>
                  <a:cxnLst>
                    <a:cxn ang="0">
                      <a:pos x="T0" y="T1"/>
                    </a:cxn>
                    <a:cxn ang="0">
                      <a:pos x="T2" y="T3"/>
                    </a:cxn>
                    <a:cxn ang="0">
                      <a:pos x="T4" y="T5"/>
                    </a:cxn>
                    <a:cxn ang="0">
                      <a:pos x="T6" y="T7"/>
                    </a:cxn>
                    <a:cxn ang="0">
                      <a:pos x="T8" y="T9"/>
                    </a:cxn>
                    <a:cxn ang="0">
                      <a:pos x="T10" y="T11"/>
                    </a:cxn>
                  </a:cxnLst>
                  <a:rect l="0" t="0" r="r" b="b"/>
                  <a:pathLst>
                    <a:path w="22" h="35">
                      <a:moveTo>
                        <a:pt x="6" y="0"/>
                      </a:moveTo>
                      <a:cubicBezTo>
                        <a:pt x="6" y="0"/>
                        <a:pt x="1" y="12"/>
                        <a:pt x="0" y="20"/>
                      </a:cubicBezTo>
                      <a:cubicBezTo>
                        <a:pt x="0" y="22"/>
                        <a:pt x="0" y="24"/>
                        <a:pt x="0" y="26"/>
                      </a:cubicBezTo>
                      <a:cubicBezTo>
                        <a:pt x="1" y="31"/>
                        <a:pt x="3" y="35"/>
                        <a:pt x="8" y="35"/>
                      </a:cubicBezTo>
                      <a:cubicBezTo>
                        <a:pt x="15" y="35"/>
                        <a:pt x="22" y="27"/>
                        <a:pt x="22" y="27"/>
                      </a:cubicBezTo>
                      <a:cubicBezTo>
                        <a:pt x="22" y="27"/>
                        <a:pt x="12" y="5"/>
                        <a:pt x="6" y="0"/>
                      </a:cubicBezTo>
                      <a:close/>
                    </a:path>
                  </a:pathLst>
                </a:custGeom>
                <a:solidFill>
                  <a:srgbClr val="5653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62" name="Freeform 181">
                  <a:extLst>
                    <a:ext uri="{FF2B5EF4-FFF2-40B4-BE49-F238E27FC236}">
                      <a16:creationId xmlns:a16="http://schemas.microsoft.com/office/drawing/2014/main" id="{11E3B425-1DF5-0FAE-1796-A8D2CFDF17DF}"/>
                    </a:ext>
                  </a:extLst>
                </p:cNvPr>
                <p:cNvSpPr/>
                <p:nvPr/>
              </p:nvSpPr>
              <p:spPr bwMode="auto">
                <a:xfrm>
                  <a:off x="2328" y="1885"/>
                  <a:ext cx="48" cy="57"/>
                </a:xfrm>
                <a:custGeom>
                  <a:gdLst>
                    <a:gd name="T0" fmla="*/ 26 w 26"/>
                    <a:gd name="T1" fmla="*/ 0 h 31"/>
                    <a:gd name="T2" fmla="*/ 20 w 26"/>
                    <a:gd name="T3" fmla="*/ 26 h 31"/>
                    <a:gd name="T4" fmla="*/ 4 w 26"/>
                    <a:gd name="T5" fmla="*/ 31 h 31"/>
                    <a:gd name="T6" fmla="*/ 0 w 26"/>
                    <a:gd name="T7" fmla="*/ 4 h 31"/>
                    <a:gd name="T8" fmla="*/ 26 w 26"/>
                    <a:gd name="T9" fmla="*/ 0 h 31"/>
                  </a:gdLst>
                  <a:cxnLst>
                    <a:cxn ang="0">
                      <a:pos x="T0" y="T1"/>
                    </a:cxn>
                    <a:cxn ang="0">
                      <a:pos x="T2" y="T3"/>
                    </a:cxn>
                    <a:cxn ang="0">
                      <a:pos x="T4" y="T5"/>
                    </a:cxn>
                    <a:cxn ang="0">
                      <a:pos x="T6" y="T7"/>
                    </a:cxn>
                    <a:cxn ang="0">
                      <a:pos x="T8" y="T9"/>
                    </a:cxn>
                  </a:cxnLst>
                  <a:rect l="0" t="0" r="r" b="b"/>
                  <a:pathLst>
                    <a:path w="26" h="31">
                      <a:moveTo>
                        <a:pt x="26" y="0"/>
                      </a:moveTo>
                      <a:cubicBezTo>
                        <a:pt x="26" y="0"/>
                        <a:pt x="23" y="22"/>
                        <a:pt x="20" y="26"/>
                      </a:cubicBezTo>
                      <a:cubicBezTo>
                        <a:pt x="17" y="31"/>
                        <a:pt x="7" y="31"/>
                        <a:pt x="4" y="31"/>
                      </a:cubicBezTo>
                      <a:cubicBezTo>
                        <a:pt x="0" y="30"/>
                        <a:pt x="0" y="4"/>
                        <a:pt x="0" y="4"/>
                      </a:cubicBezTo>
                      <a:lnTo>
                        <a:pt x="26" y="0"/>
                      </a:lnTo>
                      <a:close/>
                    </a:path>
                  </a:pathLst>
                </a:custGeom>
                <a:solidFill>
                  <a:srgbClr val="8C2A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63" name="Freeform 182">
                  <a:extLst>
                    <a:ext uri="{FF2B5EF4-FFF2-40B4-BE49-F238E27FC236}">
                      <a16:creationId xmlns:a16="http://schemas.microsoft.com/office/drawing/2014/main" id="{FFAD0EF0-86F7-39CE-37FC-4DCEB9521CA1}"/>
                    </a:ext>
                  </a:extLst>
                </p:cNvPr>
                <p:cNvSpPr/>
                <p:nvPr/>
              </p:nvSpPr>
              <p:spPr bwMode="auto">
                <a:xfrm>
                  <a:off x="2325" y="1924"/>
                  <a:ext cx="45" cy="56"/>
                </a:xfrm>
                <a:custGeom>
                  <a:gdLst>
                    <a:gd name="T0" fmla="*/ 24 w 25"/>
                    <a:gd name="T1" fmla="*/ 0 h 31"/>
                    <a:gd name="T2" fmla="*/ 20 w 25"/>
                    <a:gd name="T3" fmla="*/ 23 h 31"/>
                    <a:gd name="T4" fmla="*/ 11 w 25"/>
                    <a:gd name="T5" fmla="*/ 28 h 31"/>
                    <a:gd name="T6" fmla="*/ 2 w 25"/>
                    <a:gd name="T7" fmla="*/ 10 h 31"/>
                    <a:gd name="T8" fmla="*/ 24 w 25"/>
                    <a:gd name="T9" fmla="*/ 0 h 31"/>
                  </a:gdLst>
                  <a:cxnLst>
                    <a:cxn ang="0">
                      <a:pos x="T0" y="T1"/>
                    </a:cxn>
                    <a:cxn ang="0">
                      <a:pos x="T2" y="T3"/>
                    </a:cxn>
                    <a:cxn ang="0">
                      <a:pos x="T4" y="T5"/>
                    </a:cxn>
                    <a:cxn ang="0">
                      <a:pos x="T6" y="T7"/>
                    </a:cxn>
                    <a:cxn ang="0">
                      <a:pos x="T8" y="T9"/>
                    </a:cxn>
                  </a:cxnLst>
                  <a:rect l="0" t="0" r="r" b="b"/>
                  <a:pathLst>
                    <a:path w="25" h="31">
                      <a:moveTo>
                        <a:pt x="24" y="0"/>
                      </a:moveTo>
                      <a:cubicBezTo>
                        <a:pt x="24" y="0"/>
                        <a:pt x="25" y="18"/>
                        <a:pt x="20" y="23"/>
                      </a:cubicBezTo>
                      <a:cubicBezTo>
                        <a:pt x="16" y="29"/>
                        <a:pt x="15" y="31"/>
                        <a:pt x="11" y="28"/>
                      </a:cubicBezTo>
                      <a:cubicBezTo>
                        <a:pt x="7" y="25"/>
                        <a:pt x="3" y="19"/>
                        <a:pt x="2" y="10"/>
                      </a:cubicBezTo>
                      <a:cubicBezTo>
                        <a:pt x="0" y="1"/>
                        <a:pt x="24" y="0"/>
                        <a:pt x="24" y="0"/>
                      </a:cubicBezTo>
                      <a:close/>
                    </a:path>
                  </a:pathLst>
                </a:custGeom>
                <a:solidFill>
                  <a:srgbClr val="F7C3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64" name="Freeform 183">
                  <a:extLst>
                    <a:ext uri="{FF2B5EF4-FFF2-40B4-BE49-F238E27FC236}">
                      <a16:creationId xmlns:a16="http://schemas.microsoft.com/office/drawing/2014/main" id="{D2A7DD8B-14DF-EFCE-1562-39AE340DAD47}"/>
                    </a:ext>
                  </a:extLst>
                </p:cNvPr>
                <p:cNvSpPr/>
                <p:nvPr/>
              </p:nvSpPr>
              <p:spPr bwMode="auto">
                <a:xfrm>
                  <a:off x="2319" y="1878"/>
                  <a:ext cx="22" cy="73"/>
                </a:xfrm>
                <a:custGeom>
                  <a:gdLst>
                    <a:gd name="T0" fmla="*/ 10 w 12"/>
                    <a:gd name="T1" fmla="*/ 6 h 40"/>
                    <a:gd name="T2" fmla="*/ 10 w 12"/>
                    <a:gd name="T3" fmla="*/ 34 h 40"/>
                    <a:gd name="T4" fmla="*/ 6 w 12"/>
                    <a:gd name="T5" fmla="*/ 38 h 40"/>
                    <a:gd name="T6" fmla="*/ 1 w 12"/>
                    <a:gd name="T7" fmla="*/ 5 h 40"/>
                    <a:gd name="T8" fmla="*/ 10 w 12"/>
                    <a:gd name="T9" fmla="*/ 6 h 40"/>
                  </a:gdLst>
                  <a:cxnLst>
                    <a:cxn ang="0">
                      <a:pos x="T0" y="T1"/>
                    </a:cxn>
                    <a:cxn ang="0">
                      <a:pos x="T2" y="T3"/>
                    </a:cxn>
                    <a:cxn ang="0">
                      <a:pos x="T4" y="T5"/>
                    </a:cxn>
                    <a:cxn ang="0">
                      <a:pos x="T6" y="T7"/>
                    </a:cxn>
                    <a:cxn ang="0">
                      <a:pos x="T8" y="T9"/>
                    </a:cxn>
                  </a:cxnLst>
                  <a:rect l="0" t="0" r="r" b="b"/>
                  <a:pathLst>
                    <a:path w="12" h="40">
                      <a:moveTo>
                        <a:pt x="10" y="6"/>
                      </a:moveTo>
                      <a:cubicBezTo>
                        <a:pt x="10" y="6"/>
                        <a:pt x="12" y="28"/>
                        <a:pt x="10" y="34"/>
                      </a:cubicBezTo>
                      <a:cubicBezTo>
                        <a:pt x="9" y="40"/>
                        <a:pt x="8" y="40"/>
                        <a:pt x="6" y="38"/>
                      </a:cubicBezTo>
                      <a:cubicBezTo>
                        <a:pt x="4" y="36"/>
                        <a:pt x="0" y="9"/>
                        <a:pt x="1" y="5"/>
                      </a:cubicBezTo>
                      <a:cubicBezTo>
                        <a:pt x="2" y="0"/>
                        <a:pt x="10" y="6"/>
                        <a:pt x="10" y="6"/>
                      </a:cubicBezTo>
                      <a:close/>
                    </a:path>
                  </a:pathLst>
                </a:custGeom>
                <a:solidFill>
                  <a:srgbClr val="7D8E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65" name="Freeform 184">
                  <a:extLst>
                    <a:ext uri="{FF2B5EF4-FFF2-40B4-BE49-F238E27FC236}">
                      <a16:creationId xmlns:a16="http://schemas.microsoft.com/office/drawing/2014/main" id="{98918149-5B2D-6F3E-3309-4E89EFCA4A17}"/>
                    </a:ext>
                  </a:extLst>
                </p:cNvPr>
                <p:cNvSpPr/>
                <p:nvPr/>
              </p:nvSpPr>
              <p:spPr bwMode="auto">
                <a:xfrm>
                  <a:off x="2327" y="1790"/>
                  <a:ext cx="14" cy="19"/>
                </a:xfrm>
                <a:custGeom>
                  <a:gdLst>
                    <a:gd name="T0" fmla="*/ 6 w 8"/>
                    <a:gd name="T1" fmla="*/ 6 h 10"/>
                    <a:gd name="T2" fmla="*/ 1 w 8"/>
                    <a:gd name="T3" fmla="*/ 10 h 10"/>
                    <a:gd name="T4" fmla="*/ 2 w 8"/>
                    <a:gd name="T5" fmla="*/ 4 h 10"/>
                    <a:gd name="T6" fmla="*/ 7 w 8"/>
                    <a:gd name="T7" fmla="*/ 0 h 10"/>
                    <a:gd name="T8" fmla="*/ 6 w 8"/>
                    <a:gd name="T9" fmla="*/ 6 h 10"/>
                  </a:gdLst>
                  <a:cxnLst>
                    <a:cxn ang="0">
                      <a:pos x="T0" y="T1"/>
                    </a:cxn>
                    <a:cxn ang="0">
                      <a:pos x="T2" y="T3"/>
                    </a:cxn>
                    <a:cxn ang="0">
                      <a:pos x="T4" y="T5"/>
                    </a:cxn>
                    <a:cxn ang="0">
                      <a:pos x="T6" y="T7"/>
                    </a:cxn>
                    <a:cxn ang="0">
                      <a:pos x="T8" y="T9"/>
                    </a:cxn>
                  </a:cxnLst>
                  <a:rect l="0" t="0" r="r" b="b"/>
                  <a:pathLst>
                    <a:path w="8" h="10">
                      <a:moveTo>
                        <a:pt x="6" y="6"/>
                      </a:moveTo>
                      <a:cubicBezTo>
                        <a:pt x="5" y="9"/>
                        <a:pt x="2" y="10"/>
                        <a:pt x="1" y="10"/>
                      </a:cubicBezTo>
                      <a:cubicBezTo>
                        <a:pt x="0" y="9"/>
                        <a:pt x="1" y="6"/>
                        <a:pt x="2" y="4"/>
                      </a:cubicBezTo>
                      <a:cubicBezTo>
                        <a:pt x="4" y="1"/>
                        <a:pt x="6" y="0"/>
                        <a:pt x="7" y="0"/>
                      </a:cubicBezTo>
                      <a:cubicBezTo>
                        <a:pt x="8" y="1"/>
                        <a:pt x="8" y="4"/>
                        <a:pt x="6"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66" name="Freeform 185">
                  <a:extLst>
                    <a:ext uri="{FF2B5EF4-FFF2-40B4-BE49-F238E27FC236}">
                      <a16:creationId xmlns:a16="http://schemas.microsoft.com/office/drawing/2014/main" id="{47563CE0-E459-2368-2D56-73B75379259A}"/>
                    </a:ext>
                  </a:extLst>
                </p:cNvPr>
                <p:cNvSpPr/>
                <p:nvPr/>
              </p:nvSpPr>
              <p:spPr bwMode="auto">
                <a:xfrm>
                  <a:off x="2359" y="1801"/>
                  <a:ext cx="19" cy="13"/>
                </a:xfrm>
                <a:custGeom>
                  <a:gdLst>
                    <a:gd name="T0" fmla="*/ 6 w 10"/>
                    <a:gd name="T1" fmla="*/ 2 h 7"/>
                    <a:gd name="T2" fmla="*/ 10 w 10"/>
                    <a:gd name="T3" fmla="*/ 6 h 7"/>
                    <a:gd name="T4" fmla="*/ 4 w 10"/>
                    <a:gd name="T5" fmla="*/ 5 h 7"/>
                    <a:gd name="T6" fmla="*/ 0 w 10"/>
                    <a:gd name="T7" fmla="*/ 1 h 7"/>
                    <a:gd name="T8" fmla="*/ 6 w 10"/>
                    <a:gd name="T9" fmla="*/ 2 h 7"/>
                  </a:gdLst>
                  <a:cxnLst>
                    <a:cxn ang="0">
                      <a:pos x="T0" y="T1"/>
                    </a:cxn>
                    <a:cxn ang="0">
                      <a:pos x="T2" y="T3"/>
                    </a:cxn>
                    <a:cxn ang="0">
                      <a:pos x="T4" y="T5"/>
                    </a:cxn>
                    <a:cxn ang="0">
                      <a:pos x="T6" y="T7"/>
                    </a:cxn>
                    <a:cxn ang="0">
                      <a:pos x="T8" y="T9"/>
                    </a:cxn>
                  </a:cxnLst>
                  <a:rect l="0" t="0" r="r" b="b"/>
                  <a:pathLst>
                    <a:path w="10" h="7">
                      <a:moveTo>
                        <a:pt x="6" y="2"/>
                      </a:moveTo>
                      <a:cubicBezTo>
                        <a:pt x="9" y="3"/>
                        <a:pt x="10" y="5"/>
                        <a:pt x="10" y="6"/>
                      </a:cubicBezTo>
                      <a:cubicBezTo>
                        <a:pt x="9" y="7"/>
                        <a:pt x="7" y="7"/>
                        <a:pt x="4" y="5"/>
                      </a:cubicBezTo>
                      <a:cubicBezTo>
                        <a:pt x="1" y="4"/>
                        <a:pt x="0" y="2"/>
                        <a:pt x="0" y="1"/>
                      </a:cubicBezTo>
                      <a:cubicBezTo>
                        <a:pt x="1" y="0"/>
                        <a:pt x="4" y="0"/>
                        <a:pt x="6" y="2"/>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67" name="Freeform 186">
                  <a:extLst>
                    <a:ext uri="{FF2B5EF4-FFF2-40B4-BE49-F238E27FC236}">
                      <a16:creationId xmlns:a16="http://schemas.microsoft.com/office/drawing/2014/main" id="{91830AE0-23D8-1638-F251-CF7D333E7CC6}"/>
                    </a:ext>
                  </a:extLst>
                </p:cNvPr>
                <p:cNvSpPr/>
                <p:nvPr/>
              </p:nvSpPr>
              <p:spPr bwMode="auto">
                <a:xfrm>
                  <a:off x="2330" y="1986"/>
                  <a:ext cx="20" cy="11"/>
                </a:xfrm>
                <a:custGeom>
                  <a:gdLst>
                    <a:gd name="T0" fmla="*/ 5 w 11"/>
                    <a:gd name="T1" fmla="*/ 5 h 6"/>
                    <a:gd name="T2" fmla="*/ 1 w 11"/>
                    <a:gd name="T3" fmla="*/ 1 h 6"/>
                    <a:gd name="T4" fmla="*/ 6 w 11"/>
                    <a:gd name="T5" fmla="*/ 1 h 6"/>
                    <a:gd name="T6" fmla="*/ 11 w 11"/>
                    <a:gd name="T7" fmla="*/ 5 h 6"/>
                    <a:gd name="T8" fmla="*/ 5 w 11"/>
                    <a:gd name="T9" fmla="*/ 5 h 6"/>
                  </a:gdLst>
                  <a:cxnLst>
                    <a:cxn ang="0">
                      <a:pos x="T0" y="T1"/>
                    </a:cxn>
                    <a:cxn ang="0">
                      <a:pos x="T2" y="T3"/>
                    </a:cxn>
                    <a:cxn ang="0">
                      <a:pos x="T4" y="T5"/>
                    </a:cxn>
                    <a:cxn ang="0">
                      <a:pos x="T6" y="T7"/>
                    </a:cxn>
                    <a:cxn ang="0">
                      <a:pos x="T8" y="T9"/>
                    </a:cxn>
                  </a:cxnLst>
                  <a:rect l="0" t="0" r="r" b="b"/>
                  <a:pathLst>
                    <a:path w="11" h="6">
                      <a:moveTo>
                        <a:pt x="5" y="5"/>
                      </a:moveTo>
                      <a:cubicBezTo>
                        <a:pt x="2" y="4"/>
                        <a:pt x="0" y="3"/>
                        <a:pt x="1" y="1"/>
                      </a:cubicBezTo>
                      <a:cubicBezTo>
                        <a:pt x="1" y="0"/>
                        <a:pt x="4" y="0"/>
                        <a:pt x="6" y="1"/>
                      </a:cubicBezTo>
                      <a:cubicBezTo>
                        <a:pt x="9" y="2"/>
                        <a:pt x="11" y="4"/>
                        <a:pt x="11" y="5"/>
                      </a:cubicBezTo>
                      <a:cubicBezTo>
                        <a:pt x="10" y="6"/>
                        <a:pt x="8" y="6"/>
                        <a:pt x="5" y="5"/>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68" name="Freeform 187">
                  <a:extLst>
                    <a:ext uri="{FF2B5EF4-FFF2-40B4-BE49-F238E27FC236}">
                      <a16:creationId xmlns:a16="http://schemas.microsoft.com/office/drawing/2014/main" id="{35CDE2B8-FBA9-2138-B5EF-8EFB82DF045C}"/>
                    </a:ext>
                  </a:extLst>
                </p:cNvPr>
                <p:cNvSpPr/>
                <p:nvPr/>
              </p:nvSpPr>
              <p:spPr bwMode="auto">
                <a:xfrm>
                  <a:off x="2343" y="1778"/>
                  <a:ext cx="20" cy="12"/>
                </a:xfrm>
                <a:custGeom>
                  <a:gdLst>
                    <a:gd name="T0" fmla="*/ 6 w 11"/>
                    <a:gd name="T1" fmla="*/ 1 h 7"/>
                    <a:gd name="T2" fmla="*/ 11 w 11"/>
                    <a:gd name="T3" fmla="*/ 5 h 7"/>
                    <a:gd name="T4" fmla="*/ 5 w 11"/>
                    <a:gd name="T5" fmla="*/ 6 h 7"/>
                    <a:gd name="T6" fmla="*/ 0 w 11"/>
                    <a:gd name="T7" fmla="*/ 2 h 7"/>
                    <a:gd name="T8" fmla="*/ 6 w 11"/>
                    <a:gd name="T9" fmla="*/ 1 h 7"/>
                  </a:gdLst>
                  <a:cxnLst>
                    <a:cxn ang="0">
                      <a:pos x="T0" y="T1"/>
                    </a:cxn>
                    <a:cxn ang="0">
                      <a:pos x="T2" y="T3"/>
                    </a:cxn>
                    <a:cxn ang="0">
                      <a:pos x="T4" y="T5"/>
                    </a:cxn>
                    <a:cxn ang="0">
                      <a:pos x="T6" y="T7"/>
                    </a:cxn>
                    <a:cxn ang="0">
                      <a:pos x="T8" y="T9"/>
                    </a:cxn>
                  </a:cxnLst>
                  <a:rect l="0" t="0" r="r" b="b"/>
                  <a:pathLst>
                    <a:path w="11" h="7">
                      <a:moveTo>
                        <a:pt x="6" y="1"/>
                      </a:moveTo>
                      <a:cubicBezTo>
                        <a:pt x="9" y="2"/>
                        <a:pt x="11" y="4"/>
                        <a:pt x="11" y="5"/>
                      </a:cubicBezTo>
                      <a:cubicBezTo>
                        <a:pt x="10" y="6"/>
                        <a:pt x="8" y="7"/>
                        <a:pt x="5" y="6"/>
                      </a:cubicBezTo>
                      <a:cubicBezTo>
                        <a:pt x="2" y="5"/>
                        <a:pt x="0" y="3"/>
                        <a:pt x="0" y="2"/>
                      </a:cubicBezTo>
                      <a:cubicBezTo>
                        <a:pt x="1" y="1"/>
                        <a:pt x="3" y="0"/>
                        <a:pt x="6" y="1"/>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69" name="Freeform 188">
                  <a:extLst>
                    <a:ext uri="{FF2B5EF4-FFF2-40B4-BE49-F238E27FC236}">
                      <a16:creationId xmlns:a16="http://schemas.microsoft.com/office/drawing/2014/main" id="{A5E1E794-1170-E4BF-9099-40B91E248EDC}"/>
                    </a:ext>
                  </a:extLst>
                </p:cNvPr>
                <p:cNvSpPr/>
                <p:nvPr/>
              </p:nvSpPr>
              <p:spPr bwMode="auto">
                <a:xfrm>
                  <a:off x="2356" y="1977"/>
                  <a:ext cx="16" cy="18"/>
                </a:xfrm>
                <a:custGeom>
                  <a:gdLst>
                    <a:gd name="T0" fmla="*/ 3 w 9"/>
                    <a:gd name="T1" fmla="*/ 4 h 10"/>
                    <a:gd name="T2" fmla="*/ 8 w 9"/>
                    <a:gd name="T3" fmla="*/ 1 h 10"/>
                    <a:gd name="T4" fmla="*/ 6 w 9"/>
                    <a:gd name="T5" fmla="*/ 7 h 10"/>
                    <a:gd name="T6" fmla="*/ 0 w 9"/>
                    <a:gd name="T7" fmla="*/ 9 h 10"/>
                    <a:gd name="T8" fmla="*/ 3 w 9"/>
                    <a:gd name="T9" fmla="*/ 4 h 10"/>
                  </a:gdLst>
                  <a:cxnLst>
                    <a:cxn ang="0">
                      <a:pos x="T0" y="T1"/>
                    </a:cxn>
                    <a:cxn ang="0">
                      <a:pos x="T2" y="T3"/>
                    </a:cxn>
                    <a:cxn ang="0">
                      <a:pos x="T4" y="T5"/>
                    </a:cxn>
                    <a:cxn ang="0">
                      <a:pos x="T6" y="T7"/>
                    </a:cxn>
                    <a:cxn ang="0">
                      <a:pos x="T8" y="T9"/>
                    </a:cxn>
                  </a:cxnLst>
                  <a:rect l="0" t="0" r="r" b="b"/>
                  <a:pathLst>
                    <a:path w="9" h="10">
                      <a:moveTo>
                        <a:pt x="3" y="4"/>
                      </a:moveTo>
                      <a:cubicBezTo>
                        <a:pt x="5" y="1"/>
                        <a:pt x="7" y="0"/>
                        <a:pt x="8" y="1"/>
                      </a:cubicBezTo>
                      <a:cubicBezTo>
                        <a:pt x="9" y="2"/>
                        <a:pt x="8" y="5"/>
                        <a:pt x="6" y="7"/>
                      </a:cubicBezTo>
                      <a:cubicBezTo>
                        <a:pt x="4" y="9"/>
                        <a:pt x="1" y="10"/>
                        <a:pt x="0" y="9"/>
                      </a:cubicBezTo>
                      <a:cubicBezTo>
                        <a:pt x="0" y="8"/>
                        <a:pt x="1" y="6"/>
                        <a:pt x="3" y="4"/>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70" name="Freeform 189">
                  <a:extLst>
                    <a:ext uri="{FF2B5EF4-FFF2-40B4-BE49-F238E27FC236}">
                      <a16:creationId xmlns:a16="http://schemas.microsoft.com/office/drawing/2014/main" id="{8295A107-07E5-023E-4AAD-84D221194974}"/>
                    </a:ext>
                  </a:extLst>
                </p:cNvPr>
                <p:cNvSpPr/>
                <p:nvPr/>
              </p:nvSpPr>
              <p:spPr bwMode="auto">
                <a:xfrm>
                  <a:off x="2370" y="1947"/>
                  <a:ext cx="10" cy="20"/>
                </a:xfrm>
                <a:custGeom>
                  <a:gdLst>
                    <a:gd name="T0" fmla="*/ 0 w 5"/>
                    <a:gd name="T1" fmla="*/ 6 h 11"/>
                    <a:gd name="T2" fmla="*/ 1 w 5"/>
                    <a:gd name="T3" fmla="*/ 0 h 11"/>
                    <a:gd name="T4" fmla="*/ 4 w 5"/>
                    <a:gd name="T5" fmla="*/ 5 h 11"/>
                    <a:gd name="T6" fmla="*/ 3 w 5"/>
                    <a:gd name="T7" fmla="*/ 11 h 11"/>
                    <a:gd name="T8" fmla="*/ 0 w 5"/>
                    <a:gd name="T9" fmla="*/ 6 h 11"/>
                  </a:gdLst>
                  <a:cxnLst>
                    <a:cxn ang="0">
                      <a:pos x="T0" y="T1"/>
                    </a:cxn>
                    <a:cxn ang="0">
                      <a:pos x="T2" y="T3"/>
                    </a:cxn>
                    <a:cxn ang="0">
                      <a:pos x="T4" y="T5"/>
                    </a:cxn>
                    <a:cxn ang="0">
                      <a:pos x="T6" y="T7"/>
                    </a:cxn>
                    <a:cxn ang="0">
                      <a:pos x="T8" y="T9"/>
                    </a:cxn>
                  </a:cxnLst>
                  <a:rect l="0" t="0" r="r" b="b"/>
                  <a:pathLst>
                    <a:path w="5" h="11">
                      <a:moveTo>
                        <a:pt x="0" y="6"/>
                      </a:moveTo>
                      <a:cubicBezTo>
                        <a:pt x="0" y="3"/>
                        <a:pt x="0" y="0"/>
                        <a:pt x="1" y="0"/>
                      </a:cubicBezTo>
                      <a:cubicBezTo>
                        <a:pt x="3" y="0"/>
                        <a:pt x="4" y="2"/>
                        <a:pt x="4" y="5"/>
                      </a:cubicBezTo>
                      <a:cubicBezTo>
                        <a:pt x="5" y="8"/>
                        <a:pt x="4" y="11"/>
                        <a:pt x="3" y="11"/>
                      </a:cubicBezTo>
                      <a:cubicBezTo>
                        <a:pt x="2" y="11"/>
                        <a:pt x="0" y="9"/>
                        <a:pt x="0"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71" name="Freeform 190">
                  <a:extLst>
                    <a:ext uri="{FF2B5EF4-FFF2-40B4-BE49-F238E27FC236}">
                      <a16:creationId xmlns:a16="http://schemas.microsoft.com/office/drawing/2014/main" id="{2E0C4F0C-68E0-CDB0-5DA7-E24D0A185B90}"/>
                    </a:ext>
                  </a:extLst>
                </p:cNvPr>
                <p:cNvSpPr/>
                <p:nvPr/>
              </p:nvSpPr>
              <p:spPr bwMode="auto">
                <a:xfrm>
                  <a:off x="2314" y="1821"/>
                  <a:ext cx="20" cy="11"/>
                </a:xfrm>
                <a:custGeom>
                  <a:gdLst>
                    <a:gd name="T0" fmla="*/ 6 w 11"/>
                    <a:gd name="T1" fmla="*/ 1 h 6"/>
                    <a:gd name="T2" fmla="*/ 11 w 11"/>
                    <a:gd name="T3" fmla="*/ 5 h 6"/>
                    <a:gd name="T4" fmla="*/ 5 w 11"/>
                    <a:gd name="T5" fmla="*/ 5 h 6"/>
                    <a:gd name="T6" fmla="*/ 0 w 11"/>
                    <a:gd name="T7" fmla="*/ 1 h 6"/>
                    <a:gd name="T8" fmla="*/ 6 w 11"/>
                    <a:gd name="T9" fmla="*/ 1 h 6"/>
                  </a:gdLst>
                  <a:cxnLst>
                    <a:cxn ang="0">
                      <a:pos x="T0" y="T1"/>
                    </a:cxn>
                    <a:cxn ang="0">
                      <a:pos x="T2" y="T3"/>
                    </a:cxn>
                    <a:cxn ang="0">
                      <a:pos x="T4" y="T5"/>
                    </a:cxn>
                    <a:cxn ang="0">
                      <a:pos x="T6" y="T7"/>
                    </a:cxn>
                    <a:cxn ang="0">
                      <a:pos x="T8" y="T9"/>
                    </a:cxn>
                  </a:cxnLst>
                  <a:rect l="0" t="0" r="r" b="b"/>
                  <a:pathLst>
                    <a:path w="11" h="6">
                      <a:moveTo>
                        <a:pt x="6" y="1"/>
                      </a:moveTo>
                      <a:cubicBezTo>
                        <a:pt x="9" y="2"/>
                        <a:pt x="11" y="4"/>
                        <a:pt x="11" y="5"/>
                      </a:cubicBezTo>
                      <a:cubicBezTo>
                        <a:pt x="10" y="6"/>
                        <a:pt x="8" y="6"/>
                        <a:pt x="5" y="5"/>
                      </a:cubicBezTo>
                      <a:cubicBezTo>
                        <a:pt x="2" y="4"/>
                        <a:pt x="0" y="2"/>
                        <a:pt x="0" y="1"/>
                      </a:cubicBezTo>
                      <a:cubicBezTo>
                        <a:pt x="1" y="0"/>
                        <a:pt x="3" y="0"/>
                        <a:pt x="6" y="1"/>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72" name="Freeform 191">
                  <a:extLst>
                    <a:ext uri="{FF2B5EF4-FFF2-40B4-BE49-F238E27FC236}">
                      <a16:creationId xmlns:a16="http://schemas.microsoft.com/office/drawing/2014/main" id="{461C9FEA-5AA6-E0C8-3E20-5910D5738EB1}"/>
                    </a:ext>
                  </a:extLst>
                </p:cNvPr>
                <p:cNvSpPr/>
                <p:nvPr/>
              </p:nvSpPr>
              <p:spPr bwMode="auto">
                <a:xfrm>
                  <a:off x="2310" y="1845"/>
                  <a:ext cx="9" cy="20"/>
                </a:xfrm>
                <a:custGeom>
                  <a:gdLst>
                    <a:gd name="T0" fmla="*/ 4 w 5"/>
                    <a:gd name="T1" fmla="*/ 6 h 11"/>
                    <a:gd name="T2" fmla="*/ 2 w 5"/>
                    <a:gd name="T3" fmla="*/ 11 h 11"/>
                    <a:gd name="T4" fmla="*/ 0 w 5"/>
                    <a:gd name="T5" fmla="*/ 5 h 11"/>
                    <a:gd name="T6" fmla="*/ 3 w 5"/>
                    <a:gd name="T7" fmla="*/ 0 h 11"/>
                    <a:gd name="T8" fmla="*/ 4 w 5"/>
                    <a:gd name="T9" fmla="*/ 6 h 11"/>
                  </a:gdLst>
                  <a:cxnLst>
                    <a:cxn ang="0">
                      <a:pos x="T0" y="T1"/>
                    </a:cxn>
                    <a:cxn ang="0">
                      <a:pos x="T2" y="T3"/>
                    </a:cxn>
                    <a:cxn ang="0">
                      <a:pos x="T4" y="T5"/>
                    </a:cxn>
                    <a:cxn ang="0">
                      <a:pos x="T6" y="T7"/>
                    </a:cxn>
                    <a:cxn ang="0">
                      <a:pos x="T8" y="T9"/>
                    </a:cxn>
                  </a:cxnLst>
                  <a:rect l="0" t="0" r="r" b="b"/>
                  <a:pathLst>
                    <a:path w="5" h="11">
                      <a:moveTo>
                        <a:pt x="4" y="6"/>
                      </a:moveTo>
                      <a:cubicBezTo>
                        <a:pt x="4" y="9"/>
                        <a:pt x="3" y="11"/>
                        <a:pt x="2" y="11"/>
                      </a:cubicBezTo>
                      <a:cubicBezTo>
                        <a:pt x="0" y="11"/>
                        <a:pt x="0" y="8"/>
                        <a:pt x="0" y="5"/>
                      </a:cubicBezTo>
                      <a:cubicBezTo>
                        <a:pt x="0" y="2"/>
                        <a:pt x="2" y="0"/>
                        <a:pt x="3" y="0"/>
                      </a:cubicBezTo>
                      <a:cubicBezTo>
                        <a:pt x="4" y="0"/>
                        <a:pt x="5" y="3"/>
                        <a:pt x="4"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73" name="Freeform 192">
                  <a:extLst>
                    <a:ext uri="{FF2B5EF4-FFF2-40B4-BE49-F238E27FC236}">
                      <a16:creationId xmlns:a16="http://schemas.microsoft.com/office/drawing/2014/main" id="{5BE4EA77-5000-A826-655B-E6F133501B4D}"/>
                    </a:ext>
                  </a:extLst>
                </p:cNvPr>
                <p:cNvSpPr/>
                <p:nvPr/>
              </p:nvSpPr>
              <p:spPr bwMode="auto">
                <a:xfrm>
                  <a:off x="2380" y="1876"/>
                  <a:ext cx="9" cy="20"/>
                </a:xfrm>
                <a:custGeom>
                  <a:gdLst>
                    <a:gd name="T0" fmla="*/ 5 w 5"/>
                    <a:gd name="T1" fmla="*/ 6 h 11"/>
                    <a:gd name="T2" fmla="*/ 2 w 5"/>
                    <a:gd name="T3" fmla="*/ 11 h 11"/>
                    <a:gd name="T4" fmla="*/ 1 w 5"/>
                    <a:gd name="T5" fmla="*/ 5 h 11"/>
                    <a:gd name="T6" fmla="*/ 4 w 5"/>
                    <a:gd name="T7" fmla="*/ 0 h 11"/>
                    <a:gd name="T8" fmla="*/ 5 w 5"/>
                    <a:gd name="T9" fmla="*/ 6 h 11"/>
                  </a:gdLst>
                  <a:cxnLst>
                    <a:cxn ang="0">
                      <a:pos x="T0" y="T1"/>
                    </a:cxn>
                    <a:cxn ang="0">
                      <a:pos x="T2" y="T3"/>
                    </a:cxn>
                    <a:cxn ang="0">
                      <a:pos x="T4" y="T5"/>
                    </a:cxn>
                    <a:cxn ang="0">
                      <a:pos x="T6" y="T7"/>
                    </a:cxn>
                    <a:cxn ang="0">
                      <a:pos x="T8" y="T9"/>
                    </a:cxn>
                  </a:cxnLst>
                  <a:rect l="0" t="0" r="r" b="b"/>
                  <a:pathLst>
                    <a:path w="5" h="11">
                      <a:moveTo>
                        <a:pt x="5" y="6"/>
                      </a:moveTo>
                      <a:cubicBezTo>
                        <a:pt x="5" y="9"/>
                        <a:pt x="3" y="11"/>
                        <a:pt x="2" y="11"/>
                      </a:cubicBezTo>
                      <a:cubicBezTo>
                        <a:pt x="1" y="11"/>
                        <a:pt x="0" y="8"/>
                        <a:pt x="1" y="5"/>
                      </a:cubicBezTo>
                      <a:cubicBezTo>
                        <a:pt x="1" y="2"/>
                        <a:pt x="2" y="0"/>
                        <a:pt x="4" y="0"/>
                      </a:cubicBezTo>
                      <a:cubicBezTo>
                        <a:pt x="5" y="0"/>
                        <a:pt x="5" y="3"/>
                        <a:pt x="5"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74" name="Freeform 193">
                  <a:extLst>
                    <a:ext uri="{FF2B5EF4-FFF2-40B4-BE49-F238E27FC236}">
                      <a16:creationId xmlns:a16="http://schemas.microsoft.com/office/drawing/2014/main" id="{500ABB4A-8C33-0420-1737-CBA8C783C614}"/>
                    </a:ext>
                  </a:extLst>
                </p:cNvPr>
                <p:cNvSpPr/>
                <p:nvPr/>
              </p:nvSpPr>
              <p:spPr bwMode="auto">
                <a:xfrm>
                  <a:off x="2376" y="1829"/>
                  <a:ext cx="11" cy="20"/>
                </a:xfrm>
                <a:custGeom>
                  <a:gdLst>
                    <a:gd name="T0" fmla="*/ 5 w 6"/>
                    <a:gd name="T1" fmla="*/ 5 h 11"/>
                    <a:gd name="T2" fmla="*/ 5 w 6"/>
                    <a:gd name="T3" fmla="*/ 11 h 11"/>
                    <a:gd name="T4" fmla="*/ 1 w 6"/>
                    <a:gd name="T5" fmla="*/ 6 h 11"/>
                    <a:gd name="T6" fmla="*/ 1 w 6"/>
                    <a:gd name="T7" fmla="*/ 1 h 11"/>
                    <a:gd name="T8" fmla="*/ 5 w 6"/>
                    <a:gd name="T9" fmla="*/ 5 h 11"/>
                  </a:gdLst>
                  <a:cxnLst>
                    <a:cxn ang="0">
                      <a:pos x="T0" y="T1"/>
                    </a:cxn>
                    <a:cxn ang="0">
                      <a:pos x="T2" y="T3"/>
                    </a:cxn>
                    <a:cxn ang="0">
                      <a:pos x="T4" y="T5"/>
                    </a:cxn>
                    <a:cxn ang="0">
                      <a:pos x="T6" y="T7"/>
                    </a:cxn>
                    <a:cxn ang="0">
                      <a:pos x="T8" y="T9"/>
                    </a:cxn>
                  </a:cxnLst>
                  <a:rect l="0" t="0" r="r" b="b"/>
                  <a:pathLst>
                    <a:path w="6" h="11">
                      <a:moveTo>
                        <a:pt x="5" y="5"/>
                      </a:moveTo>
                      <a:cubicBezTo>
                        <a:pt x="6" y="8"/>
                        <a:pt x="6" y="10"/>
                        <a:pt x="5" y="11"/>
                      </a:cubicBezTo>
                      <a:cubicBezTo>
                        <a:pt x="4" y="11"/>
                        <a:pt x="2" y="9"/>
                        <a:pt x="1" y="6"/>
                      </a:cubicBezTo>
                      <a:cubicBezTo>
                        <a:pt x="0" y="4"/>
                        <a:pt x="0" y="1"/>
                        <a:pt x="1" y="1"/>
                      </a:cubicBezTo>
                      <a:cubicBezTo>
                        <a:pt x="3" y="0"/>
                        <a:pt x="4" y="2"/>
                        <a:pt x="5" y="5"/>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75" name="Freeform 194">
                  <a:extLst>
                    <a:ext uri="{FF2B5EF4-FFF2-40B4-BE49-F238E27FC236}">
                      <a16:creationId xmlns:a16="http://schemas.microsoft.com/office/drawing/2014/main" id="{B5C018A5-F00C-37AA-B3CF-4A49F0DAEE0D}"/>
                    </a:ext>
                  </a:extLst>
                </p:cNvPr>
                <p:cNvSpPr/>
                <p:nvPr/>
              </p:nvSpPr>
              <p:spPr bwMode="auto">
                <a:xfrm>
                  <a:off x="2310" y="1918"/>
                  <a:ext cx="9" cy="20"/>
                </a:xfrm>
                <a:custGeom>
                  <a:gdLst>
                    <a:gd name="T0" fmla="*/ 5 w 5"/>
                    <a:gd name="T1" fmla="*/ 6 h 11"/>
                    <a:gd name="T2" fmla="*/ 2 w 5"/>
                    <a:gd name="T3" fmla="*/ 11 h 11"/>
                    <a:gd name="T4" fmla="*/ 0 w 5"/>
                    <a:gd name="T5" fmla="*/ 5 h 11"/>
                    <a:gd name="T6" fmla="*/ 3 w 5"/>
                    <a:gd name="T7" fmla="*/ 0 h 11"/>
                    <a:gd name="T8" fmla="*/ 5 w 5"/>
                    <a:gd name="T9" fmla="*/ 6 h 11"/>
                  </a:gdLst>
                  <a:cxnLst>
                    <a:cxn ang="0">
                      <a:pos x="T0" y="T1"/>
                    </a:cxn>
                    <a:cxn ang="0">
                      <a:pos x="T2" y="T3"/>
                    </a:cxn>
                    <a:cxn ang="0">
                      <a:pos x="T4" y="T5"/>
                    </a:cxn>
                    <a:cxn ang="0">
                      <a:pos x="T6" y="T7"/>
                    </a:cxn>
                    <a:cxn ang="0">
                      <a:pos x="T8" y="T9"/>
                    </a:cxn>
                  </a:cxnLst>
                  <a:rect l="0" t="0" r="r" b="b"/>
                  <a:pathLst>
                    <a:path w="5" h="11">
                      <a:moveTo>
                        <a:pt x="5" y="6"/>
                      </a:moveTo>
                      <a:cubicBezTo>
                        <a:pt x="4" y="9"/>
                        <a:pt x="3" y="11"/>
                        <a:pt x="2" y="11"/>
                      </a:cubicBezTo>
                      <a:cubicBezTo>
                        <a:pt x="1" y="11"/>
                        <a:pt x="0" y="8"/>
                        <a:pt x="0" y="5"/>
                      </a:cubicBezTo>
                      <a:cubicBezTo>
                        <a:pt x="1" y="2"/>
                        <a:pt x="2" y="0"/>
                        <a:pt x="3" y="0"/>
                      </a:cubicBezTo>
                      <a:cubicBezTo>
                        <a:pt x="5" y="0"/>
                        <a:pt x="5" y="3"/>
                        <a:pt x="5"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76" name="Freeform 195">
                  <a:extLst>
                    <a:ext uri="{FF2B5EF4-FFF2-40B4-BE49-F238E27FC236}">
                      <a16:creationId xmlns:a16="http://schemas.microsoft.com/office/drawing/2014/main" id="{D0E1E617-6936-EE11-1DF0-866E9546291B}"/>
                    </a:ext>
                  </a:extLst>
                </p:cNvPr>
                <p:cNvSpPr/>
                <p:nvPr/>
              </p:nvSpPr>
              <p:spPr bwMode="auto">
                <a:xfrm>
                  <a:off x="2372" y="1918"/>
                  <a:ext cx="18" cy="17"/>
                </a:xfrm>
                <a:custGeom>
                  <a:gdLst>
                    <a:gd name="T0" fmla="*/ 6 w 10"/>
                    <a:gd name="T1" fmla="*/ 6 h 9"/>
                    <a:gd name="T2" fmla="*/ 1 w 10"/>
                    <a:gd name="T3" fmla="*/ 8 h 9"/>
                    <a:gd name="T4" fmla="*/ 4 w 10"/>
                    <a:gd name="T5" fmla="*/ 3 h 9"/>
                    <a:gd name="T6" fmla="*/ 9 w 10"/>
                    <a:gd name="T7" fmla="*/ 1 h 9"/>
                    <a:gd name="T8" fmla="*/ 6 w 10"/>
                    <a:gd name="T9" fmla="*/ 6 h 9"/>
                  </a:gdLst>
                  <a:cxnLst>
                    <a:cxn ang="0">
                      <a:pos x="T0" y="T1"/>
                    </a:cxn>
                    <a:cxn ang="0">
                      <a:pos x="T2" y="T3"/>
                    </a:cxn>
                    <a:cxn ang="0">
                      <a:pos x="T4" y="T5"/>
                    </a:cxn>
                    <a:cxn ang="0">
                      <a:pos x="T6" y="T7"/>
                    </a:cxn>
                    <a:cxn ang="0">
                      <a:pos x="T8" y="T9"/>
                    </a:cxn>
                  </a:cxnLst>
                  <a:rect l="0" t="0" r="r" b="b"/>
                  <a:pathLst>
                    <a:path w="10" h="9">
                      <a:moveTo>
                        <a:pt x="6" y="6"/>
                      </a:moveTo>
                      <a:cubicBezTo>
                        <a:pt x="4" y="8"/>
                        <a:pt x="2" y="9"/>
                        <a:pt x="1" y="8"/>
                      </a:cubicBezTo>
                      <a:cubicBezTo>
                        <a:pt x="0" y="7"/>
                        <a:pt x="1" y="5"/>
                        <a:pt x="4" y="3"/>
                      </a:cubicBezTo>
                      <a:cubicBezTo>
                        <a:pt x="6" y="1"/>
                        <a:pt x="8" y="0"/>
                        <a:pt x="9" y="1"/>
                      </a:cubicBezTo>
                      <a:cubicBezTo>
                        <a:pt x="10" y="2"/>
                        <a:pt x="9" y="4"/>
                        <a:pt x="6" y="6"/>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77" name="Freeform 196">
                  <a:extLst>
                    <a:ext uri="{FF2B5EF4-FFF2-40B4-BE49-F238E27FC236}">
                      <a16:creationId xmlns:a16="http://schemas.microsoft.com/office/drawing/2014/main" id="{BC064A00-2324-4D21-C95A-CC38DB7C1C64}"/>
                    </a:ext>
                  </a:extLst>
                </p:cNvPr>
                <p:cNvSpPr/>
                <p:nvPr/>
              </p:nvSpPr>
              <p:spPr bwMode="auto">
                <a:xfrm>
                  <a:off x="2307" y="1882"/>
                  <a:ext cx="10" cy="20"/>
                </a:xfrm>
                <a:custGeom>
                  <a:gdLst>
                    <a:gd name="T0" fmla="*/ 5 w 6"/>
                    <a:gd name="T1" fmla="*/ 5 h 11"/>
                    <a:gd name="T2" fmla="*/ 5 w 6"/>
                    <a:gd name="T3" fmla="*/ 11 h 11"/>
                    <a:gd name="T4" fmla="*/ 1 w 6"/>
                    <a:gd name="T5" fmla="*/ 6 h 11"/>
                    <a:gd name="T6" fmla="*/ 1 w 6"/>
                    <a:gd name="T7" fmla="*/ 1 h 11"/>
                    <a:gd name="T8" fmla="*/ 5 w 6"/>
                    <a:gd name="T9" fmla="*/ 5 h 11"/>
                  </a:gdLst>
                  <a:cxnLst>
                    <a:cxn ang="0">
                      <a:pos x="T0" y="T1"/>
                    </a:cxn>
                    <a:cxn ang="0">
                      <a:pos x="T2" y="T3"/>
                    </a:cxn>
                    <a:cxn ang="0">
                      <a:pos x="T4" y="T5"/>
                    </a:cxn>
                    <a:cxn ang="0">
                      <a:pos x="T6" y="T7"/>
                    </a:cxn>
                    <a:cxn ang="0">
                      <a:pos x="T8" y="T9"/>
                    </a:cxn>
                  </a:cxnLst>
                  <a:rect l="0" t="0" r="r" b="b"/>
                  <a:pathLst>
                    <a:path w="6" h="11">
                      <a:moveTo>
                        <a:pt x="5" y="5"/>
                      </a:moveTo>
                      <a:cubicBezTo>
                        <a:pt x="6" y="8"/>
                        <a:pt x="6" y="10"/>
                        <a:pt x="5" y="11"/>
                      </a:cubicBezTo>
                      <a:cubicBezTo>
                        <a:pt x="4" y="11"/>
                        <a:pt x="2" y="9"/>
                        <a:pt x="1" y="6"/>
                      </a:cubicBezTo>
                      <a:cubicBezTo>
                        <a:pt x="0" y="4"/>
                        <a:pt x="0" y="1"/>
                        <a:pt x="1" y="1"/>
                      </a:cubicBezTo>
                      <a:cubicBezTo>
                        <a:pt x="2" y="0"/>
                        <a:pt x="4" y="2"/>
                        <a:pt x="5" y="5"/>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78" name="Freeform 197">
                  <a:extLst>
                    <a:ext uri="{FF2B5EF4-FFF2-40B4-BE49-F238E27FC236}">
                      <a16:creationId xmlns:a16="http://schemas.microsoft.com/office/drawing/2014/main" id="{0FFAD75B-02E8-2741-572D-51F27EA1BAEB}"/>
                    </a:ext>
                  </a:extLst>
                </p:cNvPr>
                <p:cNvSpPr/>
                <p:nvPr/>
              </p:nvSpPr>
              <p:spPr bwMode="auto">
                <a:xfrm>
                  <a:off x="2316" y="1951"/>
                  <a:ext cx="11" cy="20"/>
                </a:xfrm>
                <a:custGeom>
                  <a:gdLst>
                    <a:gd name="T0" fmla="*/ 5 w 6"/>
                    <a:gd name="T1" fmla="*/ 5 h 11"/>
                    <a:gd name="T2" fmla="*/ 5 w 6"/>
                    <a:gd name="T3" fmla="*/ 11 h 11"/>
                    <a:gd name="T4" fmla="*/ 1 w 6"/>
                    <a:gd name="T5" fmla="*/ 6 h 11"/>
                    <a:gd name="T6" fmla="*/ 1 w 6"/>
                    <a:gd name="T7" fmla="*/ 0 h 11"/>
                    <a:gd name="T8" fmla="*/ 5 w 6"/>
                    <a:gd name="T9" fmla="*/ 5 h 11"/>
                  </a:gdLst>
                  <a:cxnLst>
                    <a:cxn ang="0">
                      <a:pos x="T0" y="T1"/>
                    </a:cxn>
                    <a:cxn ang="0">
                      <a:pos x="T2" y="T3"/>
                    </a:cxn>
                    <a:cxn ang="0">
                      <a:pos x="T4" y="T5"/>
                    </a:cxn>
                    <a:cxn ang="0">
                      <a:pos x="T6" y="T7"/>
                    </a:cxn>
                    <a:cxn ang="0">
                      <a:pos x="T8" y="T9"/>
                    </a:cxn>
                  </a:cxnLst>
                  <a:rect l="0" t="0" r="r" b="b"/>
                  <a:pathLst>
                    <a:path w="6" h="11">
                      <a:moveTo>
                        <a:pt x="5" y="5"/>
                      </a:moveTo>
                      <a:cubicBezTo>
                        <a:pt x="6" y="8"/>
                        <a:pt x="6" y="10"/>
                        <a:pt x="5" y="11"/>
                      </a:cubicBezTo>
                      <a:cubicBezTo>
                        <a:pt x="3" y="11"/>
                        <a:pt x="2" y="9"/>
                        <a:pt x="1" y="6"/>
                      </a:cubicBezTo>
                      <a:cubicBezTo>
                        <a:pt x="0" y="3"/>
                        <a:pt x="0" y="1"/>
                        <a:pt x="1" y="0"/>
                      </a:cubicBezTo>
                      <a:cubicBezTo>
                        <a:pt x="2" y="0"/>
                        <a:pt x="4" y="2"/>
                        <a:pt x="5" y="5"/>
                      </a:cubicBezTo>
                      <a:close/>
                    </a:path>
                  </a:pathLst>
                </a:custGeom>
                <a:solidFill>
                  <a:srgbClr val="F2E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79" name="Freeform 198">
                  <a:extLst>
                    <a:ext uri="{FF2B5EF4-FFF2-40B4-BE49-F238E27FC236}">
                      <a16:creationId xmlns:a16="http://schemas.microsoft.com/office/drawing/2014/main" id="{481283D3-5632-7F7E-0F4E-DCF48C603B01}"/>
                    </a:ext>
                  </a:extLst>
                </p:cNvPr>
                <p:cNvSpPr/>
                <p:nvPr/>
              </p:nvSpPr>
              <p:spPr bwMode="auto">
                <a:xfrm>
                  <a:off x="2188" y="1770"/>
                  <a:ext cx="133" cy="55"/>
                </a:xfrm>
                <a:custGeom>
                  <a:gdLst>
                    <a:gd name="T0" fmla="*/ 47 w 73"/>
                    <a:gd name="T1" fmla="*/ 0 h 30"/>
                    <a:gd name="T2" fmla="*/ 19 w 73"/>
                    <a:gd name="T3" fmla="*/ 0 h 30"/>
                    <a:gd name="T4" fmla="*/ 4 w 73"/>
                    <a:gd name="T5" fmla="*/ 17 h 30"/>
                    <a:gd name="T6" fmla="*/ 5 w 73"/>
                    <a:gd name="T7" fmla="*/ 30 h 30"/>
                    <a:gd name="T8" fmla="*/ 12 w 73"/>
                    <a:gd name="T9" fmla="*/ 22 h 30"/>
                    <a:gd name="T10" fmla="*/ 38 w 73"/>
                    <a:gd name="T11" fmla="*/ 9 h 30"/>
                    <a:gd name="T12" fmla="*/ 47 w 73"/>
                    <a:gd name="T13" fmla="*/ 9 h 30"/>
                    <a:gd name="T14" fmla="*/ 63 w 73"/>
                    <a:gd name="T15" fmla="*/ 0 h 30"/>
                    <a:gd name="T16" fmla="*/ 47 w 73"/>
                    <a:gd name="T17" fmla="*/ 0 h 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30">
                      <a:moveTo>
                        <a:pt x="47" y="0"/>
                      </a:moveTo>
                      <a:cubicBezTo>
                        <a:pt x="34" y="0"/>
                        <a:pt x="19" y="0"/>
                        <a:pt x="19" y="0"/>
                      </a:cubicBezTo>
                      <a:cubicBezTo>
                        <a:pt x="15" y="1"/>
                        <a:pt x="11" y="6"/>
                        <a:pt x="4" y="17"/>
                      </a:cubicBezTo>
                      <a:cubicBezTo>
                        <a:pt x="0" y="24"/>
                        <a:pt x="2" y="30"/>
                        <a:pt x="5" y="30"/>
                      </a:cubicBezTo>
                      <a:cubicBezTo>
                        <a:pt x="7" y="30"/>
                        <a:pt x="10" y="27"/>
                        <a:pt x="12" y="22"/>
                      </a:cubicBezTo>
                      <a:cubicBezTo>
                        <a:pt x="16" y="10"/>
                        <a:pt x="26" y="9"/>
                        <a:pt x="38" y="9"/>
                      </a:cubicBezTo>
                      <a:cubicBezTo>
                        <a:pt x="41" y="9"/>
                        <a:pt x="44" y="9"/>
                        <a:pt x="47" y="9"/>
                      </a:cubicBezTo>
                      <a:cubicBezTo>
                        <a:pt x="62" y="9"/>
                        <a:pt x="73" y="2"/>
                        <a:pt x="63" y="0"/>
                      </a:cubicBezTo>
                      <a:cubicBezTo>
                        <a:pt x="59" y="0"/>
                        <a:pt x="53" y="0"/>
                        <a:pt x="47" y="0"/>
                      </a:cubicBezTo>
                    </a:path>
                  </a:pathLst>
                </a:custGeom>
                <a:solidFill>
                  <a:srgbClr val="752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80" name="Freeform 199">
                  <a:extLst>
                    <a:ext uri="{FF2B5EF4-FFF2-40B4-BE49-F238E27FC236}">
                      <a16:creationId xmlns:a16="http://schemas.microsoft.com/office/drawing/2014/main" id="{E266F4FD-FF00-BE15-BD51-6CC10F89DFA1}"/>
                    </a:ext>
                  </a:extLst>
                </p:cNvPr>
                <p:cNvSpPr/>
                <p:nvPr/>
              </p:nvSpPr>
              <p:spPr bwMode="auto">
                <a:xfrm>
                  <a:off x="3228" y="3851"/>
                  <a:ext cx="1357" cy="774"/>
                </a:xfrm>
                <a:custGeom>
                  <a:gdLst>
                    <a:gd name="T0" fmla="*/ 724 w 744"/>
                    <a:gd name="T1" fmla="*/ 0 h 424"/>
                    <a:gd name="T2" fmla="*/ 372 w 744"/>
                    <a:gd name="T3" fmla="*/ 118 h 424"/>
                    <a:gd name="T4" fmla="*/ 20 w 744"/>
                    <a:gd name="T5" fmla="*/ 0 h 424"/>
                    <a:gd name="T6" fmla="*/ 51 w 744"/>
                    <a:gd name="T7" fmla="*/ 424 h 424"/>
                    <a:gd name="T8" fmla="*/ 372 w 744"/>
                    <a:gd name="T9" fmla="*/ 424 h 424"/>
                    <a:gd name="T10" fmla="*/ 693 w 744"/>
                    <a:gd name="T11" fmla="*/ 424 h 424"/>
                    <a:gd name="T12" fmla="*/ 724 w 744"/>
                    <a:gd name="T13" fmla="*/ 0 h 424"/>
                  </a:gdLst>
                  <a:cxnLst>
                    <a:cxn ang="0">
                      <a:pos x="T0" y="T1"/>
                    </a:cxn>
                    <a:cxn ang="0">
                      <a:pos x="T2" y="T3"/>
                    </a:cxn>
                    <a:cxn ang="0">
                      <a:pos x="T4" y="T5"/>
                    </a:cxn>
                    <a:cxn ang="0">
                      <a:pos x="T6" y="T7"/>
                    </a:cxn>
                    <a:cxn ang="0">
                      <a:pos x="T8" y="T9"/>
                    </a:cxn>
                    <a:cxn ang="0">
                      <a:pos x="T10" y="T11"/>
                    </a:cxn>
                    <a:cxn ang="0">
                      <a:pos x="T12" y="T13"/>
                    </a:cxn>
                  </a:cxnLst>
                  <a:rect l="0" t="0" r="r" b="b"/>
                  <a:pathLst>
                    <a:path w="744" h="423">
                      <a:moveTo>
                        <a:pt x="724" y="0"/>
                      </a:moveTo>
                      <a:cubicBezTo>
                        <a:pt x="372" y="118"/>
                        <a:pt x="372" y="118"/>
                        <a:pt x="372" y="118"/>
                      </a:cubicBezTo>
                      <a:cubicBezTo>
                        <a:pt x="20" y="0"/>
                        <a:pt x="20" y="0"/>
                        <a:pt x="20" y="0"/>
                      </a:cubicBezTo>
                      <a:cubicBezTo>
                        <a:pt x="20" y="0"/>
                        <a:pt x="0" y="247"/>
                        <a:pt x="51" y="424"/>
                      </a:cubicBezTo>
                      <a:cubicBezTo>
                        <a:pt x="289" y="424"/>
                        <a:pt x="372" y="424"/>
                        <a:pt x="372" y="424"/>
                      </a:cubicBezTo>
                      <a:cubicBezTo>
                        <a:pt x="372" y="424"/>
                        <a:pt x="455" y="424"/>
                        <a:pt x="693" y="424"/>
                      </a:cubicBezTo>
                      <a:cubicBezTo>
                        <a:pt x="744" y="247"/>
                        <a:pt x="724" y="0"/>
                        <a:pt x="724" y="0"/>
                      </a:cubicBezTo>
                    </a:path>
                  </a:pathLst>
                </a:cu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81" name="Freeform 200">
                  <a:extLst>
                    <a:ext uri="{FF2B5EF4-FFF2-40B4-BE49-F238E27FC236}">
                      <a16:creationId xmlns:a16="http://schemas.microsoft.com/office/drawing/2014/main" id="{1FBFD20C-2B55-C08D-19BA-4C00E3E44476}"/>
                    </a:ext>
                  </a:extLst>
                </p:cNvPr>
                <p:cNvSpPr/>
                <p:nvPr/>
              </p:nvSpPr>
              <p:spPr bwMode="auto">
                <a:xfrm>
                  <a:off x="3824" y="4097"/>
                  <a:ext cx="165" cy="475"/>
                </a:xfrm>
                <a:custGeom>
                  <a:gdLst>
                    <a:gd name="T0" fmla="*/ 86 w 90"/>
                    <a:gd name="T1" fmla="*/ 0 h 260"/>
                    <a:gd name="T2" fmla="*/ 85 w 90"/>
                    <a:gd name="T3" fmla="*/ 8 h 260"/>
                    <a:gd name="T4" fmla="*/ 74 w 90"/>
                    <a:gd name="T5" fmla="*/ 121 h 260"/>
                    <a:gd name="T6" fmla="*/ 43 w 90"/>
                    <a:gd name="T7" fmla="*/ 254 h 260"/>
                    <a:gd name="T8" fmla="*/ 45 w 90"/>
                    <a:gd name="T9" fmla="*/ 255 h 260"/>
                    <a:gd name="T10" fmla="*/ 47 w 90"/>
                    <a:gd name="T11" fmla="*/ 254 h 260"/>
                    <a:gd name="T12" fmla="*/ 24 w 90"/>
                    <a:gd name="T13" fmla="*/ 191 h 260"/>
                    <a:gd name="T14" fmla="*/ 7 w 90"/>
                    <a:gd name="T15" fmla="*/ 71 h 260"/>
                    <a:gd name="T16" fmla="*/ 5 w 90"/>
                    <a:gd name="T17" fmla="*/ 26 h 260"/>
                    <a:gd name="T18" fmla="*/ 5 w 90"/>
                    <a:gd name="T19" fmla="*/ 13 h 260"/>
                    <a:gd name="T20" fmla="*/ 4 w 90"/>
                    <a:gd name="T21" fmla="*/ 9 h 260"/>
                    <a:gd name="T22" fmla="*/ 0 w 90"/>
                    <a:gd name="T23" fmla="*/ 9 h 260"/>
                    <a:gd name="T24" fmla="*/ 6 w 90"/>
                    <a:gd name="T25" fmla="*/ 110 h 260"/>
                    <a:gd name="T26" fmla="*/ 19 w 90"/>
                    <a:gd name="T27" fmla="*/ 192 h 260"/>
                    <a:gd name="T28" fmla="*/ 43 w 90"/>
                    <a:gd name="T29" fmla="*/ 256 h 260"/>
                    <a:gd name="T30" fmla="*/ 46 w 90"/>
                    <a:gd name="T31" fmla="*/ 260 h 260"/>
                    <a:gd name="T32" fmla="*/ 47 w 90"/>
                    <a:gd name="T33" fmla="*/ 256 h 260"/>
                    <a:gd name="T34" fmla="*/ 81 w 90"/>
                    <a:gd name="T35" fmla="*/ 101 h 260"/>
                    <a:gd name="T36" fmla="*/ 90 w 90"/>
                    <a:gd name="T37" fmla="*/ 0 h 260"/>
                    <a:gd name="T38" fmla="*/ 86 w 90"/>
                    <a:gd name="T39" fmla="*/ 0 h 260"/>
                    <a:gd name="T40" fmla="*/ 86 w 90"/>
                    <a:gd name="T41" fmla="*/ 0 h 2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0" h="260">
                      <a:moveTo>
                        <a:pt x="86" y="0"/>
                      </a:moveTo>
                      <a:cubicBezTo>
                        <a:pt x="86" y="0"/>
                        <a:pt x="86" y="3"/>
                        <a:pt x="85" y="8"/>
                      </a:cubicBezTo>
                      <a:cubicBezTo>
                        <a:pt x="84" y="26"/>
                        <a:pt x="80" y="72"/>
                        <a:pt x="74" y="121"/>
                      </a:cubicBezTo>
                      <a:cubicBezTo>
                        <a:pt x="67" y="171"/>
                        <a:pt x="57" y="223"/>
                        <a:pt x="43" y="254"/>
                      </a:cubicBezTo>
                      <a:cubicBezTo>
                        <a:pt x="45" y="255"/>
                        <a:pt x="45" y="255"/>
                        <a:pt x="45" y="255"/>
                      </a:cubicBezTo>
                      <a:cubicBezTo>
                        <a:pt x="47" y="254"/>
                        <a:pt x="47" y="254"/>
                        <a:pt x="47" y="254"/>
                      </a:cubicBezTo>
                      <a:cubicBezTo>
                        <a:pt x="37" y="239"/>
                        <a:pt x="29" y="216"/>
                        <a:pt x="24" y="191"/>
                      </a:cubicBezTo>
                      <a:cubicBezTo>
                        <a:pt x="15" y="152"/>
                        <a:pt x="10" y="106"/>
                        <a:pt x="7" y="71"/>
                      </a:cubicBezTo>
                      <a:cubicBezTo>
                        <a:pt x="6" y="53"/>
                        <a:pt x="5" y="37"/>
                        <a:pt x="5" y="26"/>
                      </a:cubicBezTo>
                      <a:cubicBezTo>
                        <a:pt x="5" y="21"/>
                        <a:pt x="5" y="16"/>
                        <a:pt x="5" y="13"/>
                      </a:cubicBezTo>
                      <a:cubicBezTo>
                        <a:pt x="4" y="10"/>
                        <a:pt x="4" y="9"/>
                        <a:pt x="4" y="9"/>
                      </a:cubicBezTo>
                      <a:cubicBezTo>
                        <a:pt x="0" y="9"/>
                        <a:pt x="0" y="9"/>
                        <a:pt x="0" y="9"/>
                      </a:cubicBezTo>
                      <a:cubicBezTo>
                        <a:pt x="0" y="9"/>
                        <a:pt x="1" y="55"/>
                        <a:pt x="6" y="110"/>
                      </a:cubicBezTo>
                      <a:cubicBezTo>
                        <a:pt x="9" y="137"/>
                        <a:pt x="13" y="166"/>
                        <a:pt x="19" y="192"/>
                      </a:cubicBezTo>
                      <a:cubicBezTo>
                        <a:pt x="25" y="218"/>
                        <a:pt x="33" y="241"/>
                        <a:pt x="43" y="256"/>
                      </a:cubicBezTo>
                      <a:cubicBezTo>
                        <a:pt x="46" y="260"/>
                        <a:pt x="46" y="260"/>
                        <a:pt x="46" y="260"/>
                      </a:cubicBezTo>
                      <a:cubicBezTo>
                        <a:pt x="47" y="256"/>
                        <a:pt x="47" y="256"/>
                        <a:pt x="47" y="256"/>
                      </a:cubicBezTo>
                      <a:cubicBezTo>
                        <a:pt x="63" y="220"/>
                        <a:pt x="74" y="156"/>
                        <a:pt x="81" y="101"/>
                      </a:cubicBezTo>
                      <a:cubicBezTo>
                        <a:pt x="87" y="46"/>
                        <a:pt x="90" y="0"/>
                        <a:pt x="90" y="0"/>
                      </a:cubicBezTo>
                      <a:cubicBezTo>
                        <a:pt x="86" y="0"/>
                        <a:pt x="86" y="0"/>
                        <a:pt x="86" y="0"/>
                      </a:cubicBezTo>
                      <a:cubicBezTo>
                        <a:pt x="86" y="0"/>
                        <a:pt x="86" y="0"/>
                        <a:pt x="86" y="0"/>
                      </a:cubicBezTo>
                    </a:path>
                  </a:pathLst>
                </a:custGeom>
                <a:solidFill>
                  <a:srgbClr val="9B94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82" name="Freeform 201">
                  <a:extLst>
                    <a:ext uri="{FF2B5EF4-FFF2-40B4-BE49-F238E27FC236}">
                      <a16:creationId xmlns:a16="http://schemas.microsoft.com/office/drawing/2014/main" id="{5F0B6EC0-C5FA-F82F-A32F-445E305DEA4E}"/>
                    </a:ext>
                  </a:extLst>
                </p:cNvPr>
                <p:cNvSpPr/>
                <p:nvPr/>
              </p:nvSpPr>
              <p:spPr bwMode="auto">
                <a:xfrm>
                  <a:off x="4394" y="4024"/>
                  <a:ext cx="78" cy="603"/>
                </a:xfrm>
                <a:custGeom>
                  <a:gdLst>
                    <a:gd name="T0" fmla="*/ 39 w 43"/>
                    <a:gd name="T1" fmla="*/ 0 h 330"/>
                    <a:gd name="T2" fmla="*/ 39 w 43"/>
                    <a:gd name="T3" fmla="*/ 10 h 330"/>
                    <a:gd name="T4" fmla="*/ 31 w 43"/>
                    <a:gd name="T5" fmla="*/ 151 h 330"/>
                    <a:gd name="T6" fmla="*/ 0 w 43"/>
                    <a:gd name="T7" fmla="*/ 329 h 330"/>
                    <a:gd name="T8" fmla="*/ 4 w 43"/>
                    <a:gd name="T9" fmla="*/ 330 h 330"/>
                    <a:gd name="T10" fmla="*/ 38 w 43"/>
                    <a:gd name="T11" fmla="*/ 125 h 330"/>
                    <a:gd name="T12" fmla="*/ 43 w 43"/>
                    <a:gd name="T13" fmla="*/ 0 h 330"/>
                    <a:gd name="T14" fmla="*/ 39 w 43"/>
                    <a:gd name="T15" fmla="*/ 0 h 330"/>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330">
                      <a:moveTo>
                        <a:pt x="39" y="0"/>
                      </a:moveTo>
                      <a:cubicBezTo>
                        <a:pt x="39" y="0"/>
                        <a:pt x="39" y="4"/>
                        <a:pt x="39" y="10"/>
                      </a:cubicBezTo>
                      <a:cubicBezTo>
                        <a:pt x="38" y="32"/>
                        <a:pt x="37" y="89"/>
                        <a:pt x="31" y="151"/>
                      </a:cubicBezTo>
                      <a:cubicBezTo>
                        <a:pt x="26" y="214"/>
                        <a:pt x="16" y="283"/>
                        <a:pt x="0" y="329"/>
                      </a:cubicBezTo>
                      <a:cubicBezTo>
                        <a:pt x="4" y="330"/>
                        <a:pt x="4" y="330"/>
                        <a:pt x="4" y="330"/>
                      </a:cubicBezTo>
                      <a:cubicBezTo>
                        <a:pt x="23" y="277"/>
                        <a:pt x="33" y="194"/>
                        <a:pt x="38" y="125"/>
                      </a:cubicBezTo>
                      <a:cubicBezTo>
                        <a:pt x="43" y="56"/>
                        <a:pt x="43" y="0"/>
                        <a:pt x="43" y="0"/>
                      </a:cubicBezTo>
                      <a:cubicBezTo>
                        <a:pt x="39" y="0"/>
                        <a:pt x="39" y="0"/>
                        <a:pt x="39" y="0"/>
                      </a:cubicBezTo>
                    </a:path>
                  </a:pathLst>
                </a:custGeom>
                <a:solidFill>
                  <a:srgbClr val="9B94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83" name="Freeform 202">
                  <a:extLst>
                    <a:ext uri="{FF2B5EF4-FFF2-40B4-BE49-F238E27FC236}">
                      <a16:creationId xmlns:a16="http://schemas.microsoft.com/office/drawing/2014/main" id="{5C8B1321-B32B-02D2-60D7-98ABAFEB26B2}"/>
                    </a:ext>
                  </a:extLst>
                </p:cNvPr>
                <p:cNvSpPr/>
                <p:nvPr/>
              </p:nvSpPr>
              <p:spPr bwMode="auto">
                <a:xfrm>
                  <a:off x="3334" y="4024"/>
                  <a:ext cx="78" cy="603"/>
                </a:xfrm>
                <a:custGeom>
                  <a:gdLst>
                    <a:gd name="T0" fmla="*/ 0 w 43"/>
                    <a:gd name="T1" fmla="*/ 0 h 330"/>
                    <a:gd name="T2" fmla="*/ 5 w 43"/>
                    <a:gd name="T3" fmla="*/ 125 h 330"/>
                    <a:gd name="T4" fmla="*/ 39 w 43"/>
                    <a:gd name="T5" fmla="*/ 330 h 330"/>
                    <a:gd name="T6" fmla="*/ 43 w 43"/>
                    <a:gd name="T7" fmla="*/ 329 h 330"/>
                    <a:gd name="T8" fmla="*/ 10 w 43"/>
                    <a:gd name="T9" fmla="*/ 125 h 330"/>
                    <a:gd name="T10" fmla="*/ 5 w 43"/>
                    <a:gd name="T11" fmla="*/ 37 h 330"/>
                    <a:gd name="T12" fmla="*/ 4 w 43"/>
                    <a:gd name="T13" fmla="*/ 10 h 330"/>
                    <a:gd name="T14" fmla="*/ 4 w 43"/>
                    <a:gd name="T15" fmla="*/ 0 h 330"/>
                    <a:gd name="T16" fmla="*/ 0 w 43"/>
                    <a:gd name="T17" fmla="*/ 0 h 3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330">
                      <a:moveTo>
                        <a:pt x="0" y="0"/>
                      </a:moveTo>
                      <a:cubicBezTo>
                        <a:pt x="0" y="0"/>
                        <a:pt x="0" y="56"/>
                        <a:pt x="5" y="125"/>
                      </a:cubicBezTo>
                      <a:cubicBezTo>
                        <a:pt x="10" y="194"/>
                        <a:pt x="20" y="277"/>
                        <a:pt x="39" y="330"/>
                      </a:cubicBezTo>
                      <a:cubicBezTo>
                        <a:pt x="43" y="329"/>
                        <a:pt x="43" y="329"/>
                        <a:pt x="43" y="329"/>
                      </a:cubicBezTo>
                      <a:cubicBezTo>
                        <a:pt x="24" y="276"/>
                        <a:pt x="15" y="194"/>
                        <a:pt x="10" y="125"/>
                      </a:cubicBezTo>
                      <a:cubicBezTo>
                        <a:pt x="7" y="91"/>
                        <a:pt x="6" y="59"/>
                        <a:pt x="5" y="37"/>
                      </a:cubicBezTo>
                      <a:cubicBezTo>
                        <a:pt x="5" y="26"/>
                        <a:pt x="5" y="16"/>
                        <a:pt x="4" y="10"/>
                      </a:cubicBezTo>
                      <a:cubicBezTo>
                        <a:pt x="4" y="4"/>
                        <a:pt x="4" y="0"/>
                        <a:pt x="4" y="0"/>
                      </a:cubicBezTo>
                      <a:cubicBezTo>
                        <a:pt x="0" y="0"/>
                        <a:pt x="0" y="0"/>
                        <a:pt x="0" y="0"/>
                      </a:cubicBezTo>
                    </a:path>
                  </a:pathLst>
                </a:custGeom>
                <a:solidFill>
                  <a:srgbClr val="9B94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84" name="Freeform 203">
                  <a:extLst>
                    <a:ext uri="{FF2B5EF4-FFF2-40B4-BE49-F238E27FC236}">
                      <a16:creationId xmlns:a16="http://schemas.microsoft.com/office/drawing/2014/main" id="{108EB5D0-4426-D66E-3D3A-E029E4FE9FDC}"/>
                    </a:ext>
                  </a:extLst>
                </p:cNvPr>
                <p:cNvSpPr/>
                <p:nvPr/>
              </p:nvSpPr>
              <p:spPr bwMode="auto">
                <a:xfrm>
                  <a:off x="3252" y="3851"/>
                  <a:ext cx="1308" cy="389"/>
                </a:xfrm>
                <a:custGeom>
                  <a:gdLst>
                    <a:gd name="T0" fmla="*/ 711 w 717"/>
                    <a:gd name="T1" fmla="*/ 0 h 213"/>
                    <a:gd name="T2" fmla="*/ 359 w 717"/>
                    <a:gd name="T3" fmla="*/ 118 h 213"/>
                    <a:gd name="T4" fmla="*/ 7 w 717"/>
                    <a:gd name="T5" fmla="*/ 0 h 213"/>
                    <a:gd name="T6" fmla="*/ 7 w 717"/>
                    <a:gd name="T7" fmla="*/ 0 h 213"/>
                    <a:gd name="T8" fmla="*/ 5 w 717"/>
                    <a:gd name="T9" fmla="*/ 189 h 213"/>
                    <a:gd name="T10" fmla="*/ 49 w 717"/>
                    <a:gd name="T11" fmla="*/ 197 h 213"/>
                    <a:gd name="T12" fmla="*/ 45 w 717"/>
                    <a:gd name="T13" fmla="*/ 95 h 213"/>
                    <a:gd name="T14" fmla="*/ 49 w 717"/>
                    <a:gd name="T15" fmla="*/ 95 h 213"/>
                    <a:gd name="T16" fmla="*/ 49 w 717"/>
                    <a:gd name="T17" fmla="*/ 105 h 213"/>
                    <a:gd name="T18" fmla="*/ 50 w 717"/>
                    <a:gd name="T19" fmla="*/ 132 h 213"/>
                    <a:gd name="T20" fmla="*/ 53 w 717"/>
                    <a:gd name="T21" fmla="*/ 197 h 213"/>
                    <a:gd name="T22" fmla="*/ 276 w 717"/>
                    <a:gd name="T23" fmla="*/ 213 h 213"/>
                    <a:gd name="T24" fmla="*/ 318 w 717"/>
                    <a:gd name="T25" fmla="*/ 212 h 213"/>
                    <a:gd name="T26" fmla="*/ 314 w 717"/>
                    <a:gd name="T27" fmla="*/ 144 h 213"/>
                    <a:gd name="T28" fmla="*/ 318 w 717"/>
                    <a:gd name="T29" fmla="*/ 144 h 213"/>
                    <a:gd name="T30" fmla="*/ 319 w 717"/>
                    <a:gd name="T31" fmla="*/ 148 h 213"/>
                    <a:gd name="T32" fmla="*/ 319 w 717"/>
                    <a:gd name="T33" fmla="*/ 161 h 213"/>
                    <a:gd name="T34" fmla="*/ 321 w 717"/>
                    <a:gd name="T35" fmla="*/ 206 h 213"/>
                    <a:gd name="T36" fmla="*/ 322 w 717"/>
                    <a:gd name="T37" fmla="*/ 212 h 213"/>
                    <a:gd name="T38" fmla="*/ 393 w 717"/>
                    <a:gd name="T39" fmla="*/ 209 h 213"/>
                    <a:gd name="T40" fmla="*/ 399 w 717"/>
                    <a:gd name="T41" fmla="*/ 143 h 213"/>
                    <a:gd name="T42" fmla="*/ 400 w 717"/>
                    <a:gd name="T43" fmla="*/ 135 h 213"/>
                    <a:gd name="T44" fmla="*/ 400 w 717"/>
                    <a:gd name="T45" fmla="*/ 135 h 213"/>
                    <a:gd name="T46" fmla="*/ 404 w 717"/>
                    <a:gd name="T47" fmla="*/ 135 h 213"/>
                    <a:gd name="T48" fmla="*/ 398 w 717"/>
                    <a:gd name="T49" fmla="*/ 209 h 213"/>
                    <a:gd name="T50" fmla="*/ 662 w 717"/>
                    <a:gd name="T51" fmla="*/ 178 h 213"/>
                    <a:gd name="T52" fmla="*/ 665 w 717"/>
                    <a:gd name="T53" fmla="*/ 105 h 213"/>
                    <a:gd name="T54" fmla="*/ 665 w 717"/>
                    <a:gd name="T55" fmla="*/ 95 h 213"/>
                    <a:gd name="T56" fmla="*/ 669 w 717"/>
                    <a:gd name="T57" fmla="*/ 95 h 213"/>
                    <a:gd name="T58" fmla="*/ 666 w 717"/>
                    <a:gd name="T59" fmla="*/ 177 h 213"/>
                    <a:gd name="T60" fmla="*/ 714 w 717"/>
                    <a:gd name="T61" fmla="*/ 168 h 213"/>
                    <a:gd name="T62" fmla="*/ 711 w 717"/>
                    <a:gd name="T63" fmla="*/ 0 h 213"/>
                    <a:gd name="T64" fmla="*/ 711 w 717"/>
                    <a:gd name="T65" fmla="*/ 0 h 213"/>
                    <a:gd name="T66" fmla="*/ 711 w 717"/>
                    <a:gd name="T67" fmla="*/ 0 h 213"/>
                    <a:gd name="T68" fmla="*/ 711 w 717"/>
                    <a:gd name="T69" fmla="*/ 0 h 213"/>
                    <a:gd name="T70" fmla="*/ 711 w 717"/>
                    <a:gd name="T71" fmla="*/ 0 h 213"/>
                    <a:gd name="T72" fmla="*/ 711 w 717"/>
                    <a:gd name="T73" fmla="*/ 0 h 213"/>
                    <a:gd name="T74" fmla="*/ 711 w 717"/>
                    <a:gd name="T75" fmla="*/ 0 h 213"/>
                    <a:gd name="T76" fmla="*/ 711 w 717"/>
                    <a:gd name="T77" fmla="*/ 0 h 2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17" h="213">
                      <a:moveTo>
                        <a:pt x="711" y="0"/>
                      </a:moveTo>
                      <a:cubicBezTo>
                        <a:pt x="359" y="118"/>
                        <a:pt x="359" y="118"/>
                        <a:pt x="359" y="118"/>
                      </a:cubicBezTo>
                      <a:cubicBezTo>
                        <a:pt x="7" y="0"/>
                        <a:pt x="7" y="0"/>
                        <a:pt x="7" y="0"/>
                      </a:cubicBezTo>
                      <a:cubicBezTo>
                        <a:pt x="7" y="0"/>
                        <a:pt x="7" y="0"/>
                        <a:pt x="7" y="0"/>
                      </a:cubicBezTo>
                      <a:cubicBezTo>
                        <a:pt x="7" y="1"/>
                        <a:pt x="0" y="85"/>
                        <a:pt x="5" y="189"/>
                      </a:cubicBezTo>
                      <a:cubicBezTo>
                        <a:pt x="19" y="192"/>
                        <a:pt x="34" y="195"/>
                        <a:pt x="49" y="197"/>
                      </a:cubicBezTo>
                      <a:cubicBezTo>
                        <a:pt x="45" y="139"/>
                        <a:pt x="45" y="95"/>
                        <a:pt x="45" y="95"/>
                      </a:cubicBezTo>
                      <a:cubicBezTo>
                        <a:pt x="49" y="95"/>
                        <a:pt x="49" y="95"/>
                        <a:pt x="49" y="95"/>
                      </a:cubicBezTo>
                      <a:cubicBezTo>
                        <a:pt x="49" y="95"/>
                        <a:pt x="49" y="99"/>
                        <a:pt x="49" y="105"/>
                      </a:cubicBezTo>
                      <a:cubicBezTo>
                        <a:pt x="50" y="111"/>
                        <a:pt x="50" y="121"/>
                        <a:pt x="50" y="132"/>
                      </a:cubicBezTo>
                      <a:cubicBezTo>
                        <a:pt x="51" y="149"/>
                        <a:pt x="52" y="172"/>
                        <a:pt x="53" y="197"/>
                      </a:cubicBezTo>
                      <a:cubicBezTo>
                        <a:pt x="128" y="208"/>
                        <a:pt x="203" y="213"/>
                        <a:pt x="276" y="213"/>
                      </a:cubicBezTo>
                      <a:cubicBezTo>
                        <a:pt x="290" y="213"/>
                        <a:pt x="304" y="212"/>
                        <a:pt x="318" y="212"/>
                      </a:cubicBezTo>
                      <a:cubicBezTo>
                        <a:pt x="315" y="173"/>
                        <a:pt x="314" y="144"/>
                        <a:pt x="314" y="144"/>
                      </a:cubicBezTo>
                      <a:cubicBezTo>
                        <a:pt x="318" y="144"/>
                        <a:pt x="318" y="144"/>
                        <a:pt x="318" y="144"/>
                      </a:cubicBezTo>
                      <a:cubicBezTo>
                        <a:pt x="318" y="144"/>
                        <a:pt x="318" y="145"/>
                        <a:pt x="319" y="148"/>
                      </a:cubicBezTo>
                      <a:cubicBezTo>
                        <a:pt x="319" y="151"/>
                        <a:pt x="319" y="156"/>
                        <a:pt x="319" y="161"/>
                      </a:cubicBezTo>
                      <a:cubicBezTo>
                        <a:pt x="319" y="172"/>
                        <a:pt x="320" y="188"/>
                        <a:pt x="321" y="206"/>
                      </a:cubicBezTo>
                      <a:cubicBezTo>
                        <a:pt x="322" y="208"/>
                        <a:pt x="322" y="210"/>
                        <a:pt x="322" y="212"/>
                      </a:cubicBezTo>
                      <a:cubicBezTo>
                        <a:pt x="346" y="211"/>
                        <a:pt x="370" y="210"/>
                        <a:pt x="393" y="209"/>
                      </a:cubicBezTo>
                      <a:cubicBezTo>
                        <a:pt x="396" y="179"/>
                        <a:pt x="398" y="155"/>
                        <a:pt x="399" y="143"/>
                      </a:cubicBezTo>
                      <a:cubicBezTo>
                        <a:pt x="400" y="138"/>
                        <a:pt x="400" y="135"/>
                        <a:pt x="400" y="135"/>
                      </a:cubicBezTo>
                      <a:cubicBezTo>
                        <a:pt x="400" y="135"/>
                        <a:pt x="400" y="135"/>
                        <a:pt x="400" y="135"/>
                      </a:cubicBezTo>
                      <a:cubicBezTo>
                        <a:pt x="404" y="135"/>
                        <a:pt x="404" y="135"/>
                        <a:pt x="404" y="135"/>
                      </a:cubicBezTo>
                      <a:cubicBezTo>
                        <a:pt x="404" y="135"/>
                        <a:pt x="402" y="167"/>
                        <a:pt x="398" y="209"/>
                      </a:cubicBezTo>
                      <a:cubicBezTo>
                        <a:pt x="502" y="203"/>
                        <a:pt x="595" y="189"/>
                        <a:pt x="662" y="178"/>
                      </a:cubicBezTo>
                      <a:cubicBezTo>
                        <a:pt x="664" y="145"/>
                        <a:pt x="664" y="119"/>
                        <a:pt x="665" y="105"/>
                      </a:cubicBezTo>
                      <a:cubicBezTo>
                        <a:pt x="665" y="99"/>
                        <a:pt x="665" y="95"/>
                        <a:pt x="665" y="95"/>
                      </a:cubicBezTo>
                      <a:cubicBezTo>
                        <a:pt x="669" y="95"/>
                        <a:pt x="669" y="95"/>
                        <a:pt x="669" y="95"/>
                      </a:cubicBezTo>
                      <a:cubicBezTo>
                        <a:pt x="669" y="95"/>
                        <a:pt x="669" y="129"/>
                        <a:pt x="666" y="177"/>
                      </a:cubicBezTo>
                      <a:cubicBezTo>
                        <a:pt x="685" y="174"/>
                        <a:pt x="701" y="171"/>
                        <a:pt x="714" y="168"/>
                      </a:cubicBezTo>
                      <a:cubicBezTo>
                        <a:pt x="717" y="74"/>
                        <a:pt x="711" y="2"/>
                        <a:pt x="711" y="0"/>
                      </a:cubicBezTo>
                      <a:cubicBezTo>
                        <a:pt x="711" y="0"/>
                        <a:pt x="711" y="0"/>
                        <a:pt x="711" y="0"/>
                      </a:cubicBezTo>
                      <a:cubicBezTo>
                        <a:pt x="711" y="0"/>
                        <a:pt x="711" y="0"/>
                        <a:pt x="711" y="0"/>
                      </a:cubicBezTo>
                      <a:cubicBezTo>
                        <a:pt x="711" y="0"/>
                        <a:pt x="711" y="0"/>
                        <a:pt x="711" y="0"/>
                      </a:cubicBezTo>
                      <a:cubicBezTo>
                        <a:pt x="711" y="0"/>
                        <a:pt x="711" y="0"/>
                        <a:pt x="711" y="0"/>
                      </a:cubicBezTo>
                      <a:cubicBezTo>
                        <a:pt x="711" y="0"/>
                        <a:pt x="711" y="0"/>
                        <a:pt x="711" y="0"/>
                      </a:cubicBezTo>
                      <a:cubicBezTo>
                        <a:pt x="711" y="0"/>
                        <a:pt x="711" y="0"/>
                        <a:pt x="711" y="0"/>
                      </a:cubicBezTo>
                      <a:cubicBezTo>
                        <a:pt x="711" y="0"/>
                        <a:pt x="711" y="0"/>
                        <a:pt x="711" y="0"/>
                      </a:cubicBezTo>
                    </a:path>
                  </a:pathLst>
                </a:custGeom>
                <a:solidFill>
                  <a:srgbClr val="D3CA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85" name="Freeform 204">
                  <a:extLst>
                    <a:ext uri="{FF2B5EF4-FFF2-40B4-BE49-F238E27FC236}">
                      <a16:creationId xmlns:a16="http://schemas.microsoft.com/office/drawing/2014/main" id="{330E5C33-B2F4-14ED-6053-AE66E1EA9D56}"/>
                    </a:ext>
                  </a:extLst>
                </p:cNvPr>
                <p:cNvSpPr>
                  <a:spLocks noEditPoints="1"/>
                </p:cNvSpPr>
                <p:nvPr/>
              </p:nvSpPr>
              <p:spPr bwMode="auto">
                <a:xfrm>
                  <a:off x="3824" y="4097"/>
                  <a:ext cx="165" cy="141"/>
                </a:xfrm>
                <a:custGeom>
                  <a:gdLst>
                    <a:gd name="T0" fmla="*/ 4 w 90"/>
                    <a:gd name="T1" fmla="*/ 9 h 77"/>
                    <a:gd name="T2" fmla="*/ 0 w 90"/>
                    <a:gd name="T3" fmla="*/ 9 h 77"/>
                    <a:gd name="T4" fmla="*/ 4 w 90"/>
                    <a:gd name="T5" fmla="*/ 77 h 77"/>
                    <a:gd name="T6" fmla="*/ 8 w 90"/>
                    <a:gd name="T7" fmla="*/ 77 h 77"/>
                    <a:gd name="T8" fmla="*/ 7 w 90"/>
                    <a:gd name="T9" fmla="*/ 71 h 77"/>
                    <a:gd name="T10" fmla="*/ 5 w 90"/>
                    <a:gd name="T11" fmla="*/ 26 h 77"/>
                    <a:gd name="T12" fmla="*/ 5 w 90"/>
                    <a:gd name="T13" fmla="*/ 13 h 77"/>
                    <a:gd name="T14" fmla="*/ 4 w 90"/>
                    <a:gd name="T15" fmla="*/ 9 h 77"/>
                    <a:gd name="T16" fmla="*/ 86 w 90"/>
                    <a:gd name="T17" fmla="*/ 0 h 77"/>
                    <a:gd name="T18" fmla="*/ 86 w 90"/>
                    <a:gd name="T19" fmla="*/ 0 h 77"/>
                    <a:gd name="T20" fmla="*/ 85 w 90"/>
                    <a:gd name="T21" fmla="*/ 8 h 77"/>
                    <a:gd name="T22" fmla="*/ 79 w 90"/>
                    <a:gd name="T23" fmla="*/ 74 h 77"/>
                    <a:gd name="T24" fmla="*/ 84 w 90"/>
                    <a:gd name="T25" fmla="*/ 74 h 77"/>
                    <a:gd name="T26" fmla="*/ 90 w 90"/>
                    <a:gd name="T27" fmla="*/ 0 h 77"/>
                    <a:gd name="T28" fmla="*/ 86 w 90"/>
                    <a:gd name="T29" fmla="*/ 0 h 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77">
                      <a:moveTo>
                        <a:pt x="4" y="9"/>
                      </a:moveTo>
                      <a:cubicBezTo>
                        <a:pt x="0" y="9"/>
                        <a:pt x="0" y="9"/>
                        <a:pt x="0" y="9"/>
                      </a:cubicBezTo>
                      <a:cubicBezTo>
                        <a:pt x="0" y="9"/>
                        <a:pt x="1" y="38"/>
                        <a:pt x="4" y="77"/>
                      </a:cubicBezTo>
                      <a:cubicBezTo>
                        <a:pt x="5" y="77"/>
                        <a:pt x="6" y="77"/>
                        <a:pt x="8" y="77"/>
                      </a:cubicBezTo>
                      <a:cubicBezTo>
                        <a:pt x="8" y="75"/>
                        <a:pt x="8" y="73"/>
                        <a:pt x="7" y="71"/>
                      </a:cubicBezTo>
                      <a:cubicBezTo>
                        <a:pt x="6" y="53"/>
                        <a:pt x="5" y="37"/>
                        <a:pt x="5" y="26"/>
                      </a:cubicBezTo>
                      <a:cubicBezTo>
                        <a:pt x="5" y="21"/>
                        <a:pt x="5" y="16"/>
                        <a:pt x="5" y="13"/>
                      </a:cubicBezTo>
                      <a:cubicBezTo>
                        <a:pt x="4" y="10"/>
                        <a:pt x="4" y="9"/>
                        <a:pt x="4" y="9"/>
                      </a:cubicBezTo>
                      <a:moveTo>
                        <a:pt x="86" y="0"/>
                      </a:moveTo>
                      <a:cubicBezTo>
                        <a:pt x="86" y="0"/>
                        <a:pt x="86" y="0"/>
                        <a:pt x="86" y="0"/>
                      </a:cubicBezTo>
                      <a:cubicBezTo>
                        <a:pt x="86" y="0"/>
                        <a:pt x="86" y="3"/>
                        <a:pt x="85" y="8"/>
                      </a:cubicBezTo>
                      <a:cubicBezTo>
                        <a:pt x="84" y="20"/>
                        <a:pt x="82" y="44"/>
                        <a:pt x="79" y="74"/>
                      </a:cubicBezTo>
                      <a:cubicBezTo>
                        <a:pt x="81" y="74"/>
                        <a:pt x="82" y="74"/>
                        <a:pt x="84" y="74"/>
                      </a:cubicBezTo>
                      <a:cubicBezTo>
                        <a:pt x="88" y="32"/>
                        <a:pt x="90" y="0"/>
                        <a:pt x="90" y="0"/>
                      </a:cubicBezTo>
                      <a:cubicBezTo>
                        <a:pt x="86" y="0"/>
                        <a:pt x="86" y="0"/>
                        <a:pt x="86" y="0"/>
                      </a:cubicBezTo>
                    </a:path>
                  </a:pathLst>
                </a:custGeom>
                <a:solidFill>
                  <a:srgbClr val="887F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86" name="Freeform 205">
                  <a:extLst>
                    <a:ext uri="{FF2B5EF4-FFF2-40B4-BE49-F238E27FC236}">
                      <a16:creationId xmlns:a16="http://schemas.microsoft.com/office/drawing/2014/main" id="{46468F95-80D9-634A-916D-CE93F4D31467}"/>
                    </a:ext>
                  </a:extLst>
                </p:cNvPr>
                <p:cNvSpPr/>
                <p:nvPr/>
              </p:nvSpPr>
              <p:spPr bwMode="auto">
                <a:xfrm>
                  <a:off x="4459" y="4024"/>
                  <a:ext cx="13" cy="152"/>
                </a:xfrm>
                <a:custGeom>
                  <a:gdLst>
                    <a:gd name="T0" fmla="*/ 3 w 7"/>
                    <a:gd name="T1" fmla="*/ 0 h 83"/>
                    <a:gd name="T2" fmla="*/ 3 w 7"/>
                    <a:gd name="T3" fmla="*/ 10 h 83"/>
                    <a:gd name="T4" fmla="*/ 0 w 7"/>
                    <a:gd name="T5" fmla="*/ 83 h 83"/>
                    <a:gd name="T6" fmla="*/ 4 w 7"/>
                    <a:gd name="T7" fmla="*/ 82 h 83"/>
                    <a:gd name="T8" fmla="*/ 7 w 7"/>
                    <a:gd name="T9" fmla="*/ 0 h 83"/>
                    <a:gd name="T10" fmla="*/ 3 w 7"/>
                    <a:gd name="T11" fmla="*/ 0 h 83"/>
                  </a:gdLst>
                  <a:cxnLst>
                    <a:cxn ang="0">
                      <a:pos x="T0" y="T1"/>
                    </a:cxn>
                    <a:cxn ang="0">
                      <a:pos x="T2" y="T3"/>
                    </a:cxn>
                    <a:cxn ang="0">
                      <a:pos x="T4" y="T5"/>
                    </a:cxn>
                    <a:cxn ang="0">
                      <a:pos x="T6" y="T7"/>
                    </a:cxn>
                    <a:cxn ang="0">
                      <a:pos x="T8" y="T9"/>
                    </a:cxn>
                    <a:cxn ang="0">
                      <a:pos x="T10" y="T11"/>
                    </a:cxn>
                  </a:cxnLst>
                  <a:rect l="0" t="0" r="r" b="b"/>
                  <a:pathLst>
                    <a:path w="7" h="83">
                      <a:moveTo>
                        <a:pt x="3" y="0"/>
                      </a:moveTo>
                      <a:cubicBezTo>
                        <a:pt x="3" y="0"/>
                        <a:pt x="3" y="4"/>
                        <a:pt x="3" y="10"/>
                      </a:cubicBezTo>
                      <a:cubicBezTo>
                        <a:pt x="2" y="24"/>
                        <a:pt x="2" y="50"/>
                        <a:pt x="0" y="83"/>
                      </a:cubicBezTo>
                      <a:cubicBezTo>
                        <a:pt x="1" y="83"/>
                        <a:pt x="3" y="82"/>
                        <a:pt x="4" y="82"/>
                      </a:cubicBezTo>
                      <a:cubicBezTo>
                        <a:pt x="7" y="34"/>
                        <a:pt x="7" y="0"/>
                        <a:pt x="7" y="0"/>
                      </a:cubicBezTo>
                      <a:cubicBezTo>
                        <a:pt x="3" y="0"/>
                        <a:pt x="3" y="0"/>
                        <a:pt x="3" y="0"/>
                      </a:cubicBezTo>
                    </a:path>
                  </a:pathLst>
                </a:custGeom>
                <a:solidFill>
                  <a:srgbClr val="887F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87" name="Freeform 206">
                  <a:extLst>
                    <a:ext uri="{FF2B5EF4-FFF2-40B4-BE49-F238E27FC236}">
                      <a16:creationId xmlns:a16="http://schemas.microsoft.com/office/drawing/2014/main" id="{CF9A9779-FA73-CF17-303D-18830C622E2C}"/>
                    </a:ext>
                  </a:extLst>
                </p:cNvPr>
                <p:cNvSpPr/>
                <p:nvPr/>
              </p:nvSpPr>
              <p:spPr bwMode="auto">
                <a:xfrm>
                  <a:off x="3334" y="4024"/>
                  <a:ext cx="14" cy="186"/>
                </a:xfrm>
                <a:custGeom>
                  <a:gdLst>
                    <a:gd name="T0" fmla="*/ 4 w 8"/>
                    <a:gd name="T1" fmla="*/ 0 h 102"/>
                    <a:gd name="T2" fmla="*/ 0 w 8"/>
                    <a:gd name="T3" fmla="*/ 0 h 102"/>
                    <a:gd name="T4" fmla="*/ 4 w 8"/>
                    <a:gd name="T5" fmla="*/ 102 h 102"/>
                    <a:gd name="T6" fmla="*/ 8 w 8"/>
                    <a:gd name="T7" fmla="*/ 102 h 102"/>
                    <a:gd name="T8" fmla="*/ 5 w 8"/>
                    <a:gd name="T9" fmla="*/ 37 h 102"/>
                    <a:gd name="T10" fmla="*/ 4 w 8"/>
                    <a:gd name="T11" fmla="*/ 10 h 102"/>
                    <a:gd name="T12" fmla="*/ 4 w 8"/>
                    <a:gd name="T13" fmla="*/ 0 h 102"/>
                  </a:gdLst>
                  <a:cxnLst>
                    <a:cxn ang="0">
                      <a:pos x="T0" y="T1"/>
                    </a:cxn>
                    <a:cxn ang="0">
                      <a:pos x="T2" y="T3"/>
                    </a:cxn>
                    <a:cxn ang="0">
                      <a:pos x="T4" y="T5"/>
                    </a:cxn>
                    <a:cxn ang="0">
                      <a:pos x="T6" y="T7"/>
                    </a:cxn>
                    <a:cxn ang="0">
                      <a:pos x="T8" y="T9"/>
                    </a:cxn>
                    <a:cxn ang="0">
                      <a:pos x="T10" y="T11"/>
                    </a:cxn>
                    <a:cxn ang="0">
                      <a:pos x="T12" y="T13"/>
                    </a:cxn>
                  </a:cxnLst>
                  <a:rect l="0" t="0" r="r" b="b"/>
                  <a:pathLst>
                    <a:path w="8" h="102">
                      <a:moveTo>
                        <a:pt x="4" y="0"/>
                      </a:moveTo>
                      <a:cubicBezTo>
                        <a:pt x="0" y="0"/>
                        <a:pt x="0" y="0"/>
                        <a:pt x="0" y="0"/>
                      </a:cubicBezTo>
                      <a:cubicBezTo>
                        <a:pt x="0" y="0"/>
                        <a:pt x="0" y="44"/>
                        <a:pt x="4" y="102"/>
                      </a:cubicBezTo>
                      <a:cubicBezTo>
                        <a:pt x="5" y="102"/>
                        <a:pt x="7" y="102"/>
                        <a:pt x="8" y="102"/>
                      </a:cubicBezTo>
                      <a:cubicBezTo>
                        <a:pt x="7" y="77"/>
                        <a:pt x="6" y="54"/>
                        <a:pt x="5" y="37"/>
                      </a:cubicBezTo>
                      <a:cubicBezTo>
                        <a:pt x="5" y="26"/>
                        <a:pt x="5" y="16"/>
                        <a:pt x="4" y="10"/>
                      </a:cubicBezTo>
                      <a:cubicBezTo>
                        <a:pt x="4" y="4"/>
                        <a:pt x="4" y="0"/>
                        <a:pt x="4" y="0"/>
                      </a:cubicBezTo>
                    </a:path>
                  </a:pathLst>
                </a:custGeom>
                <a:solidFill>
                  <a:srgbClr val="887F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88" name="Freeform 207">
                  <a:extLst>
                    <a:ext uri="{FF2B5EF4-FFF2-40B4-BE49-F238E27FC236}">
                      <a16:creationId xmlns:a16="http://schemas.microsoft.com/office/drawing/2014/main" id="{B3EBFC89-D90D-DF71-7EAA-E074A0CB480A}"/>
                    </a:ext>
                  </a:extLst>
                </p:cNvPr>
                <p:cNvSpPr/>
                <p:nvPr/>
              </p:nvSpPr>
              <p:spPr bwMode="auto">
                <a:xfrm>
                  <a:off x="1666" y="2071"/>
                  <a:ext cx="850" cy="479"/>
                </a:xfrm>
                <a:custGeom>
                  <a:gdLst>
                    <a:gd name="T0" fmla="*/ 466 w 466"/>
                    <a:gd name="T1" fmla="*/ 155 h 262"/>
                    <a:gd name="T2" fmla="*/ 324 w 466"/>
                    <a:gd name="T3" fmla="*/ 19 h 262"/>
                    <a:gd name="T4" fmla="*/ 0 w 466"/>
                    <a:gd name="T5" fmla="*/ 6 h 262"/>
                    <a:gd name="T6" fmla="*/ 200 w 466"/>
                    <a:gd name="T7" fmla="*/ 103 h 262"/>
                    <a:gd name="T8" fmla="*/ 340 w 466"/>
                    <a:gd name="T9" fmla="*/ 262 h 262"/>
                    <a:gd name="T10" fmla="*/ 466 w 466"/>
                    <a:gd name="T11" fmla="*/ 155 h 262"/>
                  </a:gdLst>
                  <a:cxnLst>
                    <a:cxn ang="0">
                      <a:pos x="T0" y="T1"/>
                    </a:cxn>
                    <a:cxn ang="0">
                      <a:pos x="T2" y="T3"/>
                    </a:cxn>
                    <a:cxn ang="0">
                      <a:pos x="T4" y="T5"/>
                    </a:cxn>
                    <a:cxn ang="0">
                      <a:pos x="T6" y="T7"/>
                    </a:cxn>
                    <a:cxn ang="0">
                      <a:pos x="T8" y="T9"/>
                    </a:cxn>
                    <a:cxn ang="0">
                      <a:pos x="T10" y="T11"/>
                    </a:cxn>
                  </a:cxnLst>
                  <a:rect l="0" t="0" r="r" b="b"/>
                  <a:pathLst>
                    <a:path w="466" h="262">
                      <a:moveTo>
                        <a:pt x="466" y="155"/>
                      </a:moveTo>
                      <a:cubicBezTo>
                        <a:pt x="466" y="155"/>
                        <a:pt x="378" y="39"/>
                        <a:pt x="324" y="19"/>
                      </a:cubicBezTo>
                      <a:cubicBezTo>
                        <a:pt x="271" y="0"/>
                        <a:pt x="0" y="6"/>
                        <a:pt x="0" y="6"/>
                      </a:cubicBezTo>
                      <a:cubicBezTo>
                        <a:pt x="0" y="6"/>
                        <a:pt x="17" y="88"/>
                        <a:pt x="200" y="103"/>
                      </a:cubicBezTo>
                      <a:cubicBezTo>
                        <a:pt x="275" y="125"/>
                        <a:pt x="340" y="262"/>
                        <a:pt x="340" y="262"/>
                      </a:cubicBezTo>
                      <a:cubicBezTo>
                        <a:pt x="340" y="262"/>
                        <a:pt x="436" y="204"/>
                        <a:pt x="466" y="155"/>
                      </a:cubicBezTo>
                      <a:close/>
                    </a:path>
                  </a:pathLst>
                </a:custGeom>
                <a:solidFill>
                  <a:srgbClr val="FB8F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89" name="Freeform 208">
                  <a:extLst>
                    <a:ext uri="{FF2B5EF4-FFF2-40B4-BE49-F238E27FC236}">
                      <a16:creationId xmlns:a16="http://schemas.microsoft.com/office/drawing/2014/main" id="{5DDE0EF3-F30E-91A1-E669-715E53839D8E}"/>
                    </a:ext>
                  </a:extLst>
                </p:cNvPr>
                <p:cNvSpPr/>
                <p:nvPr/>
              </p:nvSpPr>
              <p:spPr bwMode="auto">
                <a:xfrm>
                  <a:off x="2175" y="1685"/>
                  <a:ext cx="1179" cy="1688"/>
                </a:xfrm>
                <a:custGeom>
                  <a:gdLst>
                    <a:gd name="T0" fmla="*/ 636 w 646"/>
                    <a:gd name="T1" fmla="*/ 0 h 925"/>
                    <a:gd name="T2" fmla="*/ 445 w 646"/>
                    <a:gd name="T3" fmla="*/ 255 h 925"/>
                    <a:gd name="T4" fmla="*/ 340 w 646"/>
                    <a:gd name="T5" fmla="*/ 504 h 925"/>
                    <a:gd name="T6" fmla="*/ 189 w 646"/>
                    <a:gd name="T7" fmla="*/ 324 h 925"/>
                    <a:gd name="T8" fmla="*/ 0 w 646"/>
                    <a:gd name="T9" fmla="*/ 468 h 925"/>
                    <a:gd name="T10" fmla="*/ 428 w 646"/>
                    <a:gd name="T11" fmla="*/ 915 h 925"/>
                    <a:gd name="T12" fmla="*/ 601 w 646"/>
                    <a:gd name="T13" fmla="*/ 574 h 925"/>
                    <a:gd name="T14" fmla="*/ 636 w 646"/>
                    <a:gd name="T15" fmla="*/ 0 h 925"/>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6" h="924">
                      <a:moveTo>
                        <a:pt x="636" y="0"/>
                      </a:moveTo>
                      <a:cubicBezTo>
                        <a:pt x="636" y="0"/>
                        <a:pt x="527" y="66"/>
                        <a:pt x="445" y="255"/>
                      </a:cubicBezTo>
                      <a:cubicBezTo>
                        <a:pt x="363" y="444"/>
                        <a:pt x="340" y="504"/>
                        <a:pt x="340" y="504"/>
                      </a:cubicBezTo>
                      <a:cubicBezTo>
                        <a:pt x="189" y="324"/>
                        <a:pt x="189" y="324"/>
                        <a:pt x="189" y="324"/>
                      </a:cubicBezTo>
                      <a:cubicBezTo>
                        <a:pt x="189" y="324"/>
                        <a:pt x="127" y="444"/>
                        <a:pt x="0" y="468"/>
                      </a:cubicBezTo>
                      <a:cubicBezTo>
                        <a:pt x="267" y="878"/>
                        <a:pt x="308" y="925"/>
                        <a:pt x="428" y="915"/>
                      </a:cubicBezTo>
                      <a:cubicBezTo>
                        <a:pt x="548" y="904"/>
                        <a:pt x="601" y="574"/>
                        <a:pt x="601" y="574"/>
                      </a:cubicBezTo>
                      <a:cubicBezTo>
                        <a:pt x="601" y="574"/>
                        <a:pt x="646" y="149"/>
                        <a:pt x="636" y="0"/>
                      </a:cubicBezTo>
                      <a:close/>
                    </a:path>
                  </a:pathLst>
                </a:custGeom>
                <a:solidFill>
                  <a:srgbClr val="E0DB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90" name="Freeform 209">
                  <a:extLst>
                    <a:ext uri="{FF2B5EF4-FFF2-40B4-BE49-F238E27FC236}">
                      <a16:creationId xmlns:a16="http://schemas.microsoft.com/office/drawing/2014/main" id="{9BEBEBF3-F13B-989D-9822-852C4C3C0407}"/>
                    </a:ext>
                  </a:extLst>
                </p:cNvPr>
                <p:cNvSpPr/>
                <p:nvPr/>
              </p:nvSpPr>
              <p:spPr bwMode="auto">
                <a:xfrm>
                  <a:off x="3109" y="1655"/>
                  <a:ext cx="794" cy="2510"/>
                </a:xfrm>
                <a:custGeom>
                  <a:gdLst>
                    <a:gd name="T0" fmla="*/ 322 w 435"/>
                    <a:gd name="T1" fmla="*/ 36 h 1375"/>
                    <a:gd name="T2" fmla="*/ 124 w 435"/>
                    <a:gd name="T3" fmla="*/ 16 h 1375"/>
                    <a:gd name="T4" fmla="*/ 89 w 435"/>
                    <a:gd name="T5" fmla="*/ 590 h 1375"/>
                    <a:gd name="T6" fmla="*/ 0 w 435"/>
                    <a:gd name="T7" fmla="*/ 1309 h 1375"/>
                    <a:gd name="T8" fmla="*/ 435 w 435"/>
                    <a:gd name="T9" fmla="*/ 1370 h 1375"/>
                    <a:gd name="T10" fmla="*/ 435 w 435"/>
                    <a:gd name="T11" fmla="*/ 112 h 1375"/>
                    <a:gd name="T12" fmla="*/ 322 w 435"/>
                    <a:gd name="T13" fmla="*/ 36 h 1375"/>
                  </a:gdLst>
                  <a:cxnLst>
                    <a:cxn ang="0">
                      <a:pos x="T0" y="T1"/>
                    </a:cxn>
                    <a:cxn ang="0">
                      <a:pos x="T2" y="T3"/>
                    </a:cxn>
                    <a:cxn ang="0">
                      <a:pos x="T4" y="T5"/>
                    </a:cxn>
                    <a:cxn ang="0">
                      <a:pos x="T6" y="T7"/>
                    </a:cxn>
                    <a:cxn ang="0">
                      <a:pos x="T8" y="T9"/>
                    </a:cxn>
                    <a:cxn ang="0">
                      <a:pos x="T10" y="T11"/>
                    </a:cxn>
                    <a:cxn ang="0">
                      <a:pos x="T12" y="T13"/>
                    </a:cxn>
                  </a:cxnLst>
                  <a:rect l="0" t="0" r="r" b="b"/>
                  <a:pathLst>
                    <a:path w="435" h="1375">
                      <a:moveTo>
                        <a:pt x="322" y="36"/>
                      </a:moveTo>
                      <a:cubicBezTo>
                        <a:pt x="322" y="36"/>
                        <a:pt x="224" y="0"/>
                        <a:pt x="124" y="16"/>
                      </a:cubicBezTo>
                      <a:cubicBezTo>
                        <a:pt x="52" y="499"/>
                        <a:pt x="66" y="453"/>
                        <a:pt x="89" y="590"/>
                      </a:cubicBezTo>
                      <a:cubicBezTo>
                        <a:pt x="109" y="702"/>
                        <a:pt x="15" y="1123"/>
                        <a:pt x="0" y="1309"/>
                      </a:cubicBezTo>
                      <a:cubicBezTo>
                        <a:pt x="339" y="1375"/>
                        <a:pt x="435" y="1370"/>
                        <a:pt x="435" y="1370"/>
                      </a:cubicBezTo>
                      <a:cubicBezTo>
                        <a:pt x="435" y="112"/>
                        <a:pt x="435" y="112"/>
                        <a:pt x="435" y="112"/>
                      </a:cubicBezTo>
                      <a:lnTo>
                        <a:pt x="322" y="36"/>
                      </a:lnTo>
                      <a:close/>
                    </a:path>
                  </a:pathLst>
                </a:cu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91" name="Freeform 210">
                  <a:extLst>
                    <a:ext uri="{FF2B5EF4-FFF2-40B4-BE49-F238E27FC236}">
                      <a16:creationId xmlns:a16="http://schemas.microsoft.com/office/drawing/2014/main" id="{DB9B9655-3383-1982-E41A-23CBE611F66A}"/>
                    </a:ext>
                  </a:extLst>
                </p:cNvPr>
                <p:cNvSpPr/>
                <p:nvPr/>
              </p:nvSpPr>
              <p:spPr bwMode="auto">
                <a:xfrm>
                  <a:off x="1666" y="2071"/>
                  <a:ext cx="675" cy="187"/>
                </a:xfrm>
                <a:custGeom>
                  <a:gdLst>
                    <a:gd name="T0" fmla="*/ 370 w 370"/>
                    <a:gd name="T1" fmla="*/ 49 h 102"/>
                    <a:gd name="T2" fmla="*/ 324 w 370"/>
                    <a:gd name="T3" fmla="*/ 19 h 102"/>
                    <a:gd name="T4" fmla="*/ 0 w 370"/>
                    <a:gd name="T5" fmla="*/ 6 h 102"/>
                    <a:gd name="T6" fmla="*/ 185 w 370"/>
                    <a:gd name="T7" fmla="*/ 102 h 102"/>
                    <a:gd name="T8" fmla="*/ 370 w 370"/>
                    <a:gd name="T9" fmla="*/ 49 h 102"/>
                  </a:gdLst>
                  <a:cxnLst>
                    <a:cxn ang="0">
                      <a:pos x="T0" y="T1"/>
                    </a:cxn>
                    <a:cxn ang="0">
                      <a:pos x="T2" y="T3"/>
                    </a:cxn>
                    <a:cxn ang="0">
                      <a:pos x="T4" y="T5"/>
                    </a:cxn>
                    <a:cxn ang="0">
                      <a:pos x="T6" y="T7"/>
                    </a:cxn>
                    <a:cxn ang="0">
                      <a:pos x="T8" y="T9"/>
                    </a:cxn>
                  </a:cxnLst>
                  <a:rect l="0" t="0" r="r" b="b"/>
                  <a:pathLst>
                    <a:path w="370" h="102">
                      <a:moveTo>
                        <a:pt x="370" y="49"/>
                      </a:moveTo>
                      <a:cubicBezTo>
                        <a:pt x="354" y="35"/>
                        <a:pt x="338" y="24"/>
                        <a:pt x="324" y="19"/>
                      </a:cubicBezTo>
                      <a:cubicBezTo>
                        <a:pt x="271" y="0"/>
                        <a:pt x="0" y="6"/>
                        <a:pt x="0" y="6"/>
                      </a:cubicBezTo>
                      <a:cubicBezTo>
                        <a:pt x="0" y="6"/>
                        <a:pt x="16" y="83"/>
                        <a:pt x="185" y="102"/>
                      </a:cubicBezTo>
                      <a:cubicBezTo>
                        <a:pt x="238" y="72"/>
                        <a:pt x="316" y="57"/>
                        <a:pt x="370" y="49"/>
                      </a:cubicBezTo>
                      <a:close/>
                    </a:path>
                  </a:pathLst>
                </a:custGeom>
                <a:solidFill>
                  <a:srgbClr val="C691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92" name="Freeform 211">
                  <a:extLst>
                    <a:ext uri="{FF2B5EF4-FFF2-40B4-BE49-F238E27FC236}">
                      <a16:creationId xmlns:a16="http://schemas.microsoft.com/office/drawing/2014/main" id="{5BA27736-AB3D-DBED-740D-C1A0450B9307}"/>
                    </a:ext>
                  </a:extLst>
                </p:cNvPr>
                <p:cNvSpPr/>
                <p:nvPr/>
              </p:nvSpPr>
              <p:spPr bwMode="auto">
                <a:xfrm>
                  <a:off x="1666" y="2071"/>
                  <a:ext cx="675" cy="187"/>
                </a:xfrm>
                <a:custGeom>
                  <a:gdLst>
                    <a:gd name="T0" fmla="*/ 370 w 370"/>
                    <a:gd name="T1" fmla="*/ 49 h 102"/>
                    <a:gd name="T2" fmla="*/ 324 w 370"/>
                    <a:gd name="T3" fmla="*/ 19 h 102"/>
                    <a:gd name="T4" fmla="*/ 0 w 370"/>
                    <a:gd name="T5" fmla="*/ 6 h 102"/>
                    <a:gd name="T6" fmla="*/ 185 w 370"/>
                    <a:gd name="T7" fmla="*/ 102 h 102"/>
                    <a:gd name="T8" fmla="*/ 370 w 370"/>
                    <a:gd name="T9" fmla="*/ 49 h 102"/>
                  </a:gdLst>
                  <a:cxnLst>
                    <a:cxn ang="0">
                      <a:pos x="T0" y="T1"/>
                    </a:cxn>
                    <a:cxn ang="0">
                      <a:pos x="T2" y="T3"/>
                    </a:cxn>
                    <a:cxn ang="0">
                      <a:pos x="T4" y="T5"/>
                    </a:cxn>
                    <a:cxn ang="0">
                      <a:pos x="T6" y="T7"/>
                    </a:cxn>
                    <a:cxn ang="0">
                      <a:pos x="T8" y="T9"/>
                    </a:cxn>
                  </a:cxnLst>
                  <a:rect l="0" t="0" r="r" b="b"/>
                  <a:pathLst>
                    <a:path w="370" h="102">
                      <a:moveTo>
                        <a:pt x="370" y="49"/>
                      </a:moveTo>
                      <a:cubicBezTo>
                        <a:pt x="354" y="35"/>
                        <a:pt x="338" y="24"/>
                        <a:pt x="324" y="19"/>
                      </a:cubicBezTo>
                      <a:cubicBezTo>
                        <a:pt x="271" y="0"/>
                        <a:pt x="0" y="6"/>
                        <a:pt x="0" y="6"/>
                      </a:cubicBezTo>
                      <a:cubicBezTo>
                        <a:pt x="0" y="6"/>
                        <a:pt x="16" y="83"/>
                        <a:pt x="185" y="102"/>
                      </a:cubicBezTo>
                      <a:cubicBezTo>
                        <a:pt x="238" y="72"/>
                        <a:pt x="316" y="57"/>
                        <a:pt x="370" y="49"/>
                      </a:cubicBezTo>
                      <a:close/>
                    </a:path>
                  </a:pathLst>
                </a:custGeom>
                <a:solidFill>
                  <a:srgbClr val="D86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93" name="Freeform 212">
                  <a:extLst>
                    <a:ext uri="{FF2B5EF4-FFF2-40B4-BE49-F238E27FC236}">
                      <a16:creationId xmlns:a16="http://schemas.microsoft.com/office/drawing/2014/main" id="{3A213D48-B153-A5B4-662B-4946D49C90EB}"/>
                    </a:ext>
                  </a:extLst>
                </p:cNvPr>
                <p:cNvSpPr/>
                <p:nvPr/>
              </p:nvSpPr>
              <p:spPr bwMode="auto">
                <a:xfrm>
                  <a:off x="2175" y="2276"/>
                  <a:ext cx="482" cy="434"/>
                </a:xfrm>
                <a:custGeom>
                  <a:gdLst>
                    <a:gd name="T0" fmla="*/ 189 w 264"/>
                    <a:gd name="T1" fmla="*/ 0 h 238"/>
                    <a:gd name="T2" fmla="*/ 264 w 264"/>
                    <a:gd name="T3" fmla="*/ 89 h 238"/>
                    <a:gd name="T4" fmla="*/ 62 w 264"/>
                    <a:gd name="T5" fmla="*/ 238 h 238"/>
                    <a:gd name="T6" fmla="*/ 0 w 264"/>
                    <a:gd name="T7" fmla="*/ 144 h 238"/>
                    <a:gd name="T8" fmla="*/ 189 w 264"/>
                    <a:gd name="T9" fmla="*/ 0 h 238"/>
                  </a:gdLst>
                  <a:cxnLst>
                    <a:cxn ang="0">
                      <a:pos x="T0" y="T1"/>
                    </a:cxn>
                    <a:cxn ang="0">
                      <a:pos x="T2" y="T3"/>
                    </a:cxn>
                    <a:cxn ang="0">
                      <a:pos x="T4" y="T5"/>
                    </a:cxn>
                    <a:cxn ang="0">
                      <a:pos x="T6" y="T7"/>
                    </a:cxn>
                    <a:cxn ang="0">
                      <a:pos x="T8" y="T9"/>
                    </a:cxn>
                  </a:cxnLst>
                  <a:rect l="0" t="0" r="r" b="b"/>
                  <a:pathLst>
                    <a:path w="264" h="238">
                      <a:moveTo>
                        <a:pt x="189" y="0"/>
                      </a:moveTo>
                      <a:cubicBezTo>
                        <a:pt x="264" y="89"/>
                        <a:pt x="264" y="89"/>
                        <a:pt x="264" y="89"/>
                      </a:cubicBezTo>
                      <a:cubicBezTo>
                        <a:pt x="222" y="137"/>
                        <a:pt x="149" y="208"/>
                        <a:pt x="62" y="238"/>
                      </a:cubicBezTo>
                      <a:cubicBezTo>
                        <a:pt x="43" y="209"/>
                        <a:pt x="23" y="178"/>
                        <a:pt x="0" y="144"/>
                      </a:cubicBezTo>
                      <a:cubicBezTo>
                        <a:pt x="127" y="120"/>
                        <a:pt x="189" y="0"/>
                        <a:pt x="189" y="0"/>
                      </a:cubicBezTo>
                      <a:close/>
                    </a:path>
                  </a:pathLst>
                </a:custGeom>
                <a:solidFill>
                  <a:srgbClr val="D3C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94" name="Freeform 213">
                  <a:extLst>
                    <a:ext uri="{FF2B5EF4-FFF2-40B4-BE49-F238E27FC236}">
                      <a16:creationId xmlns:a16="http://schemas.microsoft.com/office/drawing/2014/main" id="{5ABE7759-B284-EBA2-1A5F-2E1B20DE5BFA}"/>
                    </a:ext>
                  </a:extLst>
                </p:cNvPr>
                <p:cNvSpPr/>
                <p:nvPr/>
              </p:nvSpPr>
              <p:spPr bwMode="auto">
                <a:xfrm>
                  <a:off x="2792" y="2603"/>
                  <a:ext cx="237" cy="275"/>
                </a:xfrm>
                <a:custGeom>
                  <a:gdLst>
                    <a:gd name="T0" fmla="*/ 0 w 237"/>
                    <a:gd name="T1" fmla="*/ 5 h 275"/>
                    <a:gd name="T2" fmla="*/ 232 w 237"/>
                    <a:gd name="T3" fmla="*/ 275 h 275"/>
                    <a:gd name="T4" fmla="*/ 237 w 237"/>
                    <a:gd name="T5" fmla="*/ 270 h 275"/>
                    <a:gd name="T6" fmla="*/ 7 w 237"/>
                    <a:gd name="T7" fmla="*/ 0 h 275"/>
                    <a:gd name="T8" fmla="*/ 0 w 237"/>
                    <a:gd name="T9" fmla="*/ 5 h 275"/>
                  </a:gdLst>
                  <a:cxnLst>
                    <a:cxn ang="0">
                      <a:pos x="T0" y="T1"/>
                    </a:cxn>
                    <a:cxn ang="0">
                      <a:pos x="T2" y="T3"/>
                    </a:cxn>
                    <a:cxn ang="0">
                      <a:pos x="T4" y="T5"/>
                    </a:cxn>
                    <a:cxn ang="0">
                      <a:pos x="T6" y="T7"/>
                    </a:cxn>
                    <a:cxn ang="0">
                      <a:pos x="T8" y="T9"/>
                    </a:cxn>
                  </a:cxnLst>
                  <a:rect l="0" t="0" r="r" b="b"/>
                  <a:pathLst>
                    <a:path w="236" h="275">
                      <a:moveTo>
                        <a:pt x="0" y="5"/>
                      </a:moveTo>
                      <a:lnTo>
                        <a:pt x="232" y="275"/>
                      </a:lnTo>
                      <a:lnTo>
                        <a:pt x="237" y="270"/>
                      </a:lnTo>
                      <a:lnTo>
                        <a:pt x="7" y="0"/>
                      </a:lnTo>
                      <a:lnTo>
                        <a:pt x="0" y="5"/>
                      </a:lnTo>
                      <a:close/>
                    </a:path>
                  </a:pathLst>
                </a:custGeom>
                <a:solidFill>
                  <a:srgbClr val="9B94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95" name="Freeform 214">
                  <a:extLst>
                    <a:ext uri="{FF2B5EF4-FFF2-40B4-BE49-F238E27FC236}">
                      <a16:creationId xmlns:a16="http://schemas.microsoft.com/office/drawing/2014/main" id="{E4457CBC-22D9-C023-0B12-D69AD57C425E}"/>
                    </a:ext>
                  </a:extLst>
                </p:cNvPr>
                <p:cNvSpPr/>
                <p:nvPr/>
              </p:nvSpPr>
              <p:spPr bwMode="auto">
                <a:xfrm>
                  <a:off x="2792" y="2603"/>
                  <a:ext cx="237" cy="275"/>
                </a:xfrm>
                <a:custGeom>
                  <a:gdLst>
                    <a:gd name="T0" fmla="*/ 0 w 237"/>
                    <a:gd name="T1" fmla="*/ 5 h 275"/>
                    <a:gd name="T2" fmla="*/ 232 w 237"/>
                    <a:gd name="T3" fmla="*/ 275 h 275"/>
                    <a:gd name="T4" fmla="*/ 237 w 237"/>
                    <a:gd name="T5" fmla="*/ 270 h 275"/>
                    <a:gd name="T6" fmla="*/ 7 w 237"/>
                    <a:gd name="T7" fmla="*/ 0 h 275"/>
                  </a:gdLst>
                  <a:cxnLst>
                    <a:cxn ang="0">
                      <a:pos x="T0" y="T1"/>
                    </a:cxn>
                    <a:cxn ang="0">
                      <a:pos x="T2" y="T3"/>
                    </a:cxn>
                    <a:cxn ang="0">
                      <a:pos x="T4" y="T5"/>
                    </a:cxn>
                    <a:cxn ang="0">
                      <a:pos x="T6" y="T7"/>
                    </a:cxn>
                  </a:cxnLst>
                  <a:rect l="0" t="0" r="r" b="b"/>
                  <a:pathLst>
                    <a:path w="236" h="275">
                      <a:moveTo>
                        <a:pt x="0" y="5"/>
                      </a:moveTo>
                      <a:lnTo>
                        <a:pt x="232" y="275"/>
                      </a:lnTo>
                      <a:lnTo>
                        <a:pt x="237" y="270"/>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96" name="Freeform 215">
                  <a:extLst>
                    <a:ext uri="{FF2B5EF4-FFF2-40B4-BE49-F238E27FC236}">
                      <a16:creationId xmlns:a16="http://schemas.microsoft.com/office/drawing/2014/main" id="{3D826BC2-2F17-397B-3A3F-65EE5EAB53A9}"/>
                    </a:ext>
                  </a:extLst>
                </p:cNvPr>
                <p:cNvSpPr/>
                <p:nvPr/>
              </p:nvSpPr>
              <p:spPr bwMode="auto">
                <a:xfrm>
                  <a:off x="2876" y="2707"/>
                  <a:ext cx="184" cy="82"/>
                </a:xfrm>
                <a:custGeom>
                  <a:gdLst>
                    <a:gd name="T0" fmla="*/ 184 w 184"/>
                    <a:gd name="T1" fmla="*/ 74 h 82"/>
                    <a:gd name="T2" fmla="*/ 3 w 184"/>
                    <a:gd name="T3" fmla="*/ 0 h 82"/>
                    <a:gd name="T4" fmla="*/ 0 w 184"/>
                    <a:gd name="T5" fmla="*/ 7 h 82"/>
                    <a:gd name="T6" fmla="*/ 180 w 184"/>
                    <a:gd name="T7" fmla="*/ 82 h 82"/>
                    <a:gd name="T8" fmla="*/ 184 w 184"/>
                    <a:gd name="T9" fmla="*/ 74 h 82"/>
                  </a:gdLst>
                  <a:cxnLst>
                    <a:cxn ang="0">
                      <a:pos x="T0" y="T1"/>
                    </a:cxn>
                    <a:cxn ang="0">
                      <a:pos x="T2" y="T3"/>
                    </a:cxn>
                    <a:cxn ang="0">
                      <a:pos x="T4" y="T5"/>
                    </a:cxn>
                    <a:cxn ang="0">
                      <a:pos x="T6" y="T7"/>
                    </a:cxn>
                    <a:cxn ang="0">
                      <a:pos x="T8" y="T9"/>
                    </a:cxn>
                  </a:cxnLst>
                  <a:rect l="0" t="0" r="r" b="b"/>
                  <a:pathLst>
                    <a:path w="184" h="82">
                      <a:moveTo>
                        <a:pt x="184" y="74"/>
                      </a:moveTo>
                      <a:lnTo>
                        <a:pt x="3" y="0"/>
                      </a:lnTo>
                      <a:lnTo>
                        <a:pt x="0" y="7"/>
                      </a:lnTo>
                      <a:lnTo>
                        <a:pt x="180" y="82"/>
                      </a:lnTo>
                      <a:lnTo>
                        <a:pt x="184" y="74"/>
                      </a:lnTo>
                      <a:close/>
                    </a:path>
                  </a:pathLst>
                </a:custGeom>
                <a:solidFill>
                  <a:srgbClr val="9B94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97" name="Freeform 216">
                  <a:extLst>
                    <a:ext uri="{FF2B5EF4-FFF2-40B4-BE49-F238E27FC236}">
                      <a16:creationId xmlns:a16="http://schemas.microsoft.com/office/drawing/2014/main" id="{304C2870-C49E-8C91-B88B-6947C1E4769F}"/>
                    </a:ext>
                  </a:extLst>
                </p:cNvPr>
                <p:cNvSpPr/>
                <p:nvPr/>
              </p:nvSpPr>
              <p:spPr bwMode="auto">
                <a:xfrm>
                  <a:off x="2876" y="2707"/>
                  <a:ext cx="184" cy="82"/>
                </a:xfrm>
                <a:custGeom>
                  <a:gdLst>
                    <a:gd name="T0" fmla="*/ 184 w 184"/>
                    <a:gd name="T1" fmla="*/ 74 h 82"/>
                    <a:gd name="T2" fmla="*/ 3 w 184"/>
                    <a:gd name="T3" fmla="*/ 0 h 82"/>
                    <a:gd name="T4" fmla="*/ 0 w 184"/>
                    <a:gd name="T5" fmla="*/ 7 h 82"/>
                    <a:gd name="T6" fmla="*/ 180 w 184"/>
                    <a:gd name="T7" fmla="*/ 82 h 82"/>
                  </a:gdLst>
                  <a:cxnLst>
                    <a:cxn ang="0">
                      <a:pos x="T0" y="T1"/>
                    </a:cxn>
                    <a:cxn ang="0">
                      <a:pos x="T2" y="T3"/>
                    </a:cxn>
                    <a:cxn ang="0">
                      <a:pos x="T4" y="T5"/>
                    </a:cxn>
                    <a:cxn ang="0">
                      <a:pos x="T6" y="T7"/>
                    </a:cxn>
                  </a:cxnLst>
                  <a:rect l="0" t="0" r="r" b="b"/>
                  <a:pathLst>
                    <a:path w="184" h="82">
                      <a:moveTo>
                        <a:pt x="184" y="74"/>
                      </a:moveTo>
                      <a:lnTo>
                        <a:pt x="3" y="0"/>
                      </a:lnTo>
                      <a:lnTo>
                        <a:pt x="0" y="7"/>
                      </a:lnTo>
                      <a:lnTo>
                        <a:pt x="180" y="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98" name="Freeform 217">
                  <a:extLst>
                    <a:ext uri="{FF2B5EF4-FFF2-40B4-BE49-F238E27FC236}">
                      <a16:creationId xmlns:a16="http://schemas.microsoft.com/office/drawing/2014/main" id="{F0350027-7D56-BC28-A4F2-7AB1E0BA335E}"/>
                    </a:ext>
                  </a:extLst>
                </p:cNvPr>
                <p:cNvSpPr/>
                <p:nvPr/>
              </p:nvSpPr>
              <p:spPr bwMode="auto">
                <a:xfrm>
                  <a:off x="2662" y="3083"/>
                  <a:ext cx="449" cy="281"/>
                </a:xfrm>
                <a:custGeom>
                  <a:gdLst>
                    <a:gd name="T0" fmla="*/ 0 w 246"/>
                    <a:gd name="T1" fmla="*/ 81 h 154"/>
                    <a:gd name="T2" fmla="*/ 123 w 246"/>
                    <a:gd name="T3" fmla="*/ 0 h 154"/>
                    <a:gd name="T4" fmla="*/ 246 w 246"/>
                    <a:gd name="T5" fmla="*/ 80 h 154"/>
                    <a:gd name="T6" fmla="*/ 161 w 246"/>
                    <a:gd name="T7" fmla="*/ 149 h 154"/>
                    <a:gd name="T8" fmla="*/ 0 w 246"/>
                    <a:gd name="T9" fmla="*/ 81 h 154"/>
                  </a:gdLst>
                  <a:cxnLst>
                    <a:cxn ang="0">
                      <a:pos x="T0" y="T1"/>
                    </a:cxn>
                    <a:cxn ang="0">
                      <a:pos x="T2" y="T3"/>
                    </a:cxn>
                    <a:cxn ang="0">
                      <a:pos x="T4" y="T5"/>
                    </a:cxn>
                    <a:cxn ang="0">
                      <a:pos x="T6" y="T7"/>
                    </a:cxn>
                    <a:cxn ang="0">
                      <a:pos x="T8" y="T9"/>
                    </a:cxn>
                  </a:cxnLst>
                  <a:rect l="0" t="0" r="r" b="b"/>
                  <a:pathLst>
                    <a:path w="246" h="154">
                      <a:moveTo>
                        <a:pt x="0" y="81"/>
                      </a:moveTo>
                      <a:cubicBezTo>
                        <a:pt x="21" y="34"/>
                        <a:pt x="68" y="0"/>
                        <a:pt x="123" y="0"/>
                      </a:cubicBezTo>
                      <a:cubicBezTo>
                        <a:pt x="178" y="0"/>
                        <a:pt x="225" y="33"/>
                        <a:pt x="246" y="80"/>
                      </a:cubicBezTo>
                      <a:cubicBezTo>
                        <a:pt x="223" y="118"/>
                        <a:pt x="194" y="146"/>
                        <a:pt x="161" y="149"/>
                      </a:cubicBezTo>
                      <a:cubicBezTo>
                        <a:pt x="100" y="154"/>
                        <a:pt x="60" y="145"/>
                        <a:pt x="0" y="81"/>
                      </a:cubicBezTo>
                      <a:close/>
                    </a:path>
                  </a:pathLst>
                </a:custGeom>
                <a:solidFill>
                  <a:srgbClr val="D3C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99" name="Oval 218">
                  <a:extLst>
                    <a:ext uri="{FF2B5EF4-FFF2-40B4-BE49-F238E27FC236}">
                      <a16:creationId xmlns:a16="http://schemas.microsoft.com/office/drawing/2014/main" id="{F65DF474-45FB-8AEB-E6B6-F3C75C41487A}"/>
                    </a:ext>
                  </a:extLst>
                </p:cNvPr>
                <p:cNvSpPr>
                  <a:spLocks noChangeArrowheads="1"/>
                </p:cNvSpPr>
                <p:nvPr/>
              </p:nvSpPr>
              <p:spPr bwMode="auto">
                <a:xfrm>
                  <a:off x="3695" y="2081"/>
                  <a:ext cx="93" cy="93"/>
                </a:xfrm>
                <a:prstGeom prst="ellipse">
                  <a:avLst/>
                </a:prstGeom>
                <a:solidFill>
                  <a:srgbClr val="2D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00" name="Oval 219">
                  <a:extLst>
                    <a:ext uri="{FF2B5EF4-FFF2-40B4-BE49-F238E27FC236}">
                      <a16:creationId xmlns:a16="http://schemas.microsoft.com/office/drawing/2014/main" id="{D47C88D2-0424-F14C-D53D-30A8D30378A3}"/>
                    </a:ext>
                  </a:extLst>
                </p:cNvPr>
                <p:cNvSpPr>
                  <a:spLocks noChangeArrowheads="1"/>
                </p:cNvSpPr>
                <p:nvPr/>
              </p:nvSpPr>
              <p:spPr bwMode="auto">
                <a:xfrm>
                  <a:off x="3695" y="2497"/>
                  <a:ext cx="93" cy="93"/>
                </a:xfrm>
                <a:prstGeom prst="ellipse">
                  <a:avLst/>
                </a:prstGeom>
                <a:solidFill>
                  <a:srgbClr val="2D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01" name="Oval 220">
                  <a:extLst>
                    <a:ext uri="{FF2B5EF4-FFF2-40B4-BE49-F238E27FC236}">
                      <a16:creationId xmlns:a16="http://schemas.microsoft.com/office/drawing/2014/main" id="{6B57084C-56A3-2097-72C7-D135A9507E62}"/>
                    </a:ext>
                  </a:extLst>
                </p:cNvPr>
                <p:cNvSpPr>
                  <a:spLocks noChangeArrowheads="1"/>
                </p:cNvSpPr>
                <p:nvPr/>
              </p:nvSpPr>
              <p:spPr bwMode="auto">
                <a:xfrm>
                  <a:off x="3695" y="2913"/>
                  <a:ext cx="93" cy="91"/>
                </a:xfrm>
                <a:prstGeom prst="ellipse">
                  <a:avLst/>
                </a:prstGeom>
                <a:solidFill>
                  <a:srgbClr val="2D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02" name="Oval 221">
                  <a:extLst>
                    <a:ext uri="{FF2B5EF4-FFF2-40B4-BE49-F238E27FC236}">
                      <a16:creationId xmlns:a16="http://schemas.microsoft.com/office/drawing/2014/main" id="{C84BECCD-3E6F-E550-33EF-E3CF93873369}"/>
                    </a:ext>
                  </a:extLst>
                </p:cNvPr>
                <p:cNvSpPr>
                  <a:spLocks noChangeArrowheads="1"/>
                </p:cNvSpPr>
                <p:nvPr/>
              </p:nvSpPr>
              <p:spPr bwMode="auto">
                <a:xfrm>
                  <a:off x="3695" y="3329"/>
                  <a:ext cx="93" cy="91"/>
                </a:xfrm>
                <a:prstGeom prst="ellipse">
                  <a:avLst/>
                </a:prstGeom>
                <a:solidFill>
                  <a:srgbClr val="2D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03" name="Oval 222">
                  <a:extLst>
                    <a:ext uri="{FF2B5EF4-FFF2-40B4-BE49-F238E27FC236}">
                      <a16:creationId xmlns:a16="http://schemas.microsoft.com/office/drawing/2014/main" id="{14EA424E-E19E-B0E5-CAD9-70F4A36FA42F}"/>
                    </a:ext>
                  </a:extLst>
                </p:cNvPr>
                <p:cNvSpPr>
                  <a:spLocks noChangeArrowheads="1"/>
                </p:cNvSpPr>
                <p:nvPr/>
              </p:nvSpPr>
              <p:spPr bwMode="auto">
                <a:xfrm>
                  <a:off x="3695" y="3743"/>
                  <a:ext cx="93" cy="93"/>
                </a:xfrm>
                <a:prstGeom prst="ellipse">
                  <a:avLst/>
                </a:prstGeom>
                <a:solidFill>
                  <a:srgbClr val="2D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04" name="Freeform 223">
                  <a:extLst>
                    <a:ext uri="{FF2B5EF4-FFF2-40B4-BE49-F238E27FC236}">
                      <a16:creationId xmlns:a16="http://schemas.microsoft.com/office/drawing/2014/main" id="{015B6226-D701-5A36-7627-AC15F35A77D5}"/>
                    </a:ext>
                  </a:extLst>
                </p:cNvPr>
                <p:cNvSpPr/>
                <p:nvPr/>
              </p:nvSpPr>
              <p:spPr bwMode="auto">
                <a:xfrm>
                  <a:off x="3233" y="1683"/>
                  <a:ext cx="106" cy="1053"/>
                </a:xfrm>
                <a:custGeom>
                  <a:gdLst>
                    <a:gd name="T0" fmla="*/ 54 w 58"/>
                    <a:gd name="T1" fmla="*/ 0 h 577"/>
                    <a:gd name="T2" fmla="*/ 27 w 58"/>
                    <a:gd name="T3" fmla="*/ 175 h 577"/>
                    <a:gd name="T4" fmla="*/ 0 w 58"/>
                    <a:gd name="T5" fmla="*/ 440 h 577"/>
                    <a:gd name="T6" fmla="*/ 1 w 58"/>
                    <a:gd name="T7" fmla="*/ 459 h 577"/>
                    <a:gd name="T8" fmla="*/ 13 w 58"/>
                    <a:gd name="T9" fmla="*/ 556 h 577"/>
                    <a:gd name="T10" fmla="*/ 20 w 58"/>
                    <a:gd name="T11" fmla="*/ 577 h 577"/>
                    <a:gd name="T12" fmla="*/ 23 w 58"/>
                    <a:gd name="T13" fmla="*/ 574 h 577"/>
                    <a:gd name="T14" fmla="*/ 22 w 58"/>
                    <a:gd name="T15" fmla="*/ 575 h 577"/>
                    <a:gd name="T16" fmla="*/ 23 w 58"/>
                    <a:gd name="T17" fmla="*/ 574 h 577"/>
                    <a:gd name="T18" fmla="*/ 23 w 58"/>
                    <a:gd name="T19" fmla="*/ 574 h 577"/>
                    <a:gd name="T20" fmla="*/ 22 w 58"/>
                    <a:gd name="T21" fmla="*/ 575 h 577"/>
                    <a:gd name="T22" fmla="*/ 23 w 58"/>
                    <a:gd name="T23" fmla="*/ 574 h 577"/>
                    <a:gd name="T24" fmla="*/ 16 w 58"/>
                    <a:gd name="T25" fmla="*/ 553 h 577"/>
                    <a:gd name="T26" fmla="*/ 5 w 58"/>
                    <a:gd name="T27" fmla="*/ 459 h 577"/>
                    <a:gd name="T28" fmla="*/ 5 w 58"/>
                    <a:gd name="T29" fmla="*/ 440 h 577"/>
                    <a:gd name="T30" fmla="*/ 31 w 58"/>
                    <a:gd name="T31" fmla="*/ 175 h 577"/>
                    <a:gd name="T32" fmla="*/ 50 w 58"/>
                    <a:gd name="T33" fmla="*/ 53 h 577"/>
                    <a:gd name="T34" fmla="*/ 56 w 58"/>
                    <a:gd name="T35" fmla="*/ 15 h 577"/>
                    <a:gd name="T36" fmla="*/ 58 w 58"/>
                    <a:gd name="T37" fmla="*/ 1 h 577"/>
                    <a:gd name="T38" fmla="*/ 54 w 58"/>
                    <a:gd name="T39" fmla="*/ 0 h 5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 h="577">
                      <a:moveTo>
                        <a:pt x="54" y="0"/>
                      </a:moveTo>
                      <a:cubicBezTo>
                        <a:pt x="54" y="0"/>
                        <a:pt x="40" y="80"/>
                        <a:pt x="27" y="175"/>
                      </a:cubicBezTo>
                      <a:cubicBezTo>
                        <a:pt x="14" y="270"/>
                        <a:pt x="0" y="380"/>
                        <a:pt x="0" y="440"/>
                      </a:cubicBezTo>
                      <a:cubicBezTo>
                        <a:pt x="0" y="447"/>
                        <a:pt x="1" y="453"/>
                        <a:pt x="1" y="459"/>
                      </a:cubicBezTo>
                      <a:cubicBezTo>
                        <a:pt x="4" y="510"/>
                        <a:pt x="9" y="539"/>
                        <a:pt x="13" y="556"/>
                      </a:cubicBezTo>
                      <a:cubicBezTo>
                        <a:pt x="16" y="572"/>
                        <a:pt x="19" y="576"/>
                        <a:pt x="20" y="577"/>
                      </a:cubicBezTo>
                      <a:cubicBezTo>
                        <a:pt x="23" y="574"/>
                        <a:pt x="23" y="574"/>
                        <a:pt x="23" y="574"/>
                      </a:cubicBezTo>
                      <a:cubicBezTo>
                        <a:pt x="22" y="575"/>
                        <a:pt x="22" y="575"/>
                        <a:pt x="22" y="575"/>
                      </a:cubicBezTo>
                      <a:cubicBezTo>
                        <a:pt x="23" y="574"/>
                        <a:pt x="23" y="574"/>
                        <a:pt x="23" y="574"/>
                      </a:cubicBezTo>
                      <a:cubicBezTo>
                        <a:pt x="23" y="574"/>
                        <a:pt x="23" y="574"/>
                        <a:pt x="23" y="574"/>
                      </a:cubicBezTo>
                      <a:cubicBezTo>
                        <a:pt x="22" y="575"/>
                        <a:pt x="22" y="575"/>
                        <a:pt x="22" y="575"/>
                      </a:cubicBezTo>
                      <a:cubicBezTo>
                        <a:pt x="23" y="574"/>
                        <a:pt x="23" y="574"/>
                        <a:pt x="23" y="574"/>
                      </a:cubicBezTo>
                      <a:cubicBezTo>
                        <a:pt x="23" y="574"/>
                        <a:pt x="20" y="570"/>
                        <a:pt x="16" y="553"/>
                      </a:cubicBezTo>
                      <a:cubicBezTo>
                        <a:pt x="13" y="537"/>
                        <a:pt x="9" y="508"/>
                        <a:pt x="5" y="459"/>
                      </a:cubicBezTo>
                      <a:cubicBezTo>
                        <a:pt x="5" y="453"/>
                        <a:pt x="5" y="447"/>
                        <a:pt x="5" y="440"/>
                      </a:cubicBezTo>
                      <a:cubicBezTo>
                        <a:pt x="5" y="380"/>
                        <a:pt x="18" y="270"/>
                        <a:pt x="31" y="175"/>
                      </a:cubicBezTo>
                      <a:cubicBezTo>
                        <a:pt x="38" y="128"/>
                        <a:pt x="45" y="85"/>
                        <a:pt x="50" y="53"/>
                      </a:cubicBezTo>
                      <a:cubicBezTo>
                        <a:pt x="52" y="37"/>
                        <a:pt x="54" y="24"/>
                        <a:pt x="56" y="15"/>
                      </a:cubicBezTo>
                      <a:cubicBezTo>
                        <a:pt x="57" y="6"/>
                        <a:pt x="58" y="1"/>
                        <a:pt x="58" y="1"/>
                      </a:cubicBezTo>
                      <a:cubicBezTo>
                        <a:pt x="54" y="0"/>
                        <a:pt x="54" y="0"/>
                        <a:pt x="54" y="0"/>
                      </a:cubicBezTo>
                      <a:close/>
                    </a:path>
                  </a:pathLst>
                </a:custGeom>
                <a:solidFill>
                  <a:srgbClr val="9B94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05" name="Freeform 224">
                  <a:extLst>
                    <a:ext uri="{FF2B5EF4-FFF2-40B4-BE49-F238E27FC236}">
                      <a16:creationId xmlns:a16="http://schemas.microsoft.com/office/drawing/2014/main" id="{FA806E5B-CC68-4C65-A1BC-672A62E5107B}"/>
                    </a:ext>
                  </a:extLst>
                </p:cNvPr>
                <p:cNvSpPr/>
                <p:nvPr/>
              </p:nvSpPr>
              <p:spPr bwMode="auto">
                <a:xfrm>
                  <a:off x="1768" y="2081"/>
                  <a:ext cx="196" cy="89"/>
                </a:xfrm>
                <a:custGeom>
                  <a:gdLst>
                    <a:gd name="T0" fmla="*/ 0 w 107"/>
                    <a:gd name="T1" fmla="*/ 1 h 49"/>
                    <a:gd name="T2" fmla="*/ 19 w 107"/>
                    <a:gd name="T3" fmla="*/ 24 h 49"/>
                    <a:gd name="T4" fmla="*/ 107 w 107"/>
                    <a:gd name="T5" fmla="*/ 49 h 49"/>
                    <a:gd name="T6" fmla="*/ 107 w 107"/>
                    <a:gd name="T7" fmla="*/ 45 h 49"/>
                    <a:gd name="T8" fmla="*/ 21 w 107"/>
                    <a:gd name="T9" fmla="*/ 20 h 49"/>
                    <a:gd name="T10" fmla="*/ 7 w 107"/>
                    <a:gd name="T11" fmla="*/ 6 h 49"/>
                    <a:gd name="T12" fmla="*/ 5 w 107"/>
                    <a:gd name="T13" fmla="*/ 1 h 49"/>
                    <a:gd name="T14" fmla="*/ 4 w 107"/>
                    <a:gd name="T15" fmla="*/ 0 h 49"/>
                    <a:gd name="T16" fmla="*/ 4 w 107"/>
                    <a:gd name="T17" fmla="*/ 0 h 49"/>
                    <a:gd name="T18" fmla="*/ 4 w 107"/>
                    <a:gd name="T19" fmla="*/ 0 h 49"/>
                    <a:gd name="T20" fmla="*/ 4 w 107"/>
                    <a:gd name="T21" fmla="*/ 0 h 49"/>
                    <a:gd name="T22" fmla="*/ 4 w 107"/>
                    <a:gd name="T23" fmla="*/ 0 h 49"/>
                    <a:gd name="T24" fmla="*/ 4 w 107"/>
                    <a:gd name="T25" fmla="*/ 0 h 49"/>
                    <a:gd name="T26" fmla="*/ 4 w 107"/>
                    <a:gd name="T27" fmla="*/ 0 h 49"/>
                    <a:gd name="T28" fmla="*/ 4 w 107"/>
                    <a:gd name="T29" fmla="*/ 0 h 49"/>
                    <a:gd name="T30" fmla="*/ 0 w 107"/>
                    <a:gd name="T31" fmla="*/ 1 h 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7" h="49">
                      <a:moveTo>
                        <a:pt x="0" y="1"/>
                      </a:moveTo>
                      <a:cubicBezTo>
                        <a:pt x="0" y="1"/>
                        <a:pt x="4" y="12"/>
                        <a:pt x="19" y="24"/>
                      </a:cubicBezTo>
                      <a:cubicBezTo>
                        <a:pt x="34" y="35"/>
                        <a:pt x="61" y="47"/>
                        <a:pt x="107" y="49"/>
                      </a:cubicBezTo>
                      <a:cubicBezTo>
                        <a:pt x="107" y="45"/>
                        <a:pt x="107" y="45"/>
                        <a:pt x="107" y="45"/>
                      </a:cubicBezTo>
                      <a:cubicBezTo>
                        <a:pt x="61" y="43"/>
                        <a:pt x="36" y="31"/>
                        <a:pt x="21" y="20"/>
                      </a:cubicBezTo>
                      <a:cubicBezTo>
                        <a:pt x="14" y="15"/>
                        <a:pt x="10" y="10"/>
                        <a:pt x="7" y="6"/>
                      </a:cubicBezTo>
                      <a:cubicBezTo>
                        <a:pt x="6" y="4"/>
                        <a:pt x="5" y="2"/>
                        <a:pt x="5" y="1"/>
                      </a:cubicBezTo>
                      <a:cubicBezTo>
                        <a:pt x="4" y="1"/>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0" y="1"/>
                        <a:pt x="0" y="1"/>
                        <a:pt x="0" y="1"/>
                      </a:cubicBezTo>
                      <a:close/>
                    </a:path>
                  </a:pathLst>
                </a:custGeom>
                <a:solidFill>
                  <a:srgbClr val="931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06" name="Freeform 225">
                  <a:extLst>
                    <a:ext uri="{FF2B5EF4-FFF2-40B4-BE49-F238E27FC236}">
                      <a16:creationId xmlns:a16="http://schemas.microsoft.com/office/drawing/2014/main" id="{A0CCA293-16C1-F652-C03D-1FD8E4DC2E84}"/>
                    </a:ext>
                  </a:extLst>
                </p:cNvPr>
                <p:cNvSpPr/>
                <p:nvPr/>
              </p:nvSpPr>
              <p:spPr bwMode="auto">
                <a:xfrm>
                  <a:off x="1332" y="2017"/>
                  <a:ext cx="1314" cy="85"/>
                </a:xfrm>
                <a:custGeom>
                  <a:gdLst>
                    <a:gd name="T0" fmla="*/ 9 w 720"/>
                    <a:gd name="T1" fmla="*/ 47 h 47"/>
                    <a:gd name="T2" fmla="*/ 712 w 720"/>
                    <a:gd name="T3" fmla="*/ 47 h 47"/>
                    <a:gd name="T4" fmla="*/ 720 w 720"/>
                    <a:gd name="T5" fmla="*/ 39 h 47"/>
                    <a:gd name="T6" fmla="*/ 720 w 720"/>
                    <a:gd name="T7" fmla="*/ 8 h 47"/>
                    <a:gd name="T8" fmla="*/ 712 w 720"/>
                    <a:gd name="T9" fmla="*/ 0 h 47"/>
                    <a:gd name="T10" fmla="*/ 9 w 720"/>
                    <a:gd name="T11" fmla="*/ 0 h 47"/>
                    <a:gd name="T12" fmla="*/ 0 w 720"/>
                    <a:gd name="T13" fmla="*/ 8 h 47"/>
                    <a:gd name="T14" fmla="*/ 0 w 720"/>
                    <a:gd name="T15" fmla="*/ 39 h 47"/>
                    <a:gd name="T16" fmla="*/ 9 w 720"/>
                    <a:gd name="T17" fmla="*/ 47 h 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0" h="47">
                      <a:moveTo>
                        <a:pt x="9" y="47"/>
                      </a:moveTo>
                      <a:cubicBezTo>
                        <a:pt x="712" y="47"/>
                        <a:pt x="712" y="47"/>
                        <a:pt x="712" y="47"/>
                      </a:cubicBezTo>
                      <a:cubicBezTo>
                        <a:pt x="716" y="47"/>
                        <a:pt x="720" y="43"/>
                        <a:pt x="720" y="39"/>
                      </a:cubicBezTo>
                      <a:cubicBezTo>
                        <a:pt x="720" y="8"/>
                        <a:pt x="720" y="8"/>
                        <a:pt x="720" y="8"/>
                      </a:cubicBezTo>
                      <a:cubicBezTo>
                        <a:pt x="720" y="4"/>
                        <a:pt x="716" y="0"/>
                        <a:pt x="712" y="0"/>
                      </a:cubicBezTo>
                      <a:cubicBezTo>
                        <a:pt x="9" y="0"/>
                        <a:pt x="9" y="0"/>
                        <a:pt x="9" y="0"/>
                      </a:cubicBezTo>
                      <a:cubicBezTo>
                        <a:pt x="4" y="0"/>
                        <a:pt x="0" y="4"/>
                        <a:pt x="0" y="8"/>
                      </a:cubicBezTo>
                      <a:cubicBezTo>
                        <a:pt x="0" y="39"/>
                        <a:pt x="0" y="39"/>
                        <a:pt x="0" y="39"/>
                      </a:cubicBezTo>
                      <a:cubicBezTo>
                        <a:pt x="0" y="43"/>
                        <a:pt x="4" y="47"/>
                        <a:pt x="9" y="47"/>
                      </a:cubicBezTo>
                      <a:close/>
                    </a:path>
                  </a:pathLst>
                </a:custGeom>
                <a:solidFill>
                  <a:srgbClr val="C1B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07" name="Freeform 226">
                  <a:extLst>
                    <a:ext uri="{FF2B5EF4-FFF2-40B4-BE49-F238E27FC236}">
                      <a16:creationId xmlns:a16="http://schemas.microsoft.com/office/drawing/2014/main" id="{1DCFC625-CE85-5E02-28AA-B0D864633A24}"/>
                    </a:ext>
                  </a:extLst>
                </p:cNvPr>
                <p:cNvSpPr/>
                <p:nvPr/>
              </p:nvSpPr>
              <p:spPr bwMode="auto">
                <a:xfrm>
                  <a:off x="3259" y="2466"/>
                  <a:ext cx="299" cy="753"/>
                </a:xfrm>
                <a:custGeom>
                  <a:gdLst>
                    <a:gd name="T0" fmla="*/ 43 w 164"/>
                    <a:gd name="T1" fmla="*/ 0 h 413"/>
                    <a:gd name="T2" fmla="*/ 164 w 164"/>
                    <a:gd name="T3" fmla="*/ 413 h 413"/>
                    <a:gd name="T4" fmla="*/ 43 w 164"/>
                    <a:gd name="T5" fmla="*/ 0 h 413"/>
                  </a:gdLst>
                  <a:cxnLst>
                    <a:cxn ang="0">
                      <a:pos x="T0" y="T1"/>
                    </a:cxn>
                    <a:cxn ang="0">
                      <a:pos x="T2" y="T3"/>
                    </a:cxn>
                    <a:cxn ang="0">
                      <a:pos x="T4" y="T5"/>
                    </a:cxn>
                  </a:cxnLst>
                  <a:rect l="0" t="0" r="r" b="b"/>
                  <a:pathLst>
                    <a:path w="164" h="412">
                      <a:moveTo>
                        <a:pt x="43" y="0"/>
                      </a:moveTo>
                      <a:cubicBezTo>
                        <a:pt x="43" y="0"/>
                        <a:pt x="0" y="170"/>
                        <a:pt x="164" y="413"/>
                      </a:cubicBezTo>
                      <a:cubicBezTo>
                        <a:pt x="119" y="292"/>
                        <a:pt x="53" y="106"/>
                        <a:pt x="43" y="0"/>
                      </a:cubicBezTo>
                      <a:close/>
                    </a:path>
                  </a:pathLst>
                </a:custGeom>
                <a:solidFill>
                  <a:srgbClr val="E0DB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08" name="Freeform 227">
                  <a:extLst>
                    <a:ext uri="{FF2B5EF4-FFF2-40B4-BE49-F238E27FC236}">
                      <a16:creationId xmlns:a16="http://schemas.microsoft.com/office/drawing/2014/main" id="{EED4B565-2F69-CB3A-53FC-6C59B547B7D7}"/>
                    </a:ext>
                  </a:extLst>
                </p:cNvPr>
                <p:cNvSpPr/>
                <p:nvPr/>
              </p:nvSpPr>
              <p:spPr bwMode="auto">
                <a:xfrm>
                  <a:off x="3323" y="1747"/>
                  <a:ext cx="363" cy="34"/>
                </a:xfrm>
                <a:custGeom>
                  <a:gdLst>
                    <a:gd name="T0" fmla="*/ 199 w 199"/>
                    <a:gd name="T1" fmla="*/ 15 h 19"/>
                    <a:gd name="T2" fmla="*/ 68 w 199"/>
                    <a:gd name="T3" fmla="*/ 0 h 19"/>
                    <a:gd name="T4" fmla="*/ 0 w 199"/>
                    <a:gd name="T5" fmla="*/ 5 h 19"/>
                    <a:gd name="T6" fmla="*/ 0 w 199"/>
                    <a:gd name="T7" fmla="*/ 9 h 19"/>
                    <a:gd name="T8" fmla="*/ 68 w 199"/>
                    <a:gd name="T9" fmla="*/ 5 h 19"/>
                    <a:gd name="T10" fmla="*/ 160 w 199"/>
                    <a:gd name="T11" fmla="*/ 12 h 19"/>
                    <a:gd name="T12" fmla="*/ 188 w 199"/>
                    <a:gd name="T13" fmla="*/ 17 h 19"/>
                    <a:gd name="T14" fmla="*/ 195 w 199"/>
                    <a:gd name="T15" fmla="*/ 18 h 19"/>
                    <a:gd name="T16" fmla="*/ 198 w 199"/>
                    <a:gd name="T17" fmla="*/ 19 h 19"/>
                    <a:gd name="T18" fmla="*/ 199 w 199"/>
                    <a:gd name="T19" fmla="*/ 15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9" h="19">
                      <a:moveTo>
                        <a:pt x="199" y="15"/>
                      </a:moveTo>
                      <a:cubicBezTo>
                        <a:pt x="199" y="15"/>
                        <a:pt x="140" y="0"/>
                        <a:pt x="68" y="0"/>
                      </a:cubicBezTo>
                      <a:cubicBezTo>
                        <a:pt x="46" y="0"/>
                        <a:pt x="23" y="2"/>
                        <a:pt x="0" y="5"/>
                      </a:cubicBezTo>
                      <a:cubicBezTo>
                        <a:pt x="0" y="9"/>
                        <a:pt x="0" y="9"/>
                        <a:pt x="0" y="9"/>
                      </a:cubicBezTo>
                      <a:cubicBezTo>
                        <a:pt x="23" y="6"/>
                        <a:pt x="46" y="5"/>
                        <a:pt x="68" y="5"/>
                      </a:cubicBezTo>
                      <a:cubicBezTo>
                        <a:pt x="104" y="5"/>
                        <a:pt x="136" y="8"/>
                        <a:pt x="160" y="12"/>
                      </a:cubicBezTo>
                      <a:cubicBezTo>
                        <a:pt x="171" y="14"/>
                        <a:pt x="181" y="15"/>
                        <a:pt x="188" y="17"/>
                      </a:cubicBezTo>
                      <a:cubicBezTo>
                        <a:pt x="191" y="17"/>
                        <a:pt x="193" y="18"/>
                        <a:pt x="195" y="18"/>
                      </a:cubicBezTo>
                      <a:cubicBezTo>
                        <a:pt x="197" y="19"/>
                        <a:pt x="198" y="19"/>
                        <a:pt x="198" y="19"/>
                      </a:cubicBezTo>
                      <a:cubicBezTo>
                        <a:pt x="199" y="15"/>
                        <a:pt x="199" y="15"/>
                        <a:pt x="199" y="15"/>
                      </a:cubicBezTo>
                      <a:close/>
                    </a:path>
                  </a:pathLst>
                </a:custGeom>
                <a:solidFill>
                  <a:srgbClr val="9B94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09" name="Freeform 228">
                  <a:extLst>
                    <a:ext uri="{FF2B5EF4-FFF2-40B4-BE49-F238E27FC236}">
                      <a16:creationId xmlns:a16="http://schemas.microsoft.com/office/drawing/2014/main" id="{B7627827-F49A-834F-6B8C-5069CEE2B240}"/>
                    </a:ext>
                  </a:extLst>
                </p:cNvPr>
                <p:cNvSpPr/>
                <p:nvPr/>
              </p:nvSpPr>
              <p:spPr bwMode="auto">
                <a:xfrm>
                  <a:off x="5290" y="2071"/>
                  <a:ext cx="850" cy="479"/>
                </a:xfrm>
                <a:custGeom>
                  <a:gdLst>
                    <a:gd name="T0" fmla="*/ 0 w 466"/>
                    <a:gd name="T1" fmla="*/ 155 h 262"/>
                    <a:gd name="T2" fmla="*/ 142 w 466"/>
                    <a:gd name="T3" fmla="*/ 19 h 262"/>
                    <a:gd name="T4" fmla="*/ 466 w 466"/>
                    <a:gd name="T5" fmla="*/ 6 h 262"/>
                    <a:gd name="T6" fmla="*/ 266 w 466"/>
                    <a:gd name="T7" fmla="*/ 103 h 262"/>
                    <a:gd name="T8" fmla="*/ 127 w 466"/>
                    <a:gd name="T9" fmla="*/ 262 h 262"/>
                    <a:gd name="T10" fmla="*/ 0 w 466"/>
                    <a:gd name="T11" fmla="*/ 155 h 262"/>
                  </a:gdLst>
                  <a:cxnLst>
                    <a:cxn ang="0">
                      <a:pos x="T0" y="T1"/>
                    </a:cxn>
                    <a:cxn ang="0">
                      <a:pos x="T2" y="T3"/>
                    </a:cxn>
                    <a:cxn ang="0">
                      <a:pos x="T4" y="T5"/>
                    </a:cxn>
                    <a:cxn ang="0">
                      <a:pos x="T6" y="T7"/>
                    </a:cxn>
                    <a:cxn ang="0">
                      <a:pos x="T8" y="T9"/>
                    </a:cxn>
                    <a:cxn ang="0">
                      <a:pos x="T10" y="T11"/>
                    </a:cxn>
                  </a:cxnLst>
                  <a:rect l="0" t="0" r="r" b="b"/>
                  <a:pathLst>
                    <a:path w="466" h="262">
                      <a:moveTo>
                        <a:pt x="0" y="155"/>
                      </a:moveTo>
                      <a:cubicBezTo>
                        <a:pt x="0" y="155"/>
                        <a:pt x="88" y="39"/>
                        <a:pt x="142" y="19"/>
                      </a:cubicBezTo>
                      <a:cubicBezTo>
                        <a:pt x="195" y="0"/>
                        <a:pt x="466" y="6"/>
                        <a:pt x="466" y="6"/>
                      </a:cubicBezTo>
                      <a:cubicBezTo>
                        <a:pt x="466" y="6"/>
                        <a:pt x="449" y="88"/>
                        <a:pt x="266" y="103"/>
                      </a:cubicBezTo>
                      <a:cubicBezTo>
                        <a:pt x="191" y="125"/>
                        <a:pt x="127" y="262"/>
                        <a:pt x="127" y="262"/>
                      </a:cubicBezTo>
                      <a:cubicBezTo>
                        <a:pt x="127" y="262"/>
                        <a:pt x="30" y="204"/>
                        <a:pt x="0" y="155"/>
                      </a:cubicBezTo>
                      <a:close/>
                    </a:path>
                  </a:pathLst>
                </a:custGeom>
                <a:solidFill>
                  <a:srgbClr val="FB8F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10" name="Freeform 229">
                  <a:extLst>
                    <a:ext uri="{FF2B5EF4-FFF2-40B4-BE49-F238E27FC236}">
                      <a16:creationId xmlns:a16="http://schemas.microsoft.com/office/drawing/2014/main" id="{638AF551-A095-5F3C-BE55-25E09B02F9F1}"/>
                    </a:ext>
                  </a:extLst>
                </p:cNvPr>
                <p:cNvSpPr/>
                <p:nvPr/>
              </p:nvSpPr>
              <p:spPr bwMode="auto">
                <a:xfrm>
                  <a:off x="4452" y="1685"/>
                  <a:ext cx="1179" cy="1688"/>
                </a:xfrm>
                <a:custGeom>
                  <a:gdLst>
                    <a:gd name="T0" fmla="*/ 10 w 646"/>
                    <a:gd name="T1" fmla="*/ 0 h 925"/>
                    <a:gd name="T2" fmla="*/ 201 w 646"/>
                    <a:gd name="T3" fmla="*/ 255 h 925"/>
                    <a:gd name="T4" fmla="*/ 306 w 646"/>
                    <a:gd name="T5" fmla="*/ 504 h 925"/>
                    <a:gd name="T6" fmla="*/ 457 w 646"/>
                    <a:gd name="T7" fmla="*/ 324 h 925"/>
                    <a:gd name="T8" fmla="*/ 646 w 646"/>
                    <a:gd name="T9" fmla="*/ 468 h 925"/>
                    <a:gd name="T10" fmla="*/ 218 w 646"/>
                    <a:gd name="T11" fmla="*/ 915 h 925"/>
                    <a:gd name="T12" fmla="*/ 45 w 646"/>
                    <a:gd name="T13" fmla="*/ 574 h 925"/>
                    <a:gd name="T14" fmla="*/ 10 w 646"/>
                    <a:gd name="T15" fmla="*/ 0 h 925"/>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6" h="924">
                      <a:moveTo>
                        <a:pt x="10" y="0"/>
                      </a:moveTo>
                      <a:cubicBezTo>
                        <a:pt x="10" y="0"/>
                        <a:pt x="119" y="66"/>
                        <a:pt x="201" y="255"/>
                      </a:cubicBezTo>
                      <a:cubicBezTo>
                        <a:pt x="283" y="444"/>
                        <a:pt x="306" y="504"/>
                        <a:pt x="306" y="504"/>
                      </a:cubicBezTo>
                      <a:cubicBezTo>
                        <a:pt x="457" y="324"/>
                        <a:pt x="457" y="324"/>
                        <a:pt x="457" y="324"/>
                      </a:cubicBezTo>
                      <a:cubicBezTo>
                        <a:pt x="457" y="324"/>
                        <a:pt x="519" y="444"/>
                        <a:pt x="646" y="468"/>
                      </a:cubicBezTo>
                      <a:cubicBezTo>
                        <a:pt x="379" y="878"/>
                        <a:pt x="338" y="925"/>
                        <a:pt x="218" y="915"/>
                      </a:cubicBezTo>
                      <a:cubicBezTo>
                        <a:pt x="98" y="904"/>
                        <a:pt x="45" y="574"/>
                        <a:pt x="45" y="574"/>
                      </a:cubicBezTo>
                      <a:cubicBezTo>
                        <a:pt x="45" y="574"/>
                        <a:pt x="0" y="149"/>
                        <a:pt x="10" y="0"/>
                      </a:cubicBezTo>
                      <a:close/>
                    </a:path>
                  </a:pathLst>
                </a:custGeom>
                <a:solidFill>
                  <a:srgbClr val="E0DB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11" name="Freeform 230">
                  <a:extLst>
                    <a:ext uri="{FF2B5EF4-FFF2-40B4-BE49-F238E27FC236}">
                      <a16:creationId xmlns:a16="http://schemas.microsoft.com/office/drawing/2014/main" id="{F790BE9F-494C-903A-EE5A-43708F40A33A}"/>
                    </a:ext>
                  </a:extLst>
                </p:cNvPr>
                <p:cNvSpPr/>
                <p:nvPr/>
              </p:nvSpPr>
              <p:spPr bwMode="auto">
                <a:xfrm>
                  <a:off x="3903" y="1655"/>
                  <a:ext cx="794" cy="2510"/>
                </a:xfrm>
                <a:custGeom>
                  <a:gdLst>
                    <a:gd name="T0" fmla="*/ 113 w 435"/>
                    <a:gd name="T1" fmla="*/ 36 h 1375"/>
                    <a:gd name="T2" fmla="*/ 311 w 435"/>
                    <a:gd name="T3" fmla="*/ 16 h 1375"/>
                    <a:gd name="T4" fmla="*/ 346 w 435"/>
                    <a:gd name="T5" fmla="*/ 590 h 1375"/>
                    <a:gd name="T6" fmla="*/ 435 w 435"/>
                    <a:gd name="T7" fmla="*/ 1309 h 1375"/>
                    <a:gd name="T8" fmla="*/ 0 w 435"/>
                    <a:gd name="T9" fmla="*/ 1370 h 1375"/>
                    <a:gd name="T10" fmla="*/ 0 w 435"/>
                    <a:gd name="T11" fmla="*/ 112 h 1375"/>
                    <a:gd name="T12" fmla="*/ 113 w 435"/>
                    <a:gd name="T13" fmla="*/ 36 h 1375"/>
                  </a:gdLst>
                  <a:cxnLst>
                    <a:cxn ang="0">
                      <a:pos x="T0" y="T1"/>
                    </a:cxn>
                    <a:cxn ang="0">
                      <a:pos x="T2" y="T3"/>
                    </a:cxn>
                    <a:cxn ang="0">
                      <a:pos x="T4" y="T5"/>
                    </a:cxn>
                    <a:cxn ang="0">
                      <a:pos x="T6" y="T7"/>
                    </a:cxn>
                    <a:cxn ang="0">
                      <a:pos x="T8" y="T9"/>
                    </a:cxn>
                    <a:cxn ang="0">
                      <a:pos x="T10" y="T11"/>
                    </a:cxn>
                    <a:cxn ang="0">
                      <a:pos x="T12" y="T13"/>
                    </a:cxn>
                  </a:cxnLst>
                  <a:rect l="0" t="0" r="r" b="b"/>
                  <a:pathLst>
                    <a:path w="435" h="1375">
                      <a:moveTo>
                        <a:pt x="113" y="36"/>
                      </a:moveTo>
                      <a:cubicBezTo>
                        <a:pt x="113" y="36"/>
                        <a:pt x="211" y="0"/>
                        <a:pt x="311" y="16"/>
                      </a:cubicBezTo>
                      <a:cubicBezTo>
                        <a:pt x="383" y="499"/>
                        <a:pt x="369" y="453"/>
                        <a:pt x="346" y="590"/>
                      </a:cubicBezTo>
                      <a:cubicBezTo>
                        <a:pt x="326" y="702"/>
                        <a:pt x="420" y="1123"/>
                        <a:pt x="435" y="1309"/>
                      </a:cubicBezTo>
                      <a:cubicBezTo>
                        <a:pt x="97" y="1375"/>
                        <a:pt x="0" y="1370"/>
                        <a:pt x="0" y="1370"/>
                      </a:cubicBezTo>
                      <a:cubicBezTo>
                        <a:pt x="0" y="112"/>
                        <a:pt x="0" y="112"/>
                        <a:pt x="0" y="112"/>
                      </a:cubicBezTo>
                      <a:lnTo>
                        <a:pt x="113" y="36"/>
                      </a:lnTo>
                      <a:close/>
                    </a:path>
                  </a:pathLst>
                </a:cu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12" name="Freeform 231">
                  <a:extLst>
                    <a:ext uri="{FF2B5EF4-FFF2-40B4-BE49-F238E27FC236}">
                      <a16:creationId xmlns:a16="http://schemas.microsoft.com/office/drawing/2014/main" id="{7075728A-A8A8-226F-74FA-C0EBC74FF18D}"/>
                    </a:ext>
                  </a:extLst>
                </p:cNvPr>
                <p:cNvSpPr/>
                <p:nvPr/>
              </p:nvSpPr>
              <p:spPr bwMode="auto">
                <a:xfrm>
                  <a:off x="3164" y="201"/>
                  <a:ext cx="1416" cy="567"/>
                </a:xfrm>
                <a:custGeom>
                  <a:gdLst>
                    <a:gd name="T0" fmla="*/ 245 w 776"/>
                    <a:gd name="T1" fmla="*/ 247 h 311"/>
                    <a:gd name="T2" fmla="*/ 108 w 776"/>
                    <a:gd name="T3" fmla="*/ 281 h 311"/>
                    <a:gd name="T4" fmla="*/ 189 w 776"/>
                    <a:gd name="T5" fmla="*/ 161 h 311"/>
                    <a:gd name="T6" fmla="*/ 307 w 776"/>
                    <a:gd name="T7" fmla="*/ 21 h 311"/>
                    <a:gd name="T8" fmla="*/ 486 w 776"/>
                    <a:gd name="T9" fmla="*/ 92 h 311"/>
                    <a:gd name="T10" fmla="*/ 666 w 776"/>
                    <a:gd name="T11" fmla="*/ 165 h 311"/>
                    <a:gd name="T12" fmla="*/ 679 w 776"/>
                    <a:gd name="T13" fmla="*/ 275 h 311"/>
                    <a:gd name="T14" fmla="*/ 541 w 776"/>
                    <a:gd name="T15" fmla="*/ 226 h 311"/>
                    <a:gd name="T16" fmla="*/ 245 w 776"/>
                    <a:gd name="T17" fmla="*/ 247 h 3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6" h="311">
                      <a:moveTo>
                        <a:pt x="245" y="247"/>
                      </a:moveTo>
                      <a:cubicBezTo>
                        <a:pt x="245" y="247"/>
                        <a:pt x="215" y="311"/>
                        <a:pt x="108" y="281"/>
                      </a:cubicBezTo>
                      <a:cubicBezTo>
                        <a:pt x="0" y="251"/>
                        <a:pt x="70" y="172"/>
                        <a:pt x="189" y="161"/>
                      </a:cubicBezTo>
                      <a:cubicBezTo>
                        <a:pt x="189" y="77"/>
                        <a:pt x="253" y="33"/>
                        <a:pt x="307" y="21"/>
                      </a:cubicBezTo>
                      <a:cubicBezTo>
                        <a:pt x="407" y="0"/>
                        <a:pt x="458" y="60"/>
                        <a:pt x="486" y="92"/>
                      </a:cubicBezTo>
                      <a:cubicBezTo>
                        <a:pt x="578" y="51"/>
                        <a:pt x="671" y="75"/>
                        <a:pt x="666" y="165"/>
                      </a:cubicBezTo>
                      <a:cubicBezTo>
                        <a:pt x="756" y="174"/>
                        <a:pt x="776" y="279"/>
                        <a:pt x="679" y="275"/>
                      </a:cubicBezTo>
                      <a:cubicBezTo>
                        <a:pt x="582" y="271"/>
                        <a:pt x="541" y="226"/>
                        <a:pt x="541" y="226"/>
                      </a:cubicBezTo>
                      <a:lnTo>
                        <a:pt x="245" y="247"/>
                      </a:lnTo>
                      <a:close/>
                    </a:path>
                  </a:pathLst>
                </a:custGeom>
                <a:solidFill>
                  <a:srgbClr val="E0DB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13" name="Freeform 232">
                  <a:extLst>
                    <a:ext uri="{FF2B5EF4-FFF2-40B4-BE49-F238E27FC236}">
                      <a16:creationId xmlns:a16="http://schemas.microsoft.com/office/drawing/2014/main" id="{A47BE013-1D13-5043-5138-B4680309603F}"/>
                    </a:ext>
                  </a:extLst>
                </p:cNvPr>
                <p:cNvSpPr/>
                <p:nvPr/>
              </p:nvSpPr>
              <p:spPr bwMode="auto">
                <a:xfrm>
                  <a:off x="5463" y="2071"/>
                  <a:ext cx="677" cy="187"/>
                </a:xfrm>
                <a:custGeom>
                  <a:gdLst>
                    <a:gd name="T0" fmla="*/ 0 w 371"/>
                    <a:gd name="T1" fmla="*/ 49 h 102"/>
                    <a:gd name="T2" fmla="*/ 46 w 371"/>
                    <a:gd name="T3" fmla="*/ 19 h 102"/>
                    <a:gd name="T4" fmla="*/ 371 w 371"/>
                    <a:gd name="T5" fmla="*/ 6 h 102"/>
                    <a:gd name="T6" fmla="*/ 186 w 371"/>
                    <a:gd name="T7" fmla="*/ 102 h 102"/>
                    <a:gd name="T8" fmla="*/ 0 w 371"/>
                    <a:gd name="T9" fmla="*/ 49 h 102"/>
                  </a:gdLst>
                  <a:cxnLst>
                    <a:cxn ang="0">
                      <a:pos x="T0" y="T1"/>
                    </a:cxn>
                    <a:cxn ang="0">
                      <a:pos x="T2" y="T3"/>
                    </a:cxn>
                    <a:cxn ang="0">
                      <a:pos x="T4" y="T5"/>
                    </a:cxn>
                    <a:cxn ang="0">
                      <a:pos x="T6" y="T7"/>
                    </a:cxn>
                    <a:cxn ang="0">
                      <a:pos x="T8" y="T9"/>
                    </a:cxn>
                  </a:cxnLst>
                  <a:rect l="0" t="0" r="r" b="b"/>
                  <a:pathLst>
                    <a:path w="371" h="102">
                      <a:moveTo>
                        <a:pt x="0" y="49"/>
                      </a:moveTo>
                      <a:cubicBezTo>
                        <a:pt x="17" y="35"/>
                        <a:pt x="33" y="24"/>
                        <a:pt x="46" y="19"/>
                      </a:cubicBezTo>
                      <a:cubicBezTo>
                        <a:pt x="100" y="0"/>
                        <a:pt x="371" y="6"/>
                        <a:pt x="371" y="6"/>
                      </a:cubicBezTo>
                      <a:cubicBezTo>
                        <a:pt x="371" y="6"/>
                        <a:pt x="355" y="83"/>
                        <a:pt x="186" y="102"/>
                      </a:cubicBezTo>
                      <a:cubicBezTo>
                        <a:pt x="133" y="72"/>
                        <a:pt x="55" y="57"/>
                        <a:pt x="0" y="49"/>
                      </a:cubicBezTo>
                      <a:close/>
                    </a:path>
                  </a:pathLst>
                </a:custGeom>
                <a:solidFill>
                  <a:srgbClr val="D86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14" name="Freeform 233">
                  <a:extLst>
                    <a:ext uri="{FF2B5EF4-FFF2-40B4-BE49-F238E27FC236}">
                      <a16:creationId xmlns:a16="http://schemas.microsoft.com/office/drawing/2014/main" id="{CD46E17D-378E-481E-C1BD-E7B1710F5D7D}"/>
                    </a:ext>
                  </a:extLst>
                </p:cNvPr>
                <p:cNvSpPr/>
                <p:nvPr/>
              </p:nvSpPr>
              <p:spPr bwMode="auto">
                <a:xfrm>
                  <a:off x="3164" y="228"/>
                  <a:ext cx="701" cy="528"/>
                </a:xfrm>
                <a:custGeom>
                  <a:gdLst>
                    <a:gd name="T0" fmla="*/ 231 w 384"/>
                    <a:gd name="T1" fmla="*/ 232 h 289"/>
                    <a:gd name="T2" fmla="*/ 249 w 384"/>
                    <a:gd name="T3" fmla="*/ 148 h 289"/>
                    <a:gd name="T4" fmla="*/ 384 w 384"/>
                    <a:gd name="T5" fmla="*/ 6 h 289"/>
                    <a:gd name="T6" fmla="*/ 307 w 384"/>
                    <a:gd name="T7" fmla="*/ 6 h 289"/>
                    <a:gd name="T8" fmla="*/ 189 w 384"/>
                    <a:gd name="T9" fmla="*/ 146 h 289"/>
                    <a:gd name="T10" fmla="*/ 108 w 384"/>
                    <a:gd name="T11" fmla="*/ 266 h 289"/>
                    <a:gd name="T12" fmla="*/ 239 w 384"/>
                    <a:gd name="T13" fmla="*/ 242 h 289"/>
                    <a:gd name="T14" fmla="*/ 231 w 384"/>
                    <a:gd name="T15" fmla="*/ 232 h 28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4" h="289">
                      <a:moveTo>
                        <a:pt x="231" y="232"/>
                      </a:moveTo>
                      <a:cubicBezTo>
                        <a:pt x="111" y="214"/>
                        <a:pt x="157" y="170"/>
                        <a:pt x="249" y="148"/>
                      </a:cubicBezTo>
                      <a:cubicBezTo>
                        <a:pt x="257" y="36"/>
                        <a:pt x="384" y="6"/>
                        <a:pt x="384" y="6"/>
                      </a:cubicBezTo>
                      <a:cubicBezTo>
                        <a:pt x="362" y="1"/>
                        <a:pt x="337" y="0"/>
                        <a:pt x="307" y="6"/>
                      </a:cubicBezTo>
                      <a:cubicBezTo>
                        <a:pt x="253" y="18"/>
                        <a:pt x="189" y="62"/>
                        <a:pt x="189" y="146"/>
                      </a:cubicBezTo>
                      <a:cubicBezTo>
                        <a:pt x="70" y="157"/>
                        <a:pt x="0" y="236"/>
                        <a:pt x="108" y="266"/>
                      </a:cubicBezTo>
                      <a:cubicBezTo>
                        <a:pt x="188" y="289"/>
                        <a:pt x="225" y="258"/>
                        <a:pt x="239" y="242"/>
                      </a:cubicBezTo>
                      <a:cubicBezTo>
                        <a:pt x="236" y="238"/>
                        <a:pt x="234" y="235"/>
                        <a:pt x="231" y="232"/>
                      </a:cubicBezTo>
                      <a:close/>
                    </a:path>
                  </a:pathLst>
                </a:custGeom>
                <a:solidFill>
                  <a:srgbClr val="C1B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15" name="Freeform 234">
                  <a:extLst>
                    <a:ext uri="{FF2B5EF4-FFF2-40B4-BE49-F238E27FC236}">
                      <a16:creationId xmlns:a16="http://schemas.microsoft.com/office/drawing/2014/main" id="{E796E2CD-A0B8-5D7C-1AF5-4300FC69D480}"/>
                    </a:ext>
                  </a:extLst>
                </p:cNvPr>
                <p:cNvSpPr/>
                <p:nvPr/>
              </p:nvSpPr>
              <p:spPr bwMode="auto">
                <a:xfrm>
                  <a:off x="3540" y="460"/>
                  <a:ext cx="367" cy="383"/>
                </a:xfrm>
                <a:custGeom>
                  <a:gdLst>
                    <a:gd name="T0" fmla="*/ 31 w 201"/>
                    <a:gd name="T1" fmla="*/ 210 h 210"/>
                    <a:gd name="T2" fmla="*/ 0 w 201"/>
                    <a:gd name="T3" fmla="*/ 90 h 210"/>
                    <a:gd name="T4" fmla="*/ 201 w 201"/>
                    <a:gd name="T5" fmla="*/ 0 h 210"/>
                    <a:gd name="T6" fmla="*/ 201 w 201"/>
                    <a:gd name="T7" fmla="*/ 139 h 210"/>
                    <a:gd name="T8" fmla="*/ 31 w 201"/>
                    <a:gd name="T9" fmla="*/ 210 h 210"/>
                  </a:gdLst>
                  <a:cxnLst>
                    <a:cxn ang="0">
                      <a:pos x="T0" y="T1"/>
                    </a:cxn>
                    <a:cxn ang="0">
                      <a:pos x="T2" y="T3"/>
                    </a:cxn>
                    <a:cxn ang="0">
                      <a:pos x="T4" y="T5"/>
                    </a:cxn>
                    <a:cxn ang="0">
                      <a:pos x="T6" y="T7"/>
                    </a:cxn>
                    <a:cxn ang="0">
                      <a:pos x="T8" y="T9"/>
                    </a:cxn>
                  </a:cxnLst>
                  <a:rect l="0" t="0" r="r" b="b"/>
                  <a:pathLst>
                    <a:path w="201" h="210">
                      <a:moveTo>
                        <a:pt x="31" y="210"/>
                      </a:moveTo>
                      <a:cubicBezTo>
                        <a:pt x="0" y="90"/>
                        <a:pt x="0" y="90"/>
                        <a:pt x="0" y="90"/>
                      </a:cubicBezTo>
                      <a:cubicBezTo>
                        <a:pt x="0" y="90"/>
                        <a:pt x="77" y="0"/>
                        <a:pt x="201" y="0"/>
                      </a:cubicBezTo>
                      <a:cubicBezTo>
                        <a:pt x="201" y="139"/>
                        <a:pt x="201" y="139"/>
                        <a:pt x="201" y="139"/>
                      </a:cubicBezTo>
                      <a:lnTo>
                        <a:pt x="31" y="210"/>
                      </a:lnTo>
                      <a:close/>
                    </a:path>
                  </a:pathLst>
                </a:cu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16" name="Freeform 235">
                  <a:extLst>
                    <a:ext uri="{FF2B5EF4-FFF2-40B4-BE49-F238E27FC236}">
                      <a16:creationId xmlns:a16="http://schemas.microsoft.com/office/drawing/2014/main" id="{B955704F-6F91-8323-3067-80837DAC7D3F}"/>
                    </a:ext>
                  </a:extLst>
                </p:cNvPr>
                <p:cNvSpPr/>
                <p:nvPr/>
              </p:nvSpPr>
              <p:spPr bwMode="auto">
                <a:xfrm>
                  <a:off x="4051" y="283"/>
                  <a:ext cx="503" cy="394"/>
                </a:xfrm>
                <a:custGeom>
                  <a:gdLst>
                    <a:gd name="T0" fmla="*/ 140 w 276"/>
                    <a:gd name="T1" fmla="*/ 125 h 216"/>
                    <a:gd name="T2" fmla="*/ 245 w 276"/>
                    <a:gd name="T3" fmla="*/ 216 h 216"/>
                    <a:gd name="T4" fmla="*/ 180 w 276"/>
                    <a:gd name="T5" fmla="*/ 120 h 216"/>
                    <a:gd name="T6" fmla="*/ 0 w 276"/>
                    <a:gd name="T7" fmla="*/ 47 h 216"/>
                    <a:gd name="T8" fmla="*/ 140 w 276"/>
                    <a:gd name="T9" fmla="*/ 125 h 216"/>
                  </a:gdLst>
                  <a:cxnLst>
                    <a:cxn ang="0">
                      <a:pos x="T0" y="T1"/>
                    </a:cxn>
                    <a:cxn ang="0">
                      <a:pos x="T2" y="T3"/>
                    </a:cxn>
                    <a:cxn ang="0">
                      <a:pos x="T4" y="T5"/>
                    </a:cxn>
                    <a:cxn ang="0">
                      <a:pos x="T6" y="T7"/>
                    </a:cxn>
                    <a:cxn ang="0">
                      <a:pos x="T8" y="T9"/>
                    </a:cxn>
                  </a:cxnLst>
                  <a:rect l="0" t="0" r="r" b="b"/>
                  <a:pathLst>
                    <a:path w="276" h="216">
                      <a:moveTo>
                        <a:pt x="140" y="125"/>
                      </a:moveTo>
                      <a:cubicBezTo>
                        <a:pt x="175" y="138"/>
                        <a:pt x="245" y="164"/>
                        <a:pt x="245" y="216"/>
                      </a:cubicBezTo>
                      <a:cubicBezTo>
                        <a:pt x="276" y="187"/>
                        <a:pt x="248" y="127"/>
                        <a:pt x="180" y="120"/>
                      </a:cubicBezTo>
                      <a:cubicBezTo>
                        <a:pt x="185" y="30"/>
                        <a:pt x="92" y="6"/>
                        <a:pt x="0" y="47"/>
                      </a:cubicBezTo>
                      <a:cubicBezTo>
                        <a:pt x="0" y="47"/>
                        <a:pt x="131" y="0"/>
                        <a:pt x="140" y="125"/>
                      </a:cubicBezTo>
                      <a:close/>
                    </a:path>
                  </a:pathLst>
                </a:cu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17" name="Freeform 236">
                  <a:extLst>
                    <a:ext uri="{FF2B5EF4-FFF2-40B4-BE49-F238E27FC236}">
                      <a16:creationId xmlns:a16="http://schemas.microsoft.com/office/drawing/2014/main" id="{20A8D3FE-D60F-71C4-8269-151E04616F53}"/>
                    </a:ext>
                  </a:extLst>
                </p:cNvPr>
                <p:cNvSpPr/>
                <p:nvPr/>
              </p:nvSpPr>
              <p:spPr bwMode="auto">
                <a:xfrm>
                  <a:off x="3538" y="456"/>
                  <a:ext cx="737" cy="170"/>
                </a:xfrm>
                <a:custGeom>
                  <a:gdLst>
                    <a:gd name="T0" fmla="*/ 3 w 404"/>
                    <a:gd name="T1" fmla="*/ 93 h 93"/>
                    <a:gd name="T2" fmla="*/ 3 w 404"/>
                    <a:gd name="T3" fmla="*/ 93 h 93"/>
                    <a:gd name="T4" fmla="*/ 59 w 404"/>
                    <a:gd name="T5" fmla="*/ 47 h 93"/>
                    <a:gd name="T6" fmla="*/ 202 w 404"/>
                    <a:gd name="T7" fmla="*/ 4 h 93"/>
                    <a:gd name="T8" fmla="*/ 348 w 404"/>
                    <a:gd name="T9" fmla="*/ 49 h 93"/>
                    <a:gd name="T10" fmla="*/ 388 w 404"/>
                    <a:gd name="T11" fmla="*/ 79 h 93"/>
                    <a:gd name="T12" fmla="*/ 398 w 404"/>
                    <a:gd name="T13" fmla="*/ 90 h 93"/>
                    <a:gd name="T14" fmla="*/ 400 w 404"/>
                    <a:gd name="T15" fmla="*/ 92 h 93"/>
                    <a:gd name="T16" fmla="*/ 401 w 404"/>
                    <a:gd name="T17" fmla="*/ 93 h 93"/>
                    <a:gd name="T18" fmla="*/ 401 w 404"/>
                    <a:gd name="T19" fmla="*/ 93 h 93"/>
                    <a:gd name="T20" fmla="*/ 404 w 404"/>
                    <a:gd name="T21" fmla="*/ 91 h 93"/>
                    <a:gd name="T22" fmla="*/ 351 w 404"/>
                    <a:gd name="T23" fmla="*/ 45 h 93"/>
                    <a:gd name="T24" fmla="*/ 202 w 404"/>
                    <a:gd name="T25" fmla="*/ 0 h 93"/>
                    <a:gd name="T26" fmla="*/ 53 w 404"/>
                    <a:gd name="T27" fmla="*/ 45 h 93"/>
                    <a:gd name="T28" fmla="*/ 0 w 404"/>
                    <a:gd name="T29" fmla="*/ 91 h 93"/>
                    <a:gd name="T30" fmla="*/ 3 w 404"/>
                    <a:gd name="T31" fmla="*/ 93 h 9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3" h="93">
                      <a:moveTo>
                        <a:pt x="3" y="93"/>
                      </a:moveTo>
                      <a:cubicBezTo>
                        <a:pt x="3" y="93"/>
                        <a:pt x="3" y="93"/>
                        <a:pt x="3" y="93"/>
                      </a:cubicBezTo>
                      <a:cubicBezTo>
                        <a:pt x="5" y="91"/>
                        <a:pt x="25" y="68"/>
                        <a:pt x="59" y="47"/>
                      </a:cubicBezTo>
                      <a:cubicBezTo>
                        <a:pt x="93" y="25"/>
                        <a:pt x="142" y="4"/>
                        <a:pt x="202" y="4"/>
                      </a:cubicBezTo>
                      <a:cubicBezTo>
                        <a:pt x="265" y="4"/>
                        <a:pt x="314" y="26"/>
                        <a:pt x="348" y="49"/>
                      </a:cubicBezTo>
                      <a:cubicBezTo>
                        <a:pt x="366" y="60"/>
                        <a:pt x="379" y="71"/>
                        <a:pt x="388" y="79"/>
                      </a:cubicBezTo>
                      <a:cubicBezTo>
                        <a:pt x="392" y="84"/>
                        <a:pt x="396" y="87"/>
                        <a:pt x="398" y="90"/>
                      </a:cubicBezTo>
                      <a:cubicBezTo>
                        <a:pt x="399" y="91"/>
                        <a:pt x="400" y="92"/>
                        <a:pt x="400" y="92"/>
                      </a:cubicBezTo>
                      <a:cubicBezTo>
                        <a:pt x="401" y="93"/>
                        <a:pt x="401" y="93"/>
                        <a:pt x="401" y="93"/>
                      </a:cubicBezTo>
                      <a:cubicBezTo>
                        <a:pt x="401" y="93"/>
                        <a:pt x="401" y="93"/>
                        <a:pt x="401" y="93"/>
                      </a:cubicBezTo>
                      <a:cubicBezTo>
                        <a:pt x="404" y="91"/>
                        <a:pt x="404" y="91"/>
                        <a:pt x="404" y="91"/>
                      </a:cubicBezTo>
                      <a:cubicBezTo>
                        <a:pt x="404" y="90"/>
                        <a:pt x="386" y="68"/>
                        <a:pt x="351" y="45"/>
                      </a:cubicBezTo>
                      <a:cubicBezTo>
                        <a:pt x="316" y="22"/>
                        <a:pt x="266" y="0"/>
                        <a:pt x="202" y="0"/>
                      </a:cubicBezTo>
                      <a:cubicBezTo>
                        <a:pt x="139" y="0"/>
                        <a:pt x="88" y="22"/>
                        <a:pt x="53" y="45"/>
                      </a:cubicBezTo>
                      <a:cubicBezTo>
                        <a:pt x="19" y="68"/>
                        <a:pt x="0" y="90"/>
                        <a:pt x="0" y="91"/>
                      </a:cubicBezTo>
                      <a:cubicBezTo>
                        <a:pt x="3" y="93"/>
                        <a:pt x="3" y="93"/>
                        <a:pt x="3" y="93"/>
                      </a:cubicBezTo>
                      <a:close/>
                    </a:path>
                  </a:pathLst>
                </a:custGeom>
                <a:solidFill>
                  <a:srgbClr val="C1B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18" name="Freeform 237">
                  <a:extLst>
                    <a:ext uri="{FF2B5EF4-FFF2-40B4-BE49-F238E27FC236}">
                      <a16:creationId xmlns:a16="http://schemas.microsoft.com/office/drawing/2014/main" id="{331D8624-6085-7D18-26EC-94328FA3222B}"/>
                    </a:ext>
                  </a:extLst>
                </p:cNvPr>
                <p:cNvSpPr/>
                <p:nvPr/>
              </p:nvSpPr>
              <p:spPr bwMode="auto">
                <a:xfrm>
                  <a:off x="3620" y="540"/>
                  <a:ext cx="42" cy="163"/>
                </a:xfrm>
                <a:custGeom>
                  <a:gdLst>
                    <a:gd name="T0" fmla="*/ 0 w 42"/>
                    <a:gd name="T1" fmla="*/ 2 h 163"/>
                    <a:gd name="T2" fmla="*/ 35 w 42"/>
                    <a:gd name="T3" fmla="*/ 163 h 163"/>
                    <a:gd name="T4" fmla="*/ 42 w 42"/>
                    <a:gd name="T5" fmla="*/ 161 h 163"/>
                    <a:gd name="T6" fmla="*/ 7 w 42"/>
                    <a:gd name="T7" fmla="*/ 0 h 163"/>
                    <a:gd name="T8" fmla="*/ 0 w 42"/>
                    <a:gd name="T9" fmla="*/ 2 h 163"/>
                  </a:gdLst>
                  <a:cxnLst>
                    <a:cxn ang="0">
                      <a:pos x="T0" y="T1"/>
                    </a:cxn>
                    <a:cxn ang="0">
                      <a:pos x="T2" y="T3"/>
                    </a:cxn>
                    <a:cxn ang="0">
                      <a:pos x="T4" y="T5"/>
                    </a:cxn>
                    <a:cxn ang="0">
                      <a:pos x="T6" y="T7"/>
                    </a:cxn>
                    <a:cxn ang="0">
                      <a:pos x="T8" y="T9"/>
                    </a:cxn>
                  </a:cxnLst>
                  <a:rect l="0" t="0" r="r" b="b"/>
                  <a:pathLst>
                    <a:path w="42" h="163">
                      <a:moveTo>
                        <a:pt x="0" y="2"/>
                      </a:moveTo>
                      <a:lnTo>
                        <a:pt x="35" y="163"/>
                      </a:lnTo>
                      <a:lnTo>
                        <a:pt x="42" y="161"/>
                      </a:lnTo>
                      <a:lnTo>
                        <a:pt x="7" y="0"/>
                      </a:lnTo>
                      <a:lnTo>
                        <a:pt x="0" y="2"/>
                      </a:lnTo>
                      <a:close/>
                    </a:path>
                  </a:pathLst>
                </a:custGeom>
                <a:solidFill>
                  <a:srgbClr val="C1B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19" name="Freeform 238">
                  <a:extLst>
                    <a:ext uri="{FF2B5EF4-FFF2-40B4-BE49-F238E27FC236}">
                      <a16:creationId xmlns:a16="http://schemas.microsoft.com/office/drawing/2014/main" id="{7D095DDE-B3B8-B3DB-B60C-393818015707}"/>
                    </a:ext>
                  </a:extLst>
                </p:cNvPr>
                <p:cNvSpPr/>
                <p:nvPr/>
              </p:nvSpPr>
              <p:spPr bwMode="auto">
                <a:xfrm>
                  <a:off x="3620" y="540"/>
                  <a:ext cx="42" cy="163"/>
                </a:xfrm>
                <a:custGeom>
                  <a:gdLst>
                    <a:gd name="T0" fmla="*/ 0 w 42"/>
                    <a:gd name="T1" fmla="*/ 2 h 163"/>
                    <a:gd name="T2" fmla="*/ 35 w 42"/>
                    <a:gd name="T3" fmla="*/ 163 h 163"/>
                    <a:gd name="T4" fmla="*/ 42 w 42"/>
                    <a:gd name="T5" fmla="*/ 161 h 163"/>
                    <a:gd name="T6" fmla="*/ 7 w 42"/>
                    <a:gd name="T7" fmla="*/ 0 h 163"/>
                  </a:gdLst>
                  <a:cxnLst>
                    <a:cxn ang="0">
                      <a:pos x="T0" y="T1"/>
                    </a:cxn>
                    <a:cxn ang="0">
                      <a:pos x="T2" y="T3"/>
                    </a:cxn>
                    <a:cxn ang="0">
                      <a:pos x="T4" y="T5"/>
                    </a:cxn>
                    <a:cxn ang="0">
                      <a:pos x="T6" y="T7"/>
                    </a:cxn>
                  </a:cxnLst>
                  <a:rect l="0" t="0" r="r" b="b"/>
                  <a:pathLst>
                    <a:path w="42" h="163">
                      <a:moveTo>
                        <a:pt x="0" y="2"/>
                      </a:moveTo>
                      <a:lnTo>
                        <a:pt x="35" y="163"/>
                      </a:lnTo>
                      <a:lnTo>
                        <a:pt x="42" y="161"/>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20" name="Freeform 239">
                  <a:extLst>
                    <a:ext uri="{FF2B5EF4-FFF2-40B4-BE49-F238E27FC236}">
                      <a16:creationId xmlns:a16="http://schemas.microsoft.com/office/drawing/2014/main" id="{D4A74A1C-7EBC-17C9-228B-D790B38BE027}"/>
                    </a:ext>
                  </a:extLst>
                </p:cNvPr>
                <p:cNvSpPr/>
                <p:nvPr/>
              </p:nvSpPr>
              <p:spPr bwMode="auto">
                <a:xfrm>
                  <a:off x="3792" y="473"/>
                  <a:ext cx="23" cy="115"/>
                </a:xfrm>
                <a:custGeom>
                  <a:gdLst>
                    <a:gd name="T0" fmla="*/ 0 w 23"/>
                    <a:gd name="T1" fmla="*/ 0 h 115"/>
                    <a:gd name="T2" fmla="*/ 16 w 23"/>
                    <a:gd name="T3" fmla="*/ 115 h 115"/>
                    <a:gd name="T4" fmla="*/ 23 w 23"/>
                    <a:gd name="T5" fmla="*/ 115 h 115"/>
                    <a:gd name="T6" fmla="*/ 7 w 23"/>
                    <a:gd name="T7" fmla="*/ 0 h 115"/>
                    <a:gd name="T8" fmla="*/ 0 w 23"/>
                    <a:gd name="T9" fmla="*/ 0 h 115"/>
                  </a:gdLst>
                  <a:cxnLst>
                    <a:cxn ang="0">
                      <a:pos x="T0" y="T1"/>
                    </a:cxn>
                    <a:cxn ang="0">
                      <a:pos x="T2" y="T3"/>
                    </a:cxn>
                    <a:cxn ang="0">
                      <a:pos x="T4" y="T5"/>
                    </a:cxn>
                    <a:cxn ang="0">
                      <a:pos x="T6" y="T7"/>
                    </a:cxn>
                    <a:cxn ang="0">
                      <a:pos x="T8" y="T9"/>
                    </a:cxn>
                  </a:cxnLst>
                  <a:rect l="0" t="0" r="r" b="b"/>
                  <a:pathLst>
                    <a:path w="23" h="115">
                      <a:moveTo>
                        <a:pt x="0" y="0"/>
                      </a:moveTo>
                      <a:lnTo>
                        <a:pt x="16" y="115"/>
                      </a:lnTo>
                      <a:lnTo>
                        <a:pt x="23" y="115"/>
                      </a:lnTo>
                      <a:lnTo>
                        <a:pt x="7" y="0"/>
                      </a:lnTo>
                      <a:lnTo>
                        <a:pt x="0" y="0"/>
                      </a:lnTo>
                      <a:close/>
                    </a:path>
                  </a:pathLst>
                </a:custGeom>
                <a:solidFill>
                  <a:srgbClr val="C1B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21" name="Freeform 240">
                  <a:extLst>
                    <a:ext uri="{FF2B5EF4-FFF2-40B4-BE49-F238E27FC236}">
                      <a16:creationId xmlns:a16="http://schemas.microsoft.com/office/drawing/2014/main" id="{AEAC571D-CD61-9BB4-FD81-910073086FD4}"/>
                    </a:ext>
                  </a:extLst>
                </p:cNvPr>
                <p:cNvSpPr/>
                <p:nvPr/>
              </p:nvSpPr>
              <p:spPr bwMode="auto">
                <a:xfrm>
                  <a:off x="3792" y="473"/>
                  <a:ext cx="23" cy="115"/>
                </a:xfrm>
                <a:custGeom>
                  <a:gdLst>
                    <a:gd name="T0" fmla="*/ 0 w 23"/>
                    <a:gd name="T1" fmla="*/ 0 h 115"/>
                    <a:gd name="T2" fmla="*/ 16 w 23"/>
                    <a:gd name="T3" fmla="*/ 115 h 115"/>
                    <a:gd name="T4" fmla="*/ 23 w 23"/>
                    <a:gd name="T5" fmla="*/ 115 h 115"/>
                    <a:gd name="T6" fmla="*/ 7 w 23"/>
                    <a:gd name="T7" fmla="*/ 0 h 115"/>
                  </a:gdLst>
                  <a:cxnLst>
                    <a:cxn ang="0">
                      <a:pos x="T0" y="T1"/>
                    </a:cxn>
                    <a:cxn ang="0">
                      <a:pos x="T2" y="T3"/>
                    </a:cxn>
                    <a:cxn ang="0">
                      <a:pos x="T4" y="T5"/>
                    </a:cxn>
                    <a:cxn ang="0">
                      <a:pos x="T6" y="T7"/>
                    </a:cxn>
                  </a:cxnLst>
                  <a:rect l="0" t="0" r="r" b="b"/>
                  <a:pathLst>
                    <a:path w="23" h="115">
                      <a:moveTo>
                        <a:pt x="0" y="0"/>
                      </a:moveTo>
                      <a:lnTo>
                        <a:pt x="16" y="115"/>
                      </a:lnTo>
                      <a:lnTo>
                        <a:pt x="23" y="115"/>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22" name="Freeform 241">
                  <a:extLst>
                    <a:ext uri="{FF2B5EF4-FFF2-40B4-BE49-F238E27FC236}">
                      <a16:creationId xmlns:a16="http://schemas.microsoft.com/office/drawing/2014/main" id="{6BFB9F9F-CC91-7163-1535-FC90ED3FEA99}"/>
                    </a:ext>
                  </a:extLst>
                </p:cNvPr>
                <p:cNvSpPr/>
                <p:nvPr/>
              </p:nvSpPr>
              <p:spPr bwMode="auto">
                <a:xfrm>
                  <a:off x="4096" y="511"/>
                  <a:ext cx="30" cy="117"/>
                </a:xfrm>
                <a:custGeom>
                  <a:gdLst>
                    <a:gd name="T0" fmla="*/ 22 w 30"/>
                    <a:gd name="T1" fmla="*/ 0 h 117"/>
                    <a:gd name="T2" fmla="*/ 0 w 30"/>
                    <a:gd name="T3" fmla="*/ 115 h 117"/>
                    <a:gd name="T4" fmla="*/ 8 w 30"/>
                    <a:gd name="T5" fmla="*/ 117 h 117"/>
                    <a:gd name="T6" fmla="*/ 30 w 30"/>
                    <a:gd name="T7" fmla="*/ 2 h 117"/>
                    <a:gd name="T8" fmla="*/ 22 w 30"/>
                    <a:gd name="T9" fmla="*/ 0 h 117"/>
                  </a:gdLst>
                  <a:cxnLst>
                    <a:cxn ang="0">
                      <a:pos x="T0" y="T1"/>
                    </a:cxn>
                    <a:cxn ang="0">
                      <a:pos x="T2" y="T3"/>
                    </a:cxn>
                    <a:cxn ang="0">
                      <a:pos x="T4" y="T5"/>
                    </a:cxn>
                    <a:cxn ang="0">
                      <a:pos x="T6" y="T7"/>
                    </a:cxn>
                    <a:cxn ang="0">
                      <a:pos x="T8" y="T9"/>
                    </a:cxn>
                  </a:cxnLst>
                  <a:rect l="0" t="0" r="r" b="b"/>
                  <a:pathLst>
                    <a:path w="30" h="117">
                      <a:moveTo>
                        <a:pt x="22" y="0"/>
                      </a:moveTo>
                      <a:lnTo>
                        <a:pt x="0" y="115"/>
                      </a:lnTo>
                      <a:lnTo>
                        <a:pt x="8" y="117"/>
                      </a:lnTo>
                      <a:lnTo>
                        <a:pt x="30" y="2"/>
                      </a:lnTo>
                      <a:lnTo>
                        <a:pt x="22" y="0"/>
                      </a:lnTo>
                      <a:close/>
                    </a:path>
                  </a:pathLst>
                </a:custGeom>
                <a:solidFill>
                  <a:srgbClr val="C1B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23" name="Freeform 242">
                  <a:extLst>
                    <a:ext uri="{FF2B5EF4-FFF2-40B4-BE49-F238E27FC236}">
                      <a16:creationId xmlns:a16="http://schemas.microsoft.com/office/drawing/2014/main" id="{F5243671-3F57-9669-72E0-F71ECB406128}"/>
                    </a:ext>
                  </a:extLst>
                </p:cNvPr>
                <p:cNvSpPr/>
                <p:nvPr/>
              </p:nvSpPr>
              <p:spPr bwMode="auto">
                <a:xfrm>
                  <a:off x="4096" y="511"/>
                  <a:ext cx="30" cy="117"/>
                </a:xfrm>
                <a:custGeom>
                  <a:gdLst>
                    <a:gd name="T0" fmla="*/ 22 w 30"/>
                    <a:gd name="T1" fmla="*/ 0 h 117"/>
                    <a:gd name="T2" fmla="*/ 0 w 30"/>
                    <a:gd name="T3" fmla="*/ 115 h 117"/>
                    <a:gd name="T4" fmla="*/ 8 w 30"/>
                    <a:gd name="T5" fmla="*/ 117 h 117"/>
                    <a:gd name="T6" fmla="*/ 30 w 30"/>
                    <a:gd name="T7" fmla="*/ 2 h 117"/>
                  </a:gdLst>
                  <a:cxnLst>
                    <a:cxn ang="0">
                      <a:pos x="T0" y="T1"/>
                    </a:cxn>
                    <a:cxn ang="0">
                      <a:pos x="T2" y="T3"/>
                    </a:cxn>
                    <a:cxn ang="0">
                      <a:pos x="T4" y="T5"/>
                    </a:cxn>
                    <a:cxn ang="0">
                      <a:pos x="T6" y="T7"/>
                    </a:cxn>
                  </a:cxnLst>
                  <a:rect l="0" t="0" r="r" b="b"/>
                  <a:pathLst>
                    <a:path w="30" h="117">
                      <a:moveTo>
                        <a:pt x="22" y="0"/>
                      </a:moveTo>
                      <a:lnTo>
                        <a:pt x="0" y="115"/>
                      </a:lnTo>
                      <a:lnTo>
                        <a:pt x="8" y="117"/>
                      </a:lnTo>
                      <a:lnTo>
                        <a:pt x="3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24" name="Freeform 243">
                  <a:extLst>
                    <a:ext uri="{FF2B5EF4-FFF2-40B4-BE49-F238E27FC236}">
                      <a16:creationId xmlns:a16="http://schemas.microsoft.com/office/drawing/2014/main" id="{225BBA67-1834-73EB-C052-7FED18FE1BB9}"/>
                    </a:ext>
                  </a:extLst>
                </p:cNvPr>
                <p:cNvSpPr/>
                <p:nvPr/>
              </p:nvSpPr>
              <p:spPr bwMode="auto">
                <a:xfrm>
                  <a:off x="3907" y="460"/>
                  <a:ext cx="366" cy="383"/>
                </a:xfrm>
                <a:custGeom>
                  <a:gdLst>
                    <a:gd name="T0" fmla="*/ 171 w 201"/>
                    <a:gd name="T1" fmla="*/ 210 h 210"/>
                    <a:gd name="T2" fmla="*/ 201 w 201"/>
                    <a:gd name="T3" fmla="*/ 90 h 210"/>
                    <a:gd name="T4" fmla="*/ 0 w 201"/>
                    <a:gd name="T5" fmla="*/ 0 h 210"/>
                    <a:gd name="T6" fmla="*/ 0 w 201"/>
                    <a:gd name="T7" fmla="*/ 139 h 210"/>
                    <a:gd name="T8" fmla="*/ 171 w 201"/>
                    <a:gd name="T9" fmla="*/ 210 h 210"/>
                  </a:gdLst>
                  <a:cxnLst>
                    <a:cxn ang="0">
                      <a:pos x="T0" y="T1"/>
                    </a:cxn>
                    <a:cxn ang="0">
                      <a:pos x="T2" y="T3"/>
                    </a:cxn>
                    <a:cxn ang="0">
                      <a:pos x="T4" y="T5"/>
                    </a:cxn>
                    <a:cxn ang="0">
                      <a:pos x="T6" y="T7"/>
                    </a:cxn>
                    <a:cxn ang="0">
                      <a:pos x="T8" y="T9"/>
                    </a:cxn>
                  </a:cxnLst>
                  <a:rect l="0" t="0" r="r" b="b"/>
                  <a:pathLst>
                    <a:path w="201" h="210">
                      <a:moveTo>
                        <a:pt x="171" y="210"/>
                      </a:moveTo>
                      <a:cubicBezTo>
                        <a:pt x="201" y="90"/>
                        <a:pt x="201" y="90"/>
                        <a:pt x="201" y="90"/>
                      </a:cubicBezTo>
                      <a:cubicBezTo>
                        <a:pt x="201" y="90"/>
                        <a:pt x="124" y="0"/>
                        <a:pt x="0" y="0"/>
                      </a:cubicBezTo>
                      <a:cubicBezTo>
                        <a:pt x="0" y="139"/>
                        <a:pt x="0" y="139"/>
                        <a:pt x="0" y="139"/>
                      </a:cubicBezTo>
                      <a:cubicBezTo>
                        <a:pt x="171" y="210"/>
                        <a:pt x="171" y="210"/>
                        <a:pt x="171" y="210"/>
                      </a:cubicBezTo>
                    </a:path>
                  </a:pathLst>
                </a:cu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25" name="Freeform 244">
                  <a:extLst>
                    <a:ext uri="{FF2B5EF4-FFF2-40B4-BE49-F238E27FC236}">
                      <a16:creationId xmlns:a16="http://schemas.microsoft.com/office/drawing/2014/main" id="{C575EAC5-0BB5-2662-A1AD-3DB5C7AC6AC0}"/>
                    </a:ext>
                  </a:extLst>
                </p:cNvPr>
                <p:cNvSpPr/>
                <p:nvPr/>
              </p:nvSpPr>
              <p:spPr bwMode="auto">
                <a:xfrm>
                  <a:off x="3704" y="1422"/>
                  <a:ext cx="405" cy="524"/>
                </a:xfrm>
                <a:custGeom>
                  <a:gdLst>
                    <a:gd name="T0" fmla="*/ 172 w 222"/>
                    <a:gd name="T1" fmla="*/ 0 h 287"/>
                    <a:gd name="T2" fmla="*/ 111 w 222"/>
                    <a:gd name="T3" fmla="*/ 8 h 287"/>
                    <a:gd name="T4" fmla="*/ 50 w 222"/>
                    <a:gd name="T5" fmla="*/ 0 h 287"/>
                    <a:gd name="T6" fmla="*/ 0 w 222"/>
                    <a:gd name="T7" fmla="*/ 164 h 287"/>
                    <a:gd name="T8" fmla="*/ 111 w 222"/>
                    <a:gd name="T9" fmla="*/ 287 h 287"/>
                    <a:gd name="T10" fmla="*/ 222 w 222"/>
                    <a:gd name="T11" fmla="*/ 164 h 287"/>
                    <a:gd name="T12" fmla="*/ 172 w 222"/>
                    <a:gd name="T13" fmla="*/ 0 h 287"/>
                  </a:gdLst>
                  <a:cxnLst>
                    <a:cxn ang="0">
                      <a:pos x="T0" y="T1"/>
                    </a:cxn>
                    <a:cxn ang="0">
                      <a:pos x="T2" y="T3"/>
                    </a:cxn>
                    <a:cxn ang="0">
                      <a:pos x="T4" y="T5"/>
                    </a:cxn>
                    <a:cxn ang="0">
                      <a:pos x="T6" y="T7"/>
                    </a:cxn>
                    <a:cxn ang="0">
                      <a:pos x="T8" y="T9"/>
                    </a:cxn>
                    <a:cxn ang="0">
                      <a:pos x="T10" y="T11"/>
                    </a:cxn>
                    <a:cxn ang="0">
                      <a:pos x="T12" y="T13"/>
                    </a:cxn>
                  </a:cxnLst>
                  <a:rect l="0" t="0" r="r" b="b"/>
                  <a:pathLst>
                    <a:path w="221" h="287">
                      <a:moveTo>
                        <a:pt x="172" y="0"/>
                      </a:moveTo>
                      <a:cubicBezTo>
                        <a:pt x="111" y="8"/>
                        <a:pt x="111" y="8"/>
                        <a:pt x="111" y="8"/>
                      </a:cubicBezTo>
                      <a:cubicBezTo>
                        <a:pt x="50" y="0"/>
                        <a:pt x="50" y="0"/>
                        <a:pt x="50" y="0"/>
                      </a:cubicBezTo>
                      <a:cubicBezTo>
                        <a:pt x="50" y="0"/>
                        <a:pt x="74" y="110"/>
                        <a:pt x="0" y="164"/>
                      </a:cubicBezTo>
                      <a:cubicBezTo>
                        <a:pt x="111" y="287"/>
                        <a:pt x="111" y="287"/>
                        <a:pt x="111" y="287"/>
                      </a:cubicBezTo>
                      <a:cubicBezTo>
                        <a:pt x="111" y="287"/>
                        <a:pt x="111" y="287"/>
                        <a:pt x="222" y="164"/>
                      </a:cubicBezTo>
                      <a:cubicBezTo>
                        <a:pt x="148" y="110"/>
                        <a:pt x="172" y="0"/>
                        <a:pt x="172" y="0"/>
                      </a:cubicBezTo>
                    </a:path>
                  </a:pathLst>
                </a:custGeom>
                <a:solidFill>
                  <a:srgbClr val="FB8F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26" name="Freeform 245">
                  <a:extLst>
                    <a:ext uri="{FF2B5EF4-FFF2-40B4-BE49-F238E27FC236}">
                      <a16:creationId xmlns:a16="http://schemas.microsoft.com/office/drawing/2014/main" id="{D375047D-FB36-FCC3-1B76-DE6BB1A09996}"/>
                    </a:ext>
                  </a:extLst>
                </p:cNvPr>
                <p:cNvSpPr/>
                <p:nvPr/>
              </p:nvSpPr>
              <p:spPr bwMode="auto">
                <a:xfrm>
                  <a:off x="3795" y="1422"/>
                  <a:ext cx="197" cy="153"/>
                </a:xfrm>
                <a:custGeom>
                  <a:gdLst>
                    <a:gd name="T0" fmla="*/ 108 w 108"/>
                    <a:gd name="T1" fmla="*/ 32 h 84"/>
                    <a:gd name="T2" fmla="*/ 67 w 108"/>
                    <a:gd name="T3" fmla="*/ 7 h 84"/>
                    <a:gd name="T4" fmla="*/ 61 w 108"/>
                    <a:gd name="T5" fmla="*/ 8 h 84"/>
                    <a:gd name="T6" fmla="*/ 0 w 108"/>
                    <a:gd name="T7" fmla="*/ 0 h 84"/>
                    <a:gd name="T8" fmla="*/ 0 w 108"/>
                    <a:gd name="T9" fmla="*/ 84 h 84"/>
                    <a:gd name="T10" fmla="*/ 108 w 108"/>
                    <a:gd name="T11" fmla="*/ 32 h 84"/>
                  </a:gdLst>
                  <a:cxnLst>
                    <a:cxn ang="0">
                      <a:pos x="T0" y="T1"/>
                    </a:cxn>
                    <a:cxn ang="0">
                      <a:pos x="T2" y="T3"/>
                    </a:cxn>
                    <a:cxn ang="0">
                      <a:pos x="T4" y="T5"/>
                    </a:cxn>
                    <a:cxn ang="0">
                      <a:pos x="T6" y="T7"/>
                    </a:cxn>
                    <a:cxn ang="0">
                      <a:pos x="T8" y="T9"/>
                    </a:cxn>
                    <a:cxn ang="0">
                      <a:pos x="T10" y="T11"/>
                    </a:cxn>
                  </a:cxnLst>
                  <a:rect l="0" t="0" r="r" b="b"/>
                  <a:pathLst>
                    <a:path w="108" h="84">
                      <a:moveTo>
                        <a:pt x="108" y="32"/>
                      </a:moveTo>
                      <a:cubicBezTo>
                        <a:pt x="67" y="7"/>
                        <a:pt x="67" y="7"/>
                        <a:pt x="67" y="7"/>
                      </a:cubicBezTo>
                      <a:cubicBezTo>
                        <a:pt x="61" y="8"/>
                        <a:pt x="61" y="8"/>
                        <a:pt x="61" y="8"/>
                      </a:cubicBezTo>
                      <a:cubicBezTo>
                        <a:pt x="0" y="0"/>
                        <a:pt x="0" y="0"/>
                        <a:pt x="0" y="0"/>
                      </a:cubicBezTo>
                      <a:cubicBezTo>
                        <a:pt x="0" y="0"/>
                        <a:pt x="9" y="40"/>
                        <a:pt x="0" y="84"/>
                      </a:cubicBezTo>
                      <a:cubicBezTo>
                        <a:pt x="67" y="73"/>
                        <a:pt x="108" y="32"/>
                        <a:pt x="108" y="32"/>
                      </a:cubicBezTo>
                    </a:path>
                  </a:pathLst>
                </a:custGeom>
                <a:solidFill>
                  <a:srgbClr val="6614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27" name="Freeform 246">
                  <a:extLst>
                    <a:ext uri="{FF2B5EF4-FFF2-40B4-BE49-F238E27FC236}">
                      <a16:creationId xmlns:a16="http://schemas.microsoft.com/office/drawing/2014/main" id="{CAC536D6-C630-D09A-D385-65A3C1D64151}"/>
                    </a:ext>
                  </a:extLst>
                </p:cNvPr>
                <p:cNvSpPr/>
                <p:nvPr/>
              </p:nvSpPr>
              <p:spPr bwMode="auto">
                <a:xfrm>
                  <a:off x="3458" y="515"/>
                  <a:ext cx="449" cy="693"/>
                </a:xfrm>
                <a:custGeom>
                  <a:gdLst>
                    <a:gd name="T0" fmla="*/ 246 w 246"/>
                    <a:gd name="T1" fmla="*/ 12 h 380"/>
                    <a:gd name="T2" fmla="*/ 64 w 246"/>
                    <a:gd name="T3" fmla="*/ 323 h 380"/>
                    <a:gd name="T4" fmla="*/ 127 w 246"/>
                    <a:gd name="T5" fmla="*/ 369 h 380"/>
                    <a:gd name="T6" fmla="*/ 246 w 246"/>
                    <a:gd name="T7" fmla="*/ 133 h 380"/>
                    <a:gd name="T8" fmla="*/ 246 w 246"/>
                    <a:gd name="T9" fmla="*/ 12 h 380"/>
                  </a:gdLst>
                  <a:cxnLst>
                    <a:cxn ang="0">
                      <a:pos x="T0" y="T1"/>
                    </a:cxn>
                    <a:cxn ang="0">
                      <a:pos x="T2" y="T3"/>
                    </a:cxn>
                    <a:cxn ang="0">
                      <a:pos x="T4" y="T5"/>
                    </a:cxn>
                    <a:cxn ang="0">
                      <a:pos x="T6" y="T7"/>
                    </a:cxn>
                    <a:cxn ang="0">
                      <a:pos x="T8" y="T9"/>
                    </a:cxn>
                  </a:cxnLst>
                  <a:rect l="0" t="0" r="r" b="b"/>
                  <a:pathLst>
                    <a:path w="246" h="380">
                      <a:moveTo>
                        <a:pt x="246" y="12"/>
                      </a:moveTo>
                      <a:cubicBezTo>
                        <a:pt x="246" y="12"/>
                        <a:pt x="0" y="0"/>
                        <a:pt x="64" y="323"/>
                      </a:cubicBezTo>
                      <a:cubicBezTo>
                        <a:pt x="127" y="380"/>
                        <a:pt x="127" y="369"/>
                        <a:pt x="127" y="369"/>
                      </a:cubicBezTo>
                      <a:cubicBezTo>
                        <a:pt x="246" y="133"/>
                        <a:pt x="246" y="133"/>
                        <a:pt x="246" y="133"/>
                      </a:cubicBezTo>
                      <a:cubicBezTo>
                        <a:pt x="246" y="12"/>
                        <a:pt x="246" y="12"/>
                        <a:pt x="246" y="12"/>
                      </a:cubicBezTo>
                    </a:path>
                  </a:pathLst>
                </a:custGeom>
                <a:solidFill>
                  <a:srgbClr val="3D0F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28" name="Freeform 247">
                  <a:extLst>
                    <a:ext uri="{FF2B5EF4-FFF2-40B4-BE49-F238E27FC236}">
                      <a16:creationId xmlns:a16="http://schemas.microsoft.com/office/drawing/2014/main" id="{72FCCD75-4EE7-4D18-6C34-EBADBB9F2FD5}"/>
                    </a:ext>
                  </a:extLst>
                </p:cNvPr>
                <p:cNvSpPr/>
                <p:nvPr/>
              </p:nvSpPr>
              <p:spPr bwMode="auto">
                <a:xfrm>
                  <a:off x="3498" y="1051"/>
                  <a:ext cx="177" cy="214"/>
                </a:xfrm>
                <a:custGeom>
                  <a:gdLst>
                    <a:gd name="T0" fmla="*/ 12 w 97"/>
                    <a:gd name="T1" fmla="*/ 75 h 117"/>
                    <a:gd name="T2" fmla="*/ 70 w 97"/>
                    <a:gd name="T3" fmla="*/ 108 h 117"/>
                    <a:gd name="T4" fmla="*/ 84 w 97"/>
                    <a:gd name="T5" fmla="*/ 42 h 117"/>
                    <a:gd name="T6" fmla="*/ 26 w 97"/>
                    <a:gd name="T7" fmla="*/ 9 h 117"/>
                    <a:gd name="T8" fmla="*/ 12 w 97"/>
                    <a:gd name="T9" fmla="*/ 75 h 117"/>
                  </a:gdLst>
                  <a:cxnLst>
                    <a:cxn ang="0">
                      <a:pos x="T0" y="T1"/>
                    </a:cxn>
                    <a:cxn ang="0">
                      <a:pos x="T2" y="T3"/>
                    </a:cxn>
                    <a:cxn ang="0">
                      <a:pos x="T4" y="T5"/>
                    </a:cxn>
                    <a:cxn ang="0">
                      <a:pos x="T6" y="T7"/>
                    </a:cxn>
                    <a:cxn ang="0">
                      <a:pos x="T8" y="T9"/>
                    </a:cxn>
                  </a:cxnLst>
                  <a:rect l="0" t="0" r="r" b="b"/>
                  <a:pathLst>
                    <a:path w="97" h="117">
                      <a:moveTo>
                        <a:pt x="12" y="75"/>
                      </a:moveTo>
                      <a:cubicBezTo>
                        <a:pt x="24" y="102"/>
                        <a:pt x="50" y="117"/>
                        <a:pt x="70" y="108"/>
                      </a:cubicBezTo>
                      <a:cubicBezTo>
                        <a:pt x="90" y="99"/>
                        <a:pt x="97" y="70"/>
                        <a:pt x="84" y="42"/>
                      </a:cubicBezTo>
                      <a:cubicBezTo>
                        <a:pt x="72" y="15"/>
                        <a:pt x="46" y="0"/>
                        <a:pt x="26" y="9"/>
                      </a:cubicBezTo>
                      <a:cubicBezTo>
                        <a:pt x="6" y="18"/>
                        <a:pt x="0" y="47"/>
                        <a:pt x="12" y="75"/>
                      </a:cubicBezTo>
                    </a:path>
                  </a:pathLst>
                </a:custGeom>
                <a:solidFill>
                  <a:srgbClr val="D86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29" name="Freeform 248">
                  <a:extLst>
                    <a:ext uri="{FF2B5EF4-FFF2-40B4-BE49-F238E27FC236}">
                      <a16:creationId xmlns:a16="http://schemas.microsoft.com/office/drawing/2014/main" id="{57BD5541-AEC0-1F86-5976-6E182EA44CC5}"/>
                    </a:ext>
                  </a:extLst>
                </p:cNvPr>
                <p:cNvSpPr/>
                <p:nvPr/>
              </p:nvSpPr>
              <p:spPr bwMode="auto">
                <a:xfrm>
                  <a:off x="3500" y="1075"/>
                  <a:ext cx="131" cy="177"/>
                </a:xfrm>
                <a:custGeom>
                  <a:gdLst>
                    <a:gd name="T0" fmla="*/ 18 w 72"/>
                    <a:gd name="T1" fmla="*/ 0 h 97"/>
                    <a:gd name="T2" fmla="*/ 62 w 72"/>
                    <a:gd name="T3" fmla="*/ 36 h 97"/>
                    <a:gd name="T4" fmla="*/ 54 w 72"/>
                    <a:gd name="T5" fmla="*/ 97 h 97"/>
                    <a:gd name="T6" fmla="*/ 11 w 72"/>
                    <a:gd name="T7" fmla="*/ 62 h 97"/>
                    <a:gd name="T8" fmla="*/ 18 w 72"/>
                    <a:gd name="T9" fmla="*/ 0 h 97"/>
                  </a:gdLst>
                  <a:cxnLst>
                    <a:cxn ang="0">
                      <a:pos x="T0" y="T1"/>
                    </a:cxn>
                    <a:cxn ang="0">
                      <a:pos x="T2" y="T3"/>
                    </a:cxn>
                    <a:cxn ang="0">
                      <a:pos x="T4" y="T5"/>
                    </a:cxn>
                    <a:cxn ang="0">
                      <a:pos x="T6" y="T7"/>
                    </a:cxn>
                    <a:cxn ang="0">
                      <a:pos x="T8" y="T9"/>
                    </a:cxn>
                  </a:cxnLst>
                  <a:rect l="0" t="0" r="r" b="b"/>
                  <a:pathLst>
                    <a:path w="72" h="97">
                      <a:moveTo>
                        <a:pt x="18" y="0"/>
                      </a:moveTo>
                      <a:cubicBezTo>
                        <a:pt x="35" y="1"/>
                        <a:pt x="52" y="15"/>
                        <a:pt x="62" y="36"/>
                      </a:cubicBezTo>
                      <a:cubicBezTo>
                        <a:pt x="72" y="60"/>
                        <a:pt x="69" y="85"/>
                        <a:pt x="54" y="97"/>
                      </a:cubicBezTo>
                      <a:cubicBezTo>
                        <a:pt x="38" y="96"/>
                        <a:pt x="20" y="82"/>
                        <a:pt x="11" y="62"/>
                      </a:cubicBezTo>
                      <a:cubicBezTo>
                        <a:pt x="0" y="38"/>
                        <a:pt x="4" y="12"/>
                        <a:pt x="18" y="0"/>
                      </a:cubicBezTo>
                      <a:close/>
                    </a:path>
                  </a:pathLst>
                </a:custGeom>
                <a:solidFill>
                  <a:srgbClr val="FB8F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30" name="Freeform 249">
                  <a:extLst>
                    <a:ext uri="{FF2B5EF4-FFF2-40B4-BE49-F238E27FC236}">
                      <a16:creationId xmlns:a16="http://schemas.microsoft.com/office/drawing/2014/main" id="{4A39BDA1-662F-C557-EDC4-D18494555DA8}"/>
                    </a:ext>
                  </a:extLst>
                </p:cNvPr>
                <p:cNvSpPr/>
                <p:nvPr/>
              </p:nvSpPr>
              <p:spPr bwMode="auto">
                <a:xfrm>
                  <a:off x="3907" y="515"/>
                  <a:ext cx="448" cy="693"/>
                </a:xfrm>
                <a:custGeom>
                  <a:gdLst>
                    <a:gd name="T0" fmla="*/ 0 w 246"/>
                    <a:gd name="T1" fmla="*/ 12 h 380"/>
                    <a:gd name="T2" fmla="*/ 182 w 246"/>
                    <a:gd name="T3" fmla="*/ 323 h 380"/>
                    <a:gd name="T4" fmla="*/ 119 w 246"/>
                    <a:gd name="T5" fmla="*/ 369 h 380"/>
                    <a:gd name="T6" fmla="*/ 0 w 246"/>
                    <a:gd name="T7" fmla="*/ 133 h 380"/>
                    <a:gd name="T8" fmla="*/ 0 w 246"/>
                    <a:gd name="T9" fmla="*/ 12 h 380"/>
                  </a:gdLst>
                  <a:cxnLst>
                    <a:cxn ang="0">
                      <a:pos x="T0" y="T1"/>
                    </a:cxn>
                    <a:cxn ang="0">
                      <a:pos x="T2" y="T3"/>
                    </a:cxn>
                    <a:cxn ang="0">
                      <a:pos x="T4" y="T5"/>
                    </a:cxn>
                    <a:cxn ang="0">
                      <a:pos x="T6" y="T7"/>
                    </a:cxn>
                    <a:cxn ang="0">
                      <a:pos x="T8" y="T9"/>
                    </a:cxn>
                  </a:cxnLst>
                  <a:rect l="0" t="0" r="r" b="b"/>
                  <a:pathLst>
                    <a:path w="246" h="380">
                      <a:moveTo>
                        <a:pt x="0" y="12"/>
                      </a:moveTo>
                      <a:cubicBezTo>
                        <a:pt x="0" y="12"/>
                        <a:pt x="246" y="0"/>
                        <a:pt x="182" y="323"/>
                      </a:cubicBezTo>
                      <a:cubicBezTo>
                        <a:pt x="119" y="380"/>
                        <a:pt x="119" y="369"/>
                        <a:pt x="119" y="369"/>
                      </a:cubicBezTo>
                      <a:cubicBezTo>
                        <a:pt x="0" y="133"/>
                        <a:pt x="0" y="133"/>
                        <a:pt x="0" y="133"/>
                      </a:cubicBezTo>
                      <a:cubicBezTo>
                        <a:pt x="0" y="12"/>
                        <a:pt x="0" y="12"/>
                        <a:pt x="0" y="12"/>
                      </a:cubicBezTo>
                    </a:path>
                  </a:pathLst>
                </a:custGeom>
                <a:solidFill>
                  <a:srgbClr val="3D0F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31" name="Freeform 250">
                  <a:extLst>
                    <a:ext uri="{FF2B5EF4-FFF2-40B4-BE49-F238E27FC236}">
                      <a16:creationId xmlns:a16="http://schemas.microsoft.com/office/drawing/2014/main" id="{6CB368E4-9343-E022-D385-D82F76AAE01F}"/>
                    </a:ext>
                  </a:extLst>
                </p:cNvPr>
                <p:cNvSpPr/>
                <p:nvPr/>
              </p:nvSpPr>
              <p:spPr bwMode="auto">
                <a:xfrm>
                  <a:off x="4140" y="1051"/>
                  <a:ext cx="177" cy="214"/>
                </a:xfrm>
                <a:custGeom>
                  <a:gdLst>
                    <a:gd name="T0" fmla="*/ 85 w 97"/>
                    <a:gd name="T1" fmla="*/ 75 h 117"/>
                    <a:gd name="T2" fmla="*/ 26 w 97"/>
                    <a:gd name="T3" fmla="*/ 108 h 117"/>
                    <a:gd name="T4" fmla="*/ 12 w 97"/>
                    <a:gd name="T5" fmla="*/ 42 h 117"/>
                    <a:gd name="T6" fmla="*/ 70 w 97"/>
                    <a:gd name="T7" fmla="*/ 9 h 117"/>
                    <a:gd name="T8" fmla="*/ 85 w 97"/>
                    <a:gd name="T9" fmla="*/ 75 h 117"/>
                  </a:gdLst>
                  <a:cxnLst>
                    <a:cxn ang="0">
                      <a:pos x="T0" y="T1"/>
                    </a:cxn>
                    <a:cxn ang="0">
                      <a:pos x="T2" y="T3"/>
                    </a:cxn>
                    <a:cxn ang="0">
                      <a:pos x="T4" y="T5"/>
                    </a:cxn>
                    <a:cxn ang="0">
                      <a:pos x="T6" y="T7"/>
                    </a:cxn>
                    <a:cxn ang="0">
                      <a:pos x="T8" y="T9"/>
                    </a:cxn>
                  </a:cxnLst>
                  <a:rect l="0" t="0" r="r" b="b"/>
                  <a:pathLst>
                    <a:path w="97" h="117">
                      <a:moveTo>
                        <a:pt x="85" y="75"/>
                      </a:moveTo>
                      <a:cubicBezTo>
                        <a:pt x="72" y="102"/>
                        <a:pt x="46" y="117"/>
                        <a:pt x="26" y="108"/>
                      </a:cubicBezTo>
                      <a:cubicBezTo>
                        <a:pt x="6" y="99"/>
                        <a:pt x="0" y="70"/>
                        <a:pt x="12" y="42"/>
                      </a:cubicBezTo>
                      <a:cubicBezTo>
                        <a:pt x="24" y="15"/>
                        <a:pt x="50" y="0"/>
                        <a:pt x="70" y="9"/>
                      </a:cubicBezTo>
                      <a:cubicBezTo>
                        <a:pt x="90" y="18"/>
                        <a:pt x="97" y="47"/>
                        <a:pt x="85" y="75"/>
                      </a:cubicBezTo>
                    </a:path>
                  </a:pathLst>
                </a:custGeom>
                <a:solidFill>
                  <a:srgbClr val="D86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32" name="Freeform 251">
                  <a:extLst>
                    <a:ext uri="{FF2B5EF4-FFF2-40B4-BE49-F238E27FC236}">
                      <a16:creationId xmlns:a16="http://schemas.microsoft.com/office/drawing/2014/main" id="{02839935-C757-709D-278B-ACDCE5B5E2D8}"/>
                    </a:ext>
                  </a:extLst>
                </p:cNvPr>
                <p:cNvSpPr/>
                <p:nvPr/>
              </p:nvSpPr>
              <p:spPr bwMode="auto">
                <a:xfrm>
                  <a:off x="4182" y="1075"/>
                  <a:ext cx="131" cy="177"/>
                </a:xfrm>
                <a:custGeom>
                  <a:gdLst>
                    <a:gd name="T0" fmla="*/ 54 w 72"/>
                    <a:gd name="T1" fmla="*/ 0 h 97"/>
                    <a:gd name="T2" fmla="*/ 10 w 72"/>
                    <a:gd name="T3" fmla="*/ 36 h 97"/>
                    <a:gd name="T4" fmla="*/ 18 w 72"/>
                    <a:gd name="T5" fmla="*/ 97 h 97"/>
                    <a:gd name="T6" fmla="*/ 62 w 72"/>
                    <a:gd name="T7" fmla="*/ 62 h 97"/>
                    <a:gd name="T8" fmla="*/ 54 w 72"/>
                    <a:gd name="T9" fmla="*/ 0 h 97"/>
                  </a:gdLst>
                  <a:cxnLst>
                    <a:cxn ang="0">
                      <a:pos x="T0" y="T1"/>
                    </a:cxn>
                    <a:cxn ang="0">
                      <a:pos x="T2" y="T3"/>
                    </a:cxn>
                    <a:cxn ang="0">
                      <a:pos x="T4" y="T5"/>
                    </a:cxn>
                    <a:cxn ang="0">
                      <a:pos x="T6" y="T7"/>
                    </a:cxn>
                    <a:cxn ang="0">
                      <a:pos x="T8" y="T9"/>
                    </a:cxn>
                  </a:cxnLst>
                  <a:rect l="0" t="0" r="r" b="b"/>
                  <a:pathLst>
                    <a:path w="72" h="97">
                      <a:moveTo>
                        <a:pt x="54" y="0"/>
                      </a:moveTo>
                      <a:cubicBezTo>
                        <a:pt x="37" y="1"/>
                        <a:pt x="20" y="15"/>
                        <a:pt x="10" y="36"/>
                      </a:cubicBezTo>
                      <a:cubicBezTo>
                        <a:pt x="0" y="60"/>
                        <a:pt x="3" y="85"/>
                        <a:pt x="18" y="97"/>
                      </a:cubicBezTo>
                      <a:cubicBezTo>
                        <a:pt x="35" y="96"/>
                        <a:pt x="52" y="82"/>
                        <a:pt x="62" y="62"/>
                      </a:cubicBezTo>
                      <a:cubicBezTo>
                        <a:pt x="72" y="38"/>
                        <a:pt x="69" y="12"/>
                        <a:pt x="54" y="0"/>
                      </a:cubicBezTo>
                      <a:close/>
                    </a:path>
                  </a:pathLst>
                </a:custGeom>
                <a:solidFill>
                  <a:srgbClr val="FB8F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33" name="Freeform 252">
                  <a:extLst>
                    <a:ext uri="{FF2B5EF4-FFF2-40B4-BE49-F238E27FC236}">
                      <a16:creationId xmlns:a16="http://schemas.microsoft.com/office/drawing/2014/main" id="{8576A279-4A41-2DB1-4D8E-8F478C8336EC}"/>
                    </a:ext>
                  </a:extLst>
                </p:cNvPr>
                <p:cNvSpPr/>
                <p:nvPr/>
              </p:nvSpPr>
              <p:spPr bwMode="auto">
                <a:xfrm>
                  <a:off x="3615" y="712"/>
                  <a:ext cx="583" cy="801"/>
                </a:xfrm>
                <a:custGeom>
                  <a:gdLst>
                    <a:gd name="T0" fmla="*/ 160 w 320"/>
                    <a:gd name="T1" fmla="*/ 1 h 439"/>
                    <a:gd name="T2" fmla="*/ 15 w 320"/>
                    <a:gd name="T3" fmla="*/ 198 h 439"/>
                    <a:gd name="T4" fmla="*/ 114 w 320"/>
                    <a:gd name="T5" fmla="*/ 421 h 439"/>
                    <a:gd name="T6" fmla="*/ 160 w 320"/>
                    <a:gd name="T7" fmla="*/ 435 h 439"/>
                    <a:gd name="T8" fmla="*/ 207 w 320"/>
                    <a:gd name="T9" fmla="*/ 421 h 439"/>
                    <a:gd name="T10" fmla="*/ 306 w 320"/>
                    <a:gd name="T11" fmla="*/ 198 h 439"/>
                    <a:gd name="T12" fmla="*/ 160 w 320"/>
                    <a:gd name="T13" fmla="*/ 1 h 439"/>
                  </a:gdLst>
                  <a:cxnLst>
                    <a:cxn ang="0">
                      <a:pos x="T0" y="T1"/>
                    </a:cxn>
                    <a:cxn ang="0">
                      <a:pos x="T2" y="T3"/>
                    </a:cxn>
                    <a:cxn ang="0">
                      <a:pos x="T4" y="T5"/>
                    </a:cxn>
                    <a:cxn ang="0">
                      <a:pos x="T6" y="T7"/>
                    </a:cxn>
                    <a:cxn ang="0">
                      <a:pos x="T8" y="T9"/>
                    </a:cxn>
                    <a:cxn ang="0">
                      <a:pos x="T10" y="T11"/>
                    </a:cxn>
                    <a:cxn ang="0">
                      <a:pos x="T12" y="T13"/>
                    </a:cxn>
                  </a:cxnLst>
                  <a:rect l="0" t="0" r="r" b="b"/>
                  <a:pathLst>
                    <a:path w="320" h="439">
                      <a:moveTo>
                        <a:pt x="160" y="1"/>
                      </a:moveTo>
                      <a:cubicBezTo>
                        <a:pt x="160" y="1"/>
                        <a:pt x="0" y="0"/>
                        <a:pt x="15" y="198"/>
                      </a:cubicBezTo>
                      <a:cubicBezTo>
                        <a:pt x="27" y="366"/>
                        <a:pt x="34" y="345"/>
                        <a:pt x="114" y="421"/>
                      </a:cubicBezTo>
                      <a:cubicBezTo>
                        <a:pt x="134" y="439"/>
                        <a:pt x="160" y="435"/>
                        <a:pt x="160" y="435"/>
                      </a:cubicBezTo>
                      <a:cubicBezTo>
                        <a:pt x="160" y="435"/>
                        <a:pt x="186" y="439"/>
                        <a:pt x="207" y="421"/>
                      </a:cubicBezTo>
                      <a:cubicBezTo>
                        <a:pt x="287" y="345"/>
                        <a:pt x="293" y="366"/>
                        <a:pt x="306" y="198"/>
                      </a:cubicBezTo>
                      <a:cubicBezTo>
                        <a:pt x="320" y="0"/>
                        <a:pt x="160" y="1"/>
                        <a:pt x="160" y="1"/>
                      </a:cubicBezTo>
                    </a:path>
                  </a:pathLst>
                </a:custGeom>
                <a:solidFill>
                  <a:srgbClr val="FB8F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34" name="Freeform 253">
                  <a:extLst>
                    <a:ext uri="{FF2B5EF4-FFF2-40B4-BE49-F238E27FC236}">
                      <a16:creationId xmlns:a16="http://schemas.microsoft.com/office/drawing/2014/main" id="{1FA203F7-CAD2-222E-4670-929D5E726CB6}"/>
                    </a:ext>
                  </a:extLst>
                </p:cNvPr>
                <p:cNvSpPr/>
                <p:nvPr/>
              </p:nvSpPr>
              <p:spPr bwMode="auto">
                <a:xfrm>
                  <a:off x="3972" y="973"/>
                  <a:ext cx="183" cy="54"/>
                </a:xfrm>
                <a:custGeom>
                  <a:gdLst>
                    <a:gd name="T0" fmla="*/ 0 w 100"/>
                    <a:gd name="T1" fmla="*/ 25 h 30"/>
                    <a:gd name="T2" fmla="*/ 65 w 100"/>
                    <a:gd name="T3" fmla="*/ 14 h 30"/>
                    <a:gd name="T4" fmla="*/ 100 w 100"/>
                    <a:gd name="T5" fmla="*/ 30 h 30"/>
                    <a:gd name="T6" fmla="*/ 66 w 100"/>
                    <a:gd name="T7" fmla="*/ 4 h 30"/>
                    <a:gd name="T8" fmla="*/ 0 w 100"/>
                    <a:gd name="T9" fmla="*/ 11 h 30"/>
                    <a:gd name="T10" fmla="*/ 0 w 100"/>
                    <a:gd name="T11" fmla="*/ 25 h 30"/>
                  </a:gdLst>
                  <a:cxnLst>
                    <a:cxn ang="0">
                      <a:pos x="T0" y="T1"/>
                    </a:cxn>
                    <a:cxn ang="0">
                      <a:pos x="T2" y="T3"/>
                    </a:cxn>
                    <a:cxn ang="0">
                      <a:pos x="T4" y="T5"/>
                    </a:cxn>
                    <a:cxn ang="0">
                      <a:pos x="T6" y="T7"/>
                    </a:cxn>
                    <a:cxn ang="0">
                      <a:pos x="T8" y="T9"/>
                    </a:cxn>
                    <a:cxn ang="0">
                      <a:pos x="T10" y="T11"/>
                    </a:cxn>
                  </a:cxnLst>
                  <a:rect l="0" t="0" r="r" b="b"/>
                  <a:pathLst>
                    <a:path w="100" h="30">
                      <a:moveTo>
                        <a:pt x="0" y="25"/>
                      </a:moveTo>
                      <a:cubicBezTo>
                        <a:pt x="0" y="25"/>
                        <a:pt x="46" y="14"/>
                        <a:pt x="65" y="14"/>
                      </a:cubicBezTo>
                      <a:cubicBezTo>
                        <a:pt x="83" y="15"/>
                        <a:pt x="100" y="30"/>
                        <a:pt x="100" y="30"/>
                      </a:cubicBezTo>
                      <a:cubicBezTo>
                        <a:pt x="100" y="30"/>
                        <a:pt x="89" y="8"/>
                        <a:pt x="66" y="4"/>
                      </a:cubicBezTo>
                      <a:cubicBezTo>
                        <a:pt x="43" y="0"/>
                        <a:pt x="0" y="11"/>
                        <a:pt x="0" y="11"/>
                      </a:cubicBezTo>
                      <a:cubicBezTo>
                        <a:pt x="0" y="25"/>
                        <a:pt x="0" y="25"/>
                        <a:pt x="0" y="25"/>
                      </a:cubicBezTo>
                    </a:path>
                  </a:pathLst>
                </a:custGeom>
                <a:solidFill>
                  <a:srgbClr val="3D0F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35" name="Freeform 254">
                  <a:extLst>
                    <a:ext uri="{FF2B5EF4-FFF2-40B4-BE49-F238E27FC236}">
                      <a16:creationId xmlns:a16="http://schemas.microsoft.com/office/drawing/2014/main" id="{1E46F076-3654-A4CC-2FFC-95BA4AB2DF18}"/>
                    </a:ext>
                  </a:extLst>
                </p:cNvPr>
                <p:cNvSpPr/>
                <p:nvPr/>
              </p:nvSpPr>
              <p:spPr bwMode="auto">
                <a:xfrm>
                  <a:off x="3669" y="1166"/>
                  <a:ext cx="46" cy="60"/>
                </a:xfrm>
                <a:custGeom>
                  <a:gdLst>
                    <a:gd name="T0" fmla="*/ 20 w 25"/>
                    <a:gd name="T1" fmla="*/ 0 h 33"/>
                    <a:gd name="T2" fmla="*/ 0 w 25"/>
                    <a:gd name="T3" fmla="*/ 16 h 33"/>
                    <a:gd name="T4" fmla="*/ 25 w 25"/>
                    <a:gd name="T5" fmla="*/ 33 h 33"/>
                    <a:gd name="T6" fmla="*/ 20 w 25"/>
                    <a:gd name="T7" fmla="*/ 0 h 33"/>
                  </a:gdLst>
                  <a:cxnLst>
                    <a:cxn ang="0">
                      <a:pos x="T0" y="T1"/>
                    </a:cxn>
                    <a:cxn ang="0">
                      <a:pos x="T2" y="T3"/>
                    </a:cxn>
                    <a:cxn ang="0">
                      <a:pos x="T4" y="T5"/>
                    </a:cxn>
                    <a:cxn ang="0">
                      <a:pos x="T6" y="T7"/>
                    </a:cxn>
                  </a:cxnLst>
                  <a:rect l="0" t="0" r="r" b="b"/>
                  <a:pathLst>
                    <a:path w="25" h="33">
                      <a:moveTo>
                        <a:pt x="20" y="0"/>
                      </a:moveTo>
                      <a:cubicBezTo>
                        <a:pt x="8" y="3"/>
                        <a:pt x="0" y="9"/>
                        <a:pt x="0" y="16"/>
                      </a:cubicBezTo>
                      <a:cubicBezTo>
                        <a:pt x="0" y="24"/>
                        <a:pt x="10" y="31"/>
                        <a:pt x="25" y="33"/>
                      </a:cubicBezTo>
                      <a:cubicBezTo>
                        <a:pt x="22" y="22"/>
                        <a:pt x="21" y="11"/>
                        <a:pt x="20" y="0"/>
                      </a:cubicBezTo>
                    </a:path>
                  </a:pathLst>
                </a:custGeom>
                <a:solidFill>
                  <a:srgbClr val="CB5E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36" name="Freeform 255">
                  <a:extLst>
                    <a:ext uri="{FF2B5EF4-FFF2-40B4-BE49-F238E27FC236}">
                      <a16:creationId xmlns:a16="http://schemas.microsoft.com/office/drawing/2014/main" id="{243130A9-A141-5ABD-170F-47543BD47DBF}"/>
                    </a:ext>
                  </a:extLst>
                </p:cNvPr>
                <p:cNvSpPr/>
                <p:nvPr/>
              </p:nvSpPr>
              <p:spPr bwMode="auto">
                <a:xfrm>
                  <a:off x="4012" y="1367"/>
                  <a:ext cx="99" cy="93"/>
                </a:xfrm>
                <a:custGeom>
                  <a:gdLst>
                    <a:gd name="T0" fmla="*/ 54 w 54"/>
                    <a:gd name="T1" fmla="*/ 0 h 51"/>
                    <a:gd name="T2" fmla="*/ 0 w 54"/>
                    <a:gd name="T3" fmla="*/ 51 h 51"/>
                    <a:gd name="T4" fmla="*/ 0 w 54"/>
                    <a:gd name="T5" fmla="*/ 51 h 51"/>
                    <a:gd name="T6" fmla="*/ 54 w 54"/>
                    <a:gd name="T7" fmla="*/ 0 h 51"/>
                  </a:gdLst>
                  <a:cxnLst>
                    <a:cxn ang="0">
                      <a:pos x="T0" y="T1"/>
                    </a:cxn>
                    <a:cxn ang="0">
                      <a:pos x="T2" y="T3"/>
                    </a:cxn>
                    <a:cxn ang="0">
                      <a:pos x="T4" y="T5"/>
                    </a:cxn>
                    <a:cxn ang="0">
                      <a:pos x="T6" y="T7"/>
                    </a:cxn>
                  </a:cxnLst>
                  <a:rect l="0" t="0" r="r" b="b"/>
                  <a:pathLst>
                    <a:path w="54" h="51">
                      <a:moveTo>
                        <a:pt x="54" y="0"/>
                      </a:moveTo>
                      <a:cubicBezTo>
                        <a:pt x="42" y="15"/>
                        <a:pt x="25" y="28"/>
                        <a:pt x="0" y="51"/>
                      </a:cubicBezTo>
                      <a:cubicBezTo>
                        <a:pt x="0" y="51"/>
                        <a:pt x="0" y="51"/>
                        <a:pt x="0" y="51"/>
                      </a:cubicBezTo>
                      <a:cubicBezTo>
                        <a:pt x="25" y="28"/>
                        <a:pt x="42" y="15"/>
                        <a:pt x="54" y="0"/>
                      </a:cubicBezTo>
                    </a:path>
                  </a:pathLst>
                </a:custGeom>
                <a:solidFill>
                  <a:srgbClr val="FBFB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37" name="Freeform 256">
                  <a:extLst>
                    <a:ext uri="{FF2B5EF4-FFF2-40B4-BE49-F238E27FC236}">
                      <a16:creationId xmlns:a16="http://schemas.microsoft.com/office/drawing/2014/main" id="{DA1BD12F-6FEA-4D14-3203-D407FEC745E1}"/>
                    </a:ext>
                  </a:extLst>
                </p:cNvPr>
                <p:cNvSpPr/>
                <p:nvPr/>
              </p:nvSpPr>
              <p:spPr bwMode="auto">
                <a:xfrm>
                  <a:off x="4000" y="1460"/>
                  <a:ext cx="12" cy="13"/>
                </a:xfrm>
                <a:custGeom>
                  <a:gdLst>
                    <a:gd name="T0" fmla="*/ 7 w 7"/>
                    <a:gd name="T1" fmla="*/ 0 h 7"/>
                    <a:gd name="T2" fmla="*/ 0 w 7"/>
                    <a:gd name="T3" fmla="*/ 7 h 7"/>
                    <a:gd name="T4" fmla="*/ 0 w 7"/>
                    <a:gd name="T5" fmla="*/ 7 h 7"/>
                    <a:gd name="T6" fmla="*/ 7 w 7"/>
                    <a:gd name="T7" fmla="*/ 0 h 7"/>
                    <a:gd name="T8" fmla="*/ 7 w 7"/>
                    <a:gd name="T9" fmla="*/ 0 h 7"/>
                  </a:gdLst>
                  <a:cxnLst>
                    <a:cxn ang="0">
                      <a:pos x="T0" y="T1"/>
                    </a:cxn>
                    <a:cxn ang="0">
                      <a:pos x="T2" y="T3"/>
                    </a:cxn>
                    <a:cxn ang="0">
                      <a:pos x="T4" y="T5"/>
                    </a:cxn>
                    <a:cxn ang="0">
                      <a:pos x="T6" y="T7"/>
                    </a:cxn>
                    <a:cxn ang="0">
                      <a:pos x="T8" y="T9"/>
                    </a:cxn>
                  </a:cxnLst>
                  <a:rect l="0" t="0" r="r" b="b"/>
                  <a:pathLst>
                    <a:path w="7" h="7">
                      <a:moveTo>
                        <a:pt x="7" y="0"/>
                      </a:moveTo>
                      <a:cubicBezTo>
                        <a:pt x="5" y="3"/>
                        <a:pt x="2" y="5"/>
                        <a:pt x="0" y="7"/>
                      </a:cubicBezTo>
                      <a:cubicBezTo>
                        <a:pt x="0" y="7"/>
                        <a:pt x="0" y="7"/>
                        <a:pt x="0" y="7"/>
                      </a:cubicBezTo>
                      <a:cubicBezTo>
                        <a:pt x="2" y="5"/>
                        <a:pt x="5" y="3"/>
                        <a:pt x="7" y="0"/>
                      </a:cubicBezTo>
                      <a:cubicBezTo>
                        <a:pt x="7" y="0"/>
                        <a:pt x="7" y="0"/>
                        <a:pt x="7" y="0"/>
                      </a:cubicBezTo>
                    </a:path>
                  </a:pathLst>
                </a:custGeom>
                <a:solidFill>
                  <a:srgbClr val="FCA6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38" name="Freeform 257">
                  <a:extLst>
                    <a:ext uri="{FF2B5EF4-FFF2-40B4-BE49-F238E27FC236}">
                      <a16:creationId xmlns:a16="http://schemas.microsoft.com/office/drawing/2014/main" id="{760EEF2D-2ADF-7503-FB64-B83EA3F6481A}"/>
                    </a:ext>
                  </a:extLst>
                </p:cNvPr>
                <p:cNvSpPr>
                  <a:spLocks noEditPoints="1"/>
                </p:cNvSpPr>
                <p:nvPr/>
              </p:nvSpPr>
              <p:spPr bwMode="auto">
                <a:xfrm>
                  <a:off x="4051" y="759"/>
                  <a:ext cx="122" cy="354"/>
                </a:xfrm>
                <a:custGeom>
                  <a:gdLst>
                    <a:gd name="T0" fmla="*/ 65 w 67"/>
                    <a:gd name="T1" fmla="*/ 194 h 194"/>
                    <a:gd name="T2" fmla="*/ 67 w 67"/>
                    <a:gd name="T3" fmla="*/ 172 h 194"/>
                    <a:gd name="T4" fmla="*/ 67 w 67"/>
                    <a:gd name="T5" fmla="*/ 171 h 194"/>
                    <a:gd name="T6" fmla="*/ 67 w 67"/>
                    <a:gd name="T7" fmla="*/ 171 h 194"/>
                    <a:gd name="T8" fmla="*/ 67 w 67"/>
                    <a:gd name="T9" fmla="*/ 171 h 194"/>
                    <a:gd name="T10" fmla="*/ 67 w 67"/>
                    <a:gd name="T11" fmla="*/ 170 h 194"/>
                    <a:gd name="T12" fmla="*/ 67 w 67"/>
                    <a:gd name="T13" fmla="*/ 170 h 194"/>
                    <a:gd name="T14" fmla="*/ 67 w 67"/>
                    <a:gd name="T15" fmla="*/ 169 h 194"/>
                    <a:gd name="T16" fmla="*/ 67 w 67"/>
                    <a:gd name="T17" fmla="*/ 169 h 194"/>
                    <a:gd name="T18" fmla="*/ 67 w 67"/>
                    <a:gd name="T19" fmla="*/ 168 h 194"/>
                    <a:gd name="T20" fmla="*/ 67 w 67"/>
                    <a:gd name="T21" fmla="*/ 167 h 194"/>
                    <a:gd name="T22" fmla="*/ 67 w 67"/>
                    <a:gd name="T23" fmla="*/ 129 h 194"/>
                    <a:gd name="T24" fmla="*/ 67 w 67"/>
                    <a:gd name="T25" fmla="*/ 129 h 194"/>
                    <a:gd name="T26" fmla="*/ 67 w 67"/>
                    <a:gd name="T27" fmla="*/ 128 h 194"/>
                    <a:gd name="T28" fmla="*/ 67 w 67"/>
                    <a:gd name="T29" fmla="*/ 128 h 194"/>
                    <a:gd name="T30" fmla="*/ 67 w 67"/>
                    <a:gd name="T31" fmla="*/ 127 h 194"/>
                    <a:gd name="T32" fmla="*/ 67 w 67"/>
                    <a:gd name="T33" fmla="*/ 127 h 194"/>
                    <a:gd name="T34" fmla="*/ 67 w 67"/>
                    <a:gd name="T35" fmla="*/ 126 h 194"/>
                    <a:gd name="T36" fmla="*/ 67 w 67"/>
                    <a:gd name="T37" fmla="*/ 125 h 194"/>
                    <a:gd name="T38" fmla="*/ 67 w 67"/>
                    <a:gd name="T39" fmla="*/ 125 h 194"/>
                    <a:gd name="T40" fmla="*/ 67 w 67"/>
                    <a:gd name="T41" fmla="*/ 125 h 194"/>
                    <a:gd name="T42" fmla="*/ 67 w 67"/>
                    <a:gd name="T43" fmla="*/ 124 h 194"/>
                    <a:gd name="T44" fmla="*/ 67 w 67"/>
                    <a:gd name="T45" fmla="*/ 124 h 194"/>
                    <a:gd name="T46" fmla="*/ 66 w 67"/>
                    <a:gd name="T47" fmla="*/ 124 h 194"/>
                    <a:gd name="T48" fmla="*/ 66 w 67"/>
                    <a:gd name="T49" fmla="*/ 123 h 194"/>
                    <a:gd name="T50" fmla="*/ 66 w 67"/>
                    <a:gd name="T51" fmla="*/ 123 h 194"/>
                    <a:gd name="T52" fmla="*/ 66 w 67"/>
                    <a:gd name="T53" fmla="*/ 122 h 194"/>
                    <a:gd name="T54" fmla="*/ 66 w 67"/>
                    <a:gd name="T55" fmla="*/ 122 h 194"/>
                    <a:gd name="T56" fmla="*/ 66 w 67"/>
                    <a:gd name="T57" fmla="*/ 122 h 194"/>
                    <a:gd name="T58" fmla="*/ 66 w 67"/>
                    <a:gd name="T59" fmla="*/ 121 h 194"/>
                    <a:gd name="T60" fmla="*/ 66 w 67"/>
                    <a:gd name="T61" fmla="*/ 121 h 194"/>
                    <a:gd name="T62" fmla="*/ 66 w 67"/>
                    <a:gd name="T63" fmla="*/ 121 h 194"/>
                    <a:gd name="T64" fmla="*/ 66 w 67"/>
                    <a:gd name="T65" fmla="*/ 120 h 194"/>
                    <a:gd name="T66" fmla="*/ 66 w 67"/>
                    <a:gd name="T67" fmla="*/ 120 h 194"/>
                    <a:gd name="T68" fmla="*/ 66 w 67"/>
                    <a:gd name="T69" fmla="*/ 120 h 194"/>
                    <a:gd name="T70" fmla="*/ 66 w 67"/>
                    <a:gd name="T71" fmla="*/ 119 h 194"/>
                    <a:gd name="T72" fmla="*/ 66 w 67"/>
                    <a:gd name="T73" fmla="*/ 119 h 194"/>
                    <a:gd name="T74" fmla="*/ 66 w 67"/>
                    <a:gd name="T75" fmla="*/ 118 h 194"/>
                    <a:gd name="T76" fmla="*/ 66 w 67"/>
                    <a:gd name="T77" fmla="*/ 117 h 194"/>
                    <a:gd name="T78" fmla="*/ 66 w 67"/>
                    <a:gd name="T79" fmla="*/ 117 h 194"/>
                    <a:gd name="T80" fmla="*/ 66 w 67"/>
                    <a:gd name="T81" fmla="*/ 117 h 194"/>
                    <a:gd name="T82" fmla="*/ 66 w 67"/>
                    <a:gd name="T83" fmla="*/ 117 h 194"/>
                    <a:gd name="T84" fmla="*/ 66 w 67"/>
                    <a:gd name="T85" fmla="*/ 116 h 194"/>
                    <a:gd name="T86" fmla="*/ 66 w 67"/>
                    <a:gd name="T87" fmla="*/ 115 h 194"/>
                    <a:gd name="T88" fmla="*/ 1 w 67"/>
                    <a:gd name="T89" fmla="*/ 1 h 194"/>
                    <a:gd name="T90" fmla="*/ 1 w 67"/>
                    <a:gd name="T91" fmla="*/ 1 h 194"/>
                    <a:gd name="T92" fmla="*/ 1 w 67"/>
                    <a:gd name="T93" fmla="*/ 1 h 194"/>
                    <a:gd name="T94" fmla="*/ 1 w 67"/>
                    <a:gd name="T95" fmla="*/ 0 h 194"/>
                    <a:gd name="T96" fmla="*/ 0 w 67"/>
                    <a:gd name="T97" fmla="*/ 0 h 194"/>
                    <a:gd name="T98" fmla="*/ 0 w 67"/>
                    <a:gd name="T99" fmla="*/ 0 h 19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7" h="194">
                      <a:moveTo>
                        <a:pt x="67" y="172"/>
                      </a:moveTo>
                      <a:cubicBezTo>
                        <a:pt x="66" y="180"/>
                        <a:pt x="66" y="187"/>
                        <a:pt x="65" y="194"/>
                      </a:cubicBezTo>
                      <a:cubicBezTo>
                        <a:pt x="65" y="194"/>
                        <a:pt x="65" y="194"/>
                        <a:pt x="65" y="194"/>
                      </a:cubicBezTo>
                      <a:cubicBezTo>
                        <a:pt x="66" y="187"/>
                        <a:pt x="66" y="180"/>
                        <a:pt x="67" y="172"/>
                      </a:cubicBezTo>
                      <a:moveTo>
                        <a:pt x="67" y="172"/>
                      </a:moveTo>
                      <a:cubicBezTo>
                        <a:pt x="67" y="172"/>
                        <a:pt x="67" y="172"/>
                        <a:pt x="67" y="172"/>
                      </a:cubicBezTo>
                      <a:cubicBezTo>
                        <a:pt x="67" y="172"/>
                        <a:pt x="67" y="172"/>
                        <a:pt x="67" y="172"/>
                      </a:cubicBezTo>
                      <a:moveTo>
                        <a:pt x="67" y="171"/>
                      </a:moveTo>
                      <a:cubicBezTo>
                        <a:pt x="67" y="171"/>
                        <a:pt x="67" y="171"/>
                        <a:pt x="67" y="171"/>
                      </a:cubicBezTo>
                      <a:cubicBezTo>
                        <a:pt x="67" y="171"/>
                        <a:pt x="67" y="171"/>
                        <a:pt x="67" y="171"/>
                      </a:cubicBezTo>
                      <a:moveTo>
                        <a:pt x="67" y="171"/>
                      </a:moveTo>
                      <a:cubicBezTo>
                        <a:pt x="67" y="171"/>
                        <a:pt x="67" y="171"/>
                        <a:pt x="67" y="171"/>
                      </a:cubicBezTo>
                      <a:cubicBezTo>
                        <a:pt x="67" y="171"/>
                        <a:pt x="67" y="171"/>
                        <a:pt x="67" y="171"/>
                      </a:cubicBezTo>
                      <a:moveTo>
                        <a:pt x="67" y="171"/>
                      </a:moveTo>
                      <a:cubicBezTo>
                        <a:pt x="67" y="171"/>
                        <a:pt x="67" y="171"/>
                        <a:pt x="67" y="171"/>
                      </a:cubicBezTo>
                      <a:cubicBezTo>
                        <a:pt x="67" y="171"/>
                        <a:pt x="67" y="171"/>
                        <a:pt x="67" y="171"/>
                      </a:cubicBezTo>
                      <a:moveTo>
                        <a:pt x="67" y="170"/>
                      </a:moveTo>
                      <a:cubicBezTo>
                        <a:pt x="67" y="170"/>
                        <a:pt x="67" y="170"/>
                        <a:pt x="67" y="170"/>
                      </a:cubicBezTo>
                      <a:cubicBezTo>
                        <a:pt x="67" y="170"/>
                        <a:pt x="67" y="170"/>
                        <a:pt x="67" y="170"/>
                      </a:cubicBezTo>
                      <a:moveTo>
                        <a:pt x="67" y="170"/>
                      </a:moveTo>
                      <a:cubicBezTo>
                        <a:pt x="67" y="170"/>
                        <a:pt x="67" y="170"/>
                        <a:pt x="67" y="170"/>
                      </a:cubicBezTo>
                      <a:cubicBezTo>
                        <a:pt x="67" y="170"/>
                        <a:pt x="67" y="170"/>
                        <a:pt x="67" y="170"/>
                      </a:cubicBezTo>
                      <a:moveTo>
                        <a:pt x="67" y="169"/>
                      </a:moveTo>
                      <a:cubicBezTo>
                        <a:pt x="67" y="169"/>
                        <a:pt x="67" y="169"/>
                        <a:pt x="67" y="169"/>
                      </a:cubicBezTo>
                      <a:cubicBezTo>
                        <a:pt x="67" y="169"/>
                        <a:pt x="67" y="169"/>
                        <a:pt x="67" y="169"/>
                      </a:cubicBezTo>
                      <a:moveTo>
                        <a:pt x="67" y="169"/>
                      </a:moveTo>
                      <a:cubicBezTo>
                        <a:pt x="67" y="169"/>
                        <a:pt x="67" y="169"/>
                        <a:pt x="67" y="169"/>
                      </a:cubicBezTo>
                      <a:cubicBezTo>
                        <a:pt x="67" y="169"/>
                        <a:pt x="67" y="169"/>
                        <a:pt x="67" y="169"/>
                      </a:cubicBezTo>
                      <a:moveTo>
                        <a:pt x="67" y="168"/>
                      </a:moveTo>
                      <a:cubicBezTo>
                        <a:pt x="67" y="168"/>
                        <a:pt x="67" y="168"/>
                        <a:pt x="67" y="168"/>
                      </a:cubicBezTo>
                      <a:cubicBezTo>
                        <a:pt x="67" y="168"/>
                        <a:pt x="67" y="168"/>
                        <a:pt x="67" y="168"/>
                      </a:cubicBezTo>
                      <a:moveTo>
                        <a:pt x="67" y="167"/>
                      </a:moveTo>
                      <a:cubicBezTo>
                        <a:pt x="67" y="167"/>
                        <a:pt x="67" y="167"/>
                        <a:pt x="67" y="167"/>
                      </a:cubicBezTo>
                      <a:cubicBezTo>
                        <a:pt x="67" y="167"/>
                        <a:pt x="67" y="167"/>
                        <a:pt x="67" y="167"/>
                      </a:cubicBezTo>
                      <a:moveTo>
                        <a:pt x="67" y="129"/>
                      </a:moveTo>
                      <a:cubicBezTo>
                        <a:pt x="67" y="129"/>
                        <a:pt x="67" y="129"/>
                        <a:pt x="67" y="129"/>
                      </a:cubicBezTo>
                      <a:cubicBezTo>
                        <a:pt x="67" y="129"/>
                        <a:pt x="67" y="129"/>
                        <a:pt x="67" y="129"/>
                      </a:cubicBezTo>
                      <a:moveTo>
                        <a:pt x="67" y="129"/>
                      </a:moveTo>
                      <a:cubicBezTo>
                        <a:pt x="67" y="129"/>
                        <a:pt x="67" y="129"/>
                        <a:pt x="67" y="129"/>
                      </a:cubicBezTo>
                      <a:cubicBezTo>
                        <a:pt x="67" y="129"/>
                        <a:pt x="67" y="129"/>
                        <a:pt x="67" y="129"/>
                      </a:cubicBezTo>
                      <a:moveTo>
                        <a:pt x="67" y="128"/>
                      </a:moveTo>
                      <a:cubicBezTo>
                        <a:pt x="67" y="128"/>
                        <a:pt x="67" y="128"/>
                        <a:pt x="67" y="128"/>
                      </a:cubicBezTo>
                      <a:cubicBezTo>
                        <a:pt x="67" y="128"/>
                        <a:pt x="67" y="128"/>
                        <a:pt x="67" y="128"/>
                      </a:cubicBezTo>
                      <a:moveTo>
                        <a:pt x="67" y="128"/>
                      </a:moveTo>
                      <a:cubicBezTo>
                        <a:pt x="67" y="128"/>
                        <a:pt x="67" y="128"/>
                        <a:pt x="67" y="128"/>
                      </a:cubicBezTo>
                      <a:cubicBezTo>
                        <a:pt x="67" y="128"/>
                        <a:pt x="67" y="128"/>
                        <a:pt x="67" y="128"/>
                      </a:cubicBezTo>
                      <a:moveTo>
                        <a:pt x="67" y="127"/>
                      </a:moveTo>
                      <a:cubicBezTo>
                        <a:pt x="67" y="127"/>
                        <a:pt x="67" y="127"/>
                        <a:pt x="67" y="127"/>
                      </a:cubicBezTo>
                      <a:cubicBezTo>
                        <a:pt x="67" y="127"/>
                        <a:pt x="67" y="127"/>
                        <a:pt x="67" y="127"/>
                      </a:cubicBezTo>
                      <a:moveTo>
                        <a:pt x="67" y="127"/>
                      </a:moveTo>
                      <a:cubicBezTo>
                        <a:pt x="67" y="127"/>
                        <a:pt x="67" y="127"/>
                        <a:pt x="67" y="127"/>
                      </a:cubicBezTo>
                      <a:cubicBezTo>
                        <a:pt x="67" y="127"/>
                        <a:pt x="67" y="127"/>
                        <a:pt x="67" y="127"/>
                      </a:cubicBezTo>
                      <a:moveTo>
                        <a:pt x="67" y="126"/>
                      </a:moveTo>
                      <a:cubicBezTo>
                        <a:pt x="67" y="126"/>
                        <a:pt x="67" y="126"/>
                        <a:pt x="67" y="126"/>
                      </a:cubicBezTo>
                      <a:cubicBezTo>
                        <a:pt x="67" y="126"/>
                        <a:pt x="67" y="126"/>
                        <a:pt x="67" y="126"/>
                      </a:cubicBezTo>
                      <a:moveTo>
                        <a:pt x="67" y="125"/>
                      </a:moveTo>
                      <a:cubicBezTo>
                        <a:pt x="67" y="125"/>
                        <a:pt x="67" y="125"/>
                        <a:pt x="67" y="125"/>
                      </a:cubicBezTo>
                      <a:cubicBezTo>
                        <a:pt x="67" y="125"/>
                        <a:pt x="67" y="125"/>
                        <a:pt x="67" y="125"/>
                      </a:cubicBezTo>
                      <a:moveTo>
                        <a:pt x="67" y="125"/>
                      </a:moveTo>
                      <a:cubicBezTo>
                        <a:pt x="67" y="125"/>
                        <a:pt x="67" y="125"/>
                        <a:pt x="67" y="125"/>
                      </a:cubicBezTo>
                      <a:cubicBezTo>
                        <a:pt x="67" y="125"/>
                        <a:pt x="67" y="125"/>
                        <a:pt x="67" y="125"/>
                      </a:cubicBezTo>
                      <a:moveTo>
                        <a:pt x="67" y="125"/>
                      </a:moveTo>
                      <a:cubicBezTo>
                        <a:pt x="67" y="125"/>
                        <a:pt x="67" y="125"/>
                        <a:pt x="67" y="125"/>
                      </a:cubicBezTo>
                      <a:cubicBezTo>
                        <a:pt x="67" y="125"/>
                        <a:pt x="67" y="125"/>
                        <a:pt x="67" y="125"/>
                      </a:cubicBezTo>
                      <a:moveTo>
                        <a:pt x="67" y="124"/>
                      </a:moveTo>
                      <a:cubicBezTo>
                        <a:pt x="67" y="124"/>
                        <a:pt x="67" y="124"/>
                        <a:pt x="67" y="124"/>
                      </a:cubicBezTo>
                      <a:cubicBezTo>
                        <a:pt x="67" y="124"/>
                        <a:pt x="67" y="124"/>
                        <a:pt x="67" y="124"/>
                      </a:cubicBezTo>
                      <a:moveTo>
                        <a:pt x="67" y="124"/>
                      </a:moveTo>
                      <a:cubicBezTo>
                        <a:pt x="67" y="124"/>
                        <a:pt x="67" y="124"/>
                        <a:pt x="67" y="124"/>
                      </a:cubicBezTo>
                      <a:cubicBezTo>
                        <a:pt x="67" y="124"/>
                        <a:pt x="67" y="124"/>
                        <a:pt x="67" y="124"/>
                      </a:cubicBezTo>
                      <a:moveTo>
                        <a:pt x="66" y="123"/>
                      </a:moveTo>
                      <a:cubicBezTo>
                        <a:pt x="66" y="123"/>
                        <a:pt x="66" y="124"/>
                        <a:pt x="66" y="124"/>
                      </a:cubicBezTo>
                      <a:cubicBezTo>
                        <a:pt x="66" y="124"/>
                        <a:pt x="66" y="123"/>
                        <a:pt x="66" y="123"/>
                      </a:cubicBezTo>
                      <a:moveTo>
                        <a:pt x="66" y="123"/>
                      </a:moveTo>
                      <a:cubicBezTo>
                        <a:pt x="66" y="123"/>
                        <a:pt x="66" y="123"/>
                        <a:pt x="66" y="123"/>
                      </a:cubicBezTo>
                      <a:cubicBezTo>
                        <a:pt x="66" y="123"/>
                        <a:pt x="66" y="123"/>
                        <a:pt x="66" y="123"/>
                      </a:cubicBezTo>
                      <a:moveTo>
                        <a:pt x="66" y="123"/>
                      </a:moveTo>
                      <a:cubicBezTo>
                        <a:pt x="66" y="123"/>
                        <a:pt x="66" y="123"/>
                        <a:pt x="66" y="123"/>
                      </a:cubicBezTo>
                      <a:cubicBezTo>
                        <a:pt x="66" y="123"/>
                        <a:pt x="66" y="123"/>
                        <a:pt x="66" y="123"/>
                      </a:cubicBezTo>
                      <a:moveTo>
                        <a:pt x="66" y="122"/>
                      </a:moveTo>
                      <a:cubicBezTo>
                        <a:pt x="66" y="122"/>
                        <a:pt x="66" y="122"/>
                        <a:pt x="66" y="122"/>
                      </a:cubicBezTo>
                      <a:cubicBezTo>
                        <a:pt x="66" y="122"/>
                        <a:pt x="66" y="122"/>
                        <a:pt x="66" y="122"/>
                      </a:cubicBezTo>
                      <a:moveTo>
                        <a:pt x="66" y="122"/>
                      </a:moveTo>
                      <a:cubicBezTo>
                        <a:pt x="66" y="122"/>
                        <a:pt x="66" y="122"/>
                        <a:pt x="66" y="122"/>
                      </a:cubicBezTo>
                      <a:cubicBezTo>
                        <a:pt x="66" y="122"/>
                        <a:pt x="66" y="122"/>
                        <a:pt x="66" y="122"/>
                      </a:cubicBezTo>
                      <a:moveTo>
                        <a:pt x="66" y="122"/>
                      </a:moveTo>
                      <a:cubicBezTo>
                        <a:pt x="66" y="122"/>
                        <a:pt x="66" y="122"/>
                        <a:pt x="66" y="122"/>
                      </a:cubicBezTo>
                      <a:cubicBezTo>
                        <a:pt x="66" y="122"/>
                        <a:pt x="66" y="122"/>
                        <a:pt x="66" y="122"/>
                      </a:cubicBezTo>
                      <a:moveTo>
                        <a:pt x="66" y="121"/>
                      </a:moveTo>
                      <a:cubicBezTo>
                        <a:pt x="66" y="121"/>
                        <a:pt x="66" y="121"/>
                        <a:pt x="66" y="121"/>
                      </a:cubicBezTo>
                      <a:cubicBezTo>
                        <a:pt x="66" y="121"/>
                        <a:pt x="66" y="121"/>
                        <a:pt x="66" y="121"/>
                      </a:cubicBezTo>
                      <a:moveTo>
                        <a:pt x="66" y="121"/>
                      </a:moveTo>
                      <a:cubicBezTo>
                        <a:pt x="66" y="121"/>
                        <a:pt x="66" y="121"/>
                        <a:pt x="66" y="121"/>
                      </a:cubicBezTo>
                      <a:cubicBezTo>
                        <a:pt x="66" y="121"/>
                        <a:pt x="66" y="121"/>
                        <a:pt x="66" y="121"/>
                      </a:cubicBezTo>
                      <a:moveTo>
                        <a:pt x="66" y="121"/>
                      </a:moveTo>
                      <a:cubicBezTo>
                        <a:pt x="66" y="121"/>
                        <a:pt x="66" y="121"/>
                        <a:pt x="66" y="121"/>
                      </a:cubicBezTo>
                      <a:cubicBezTo>
                        <a:pt x="66" y="121"/>
                        <a:pt x="66" y="121"/>
                        <a:pt x="66" y="121"/>
                      </a:cubicBezTo>
                      <a:moveTo>
                        <a:pt x="66" y="120"/>
                      </a:moveTo>
                      <a:cubicBezTo>
                        <a:pt x="66" y="120"/>
                        <a:pt x="66" y="120"/>
                        <a:pt x="66" y="120"/>
                      </a:cubicBezTo>
                      <a:cubicBezTo>
                        <a:pt x="66" y="120"/>
                        <a:pt x="66" y="120"/>
                        <a:pt x="66" y="120"/>
                      </a:cubicBezTo>
                      <a:moveTo>
                        <a:pt x="66" y="120"/>
                      </a:moveTo>
                      <a:cubicBezTo>
                        <a:pt x="66" y="120"/>
                        <a:pt x="66" y="120"/>
                        <a:pt x="66" y="120"/>
                      </a:cubicBezTo>
                      <a:cubicBezTo>
                        <a:pt x="66" y="120"/>
                        <a:pt x="66" y="120"/>
                        <a:pt x="66" y="120"/>
                      </a:cubicBezTo>
                      <a:moveTo>
                        <a:pt x="66" y="119"/>
                      </a:moveTo>
                      <a:cubicBezTo>
                        <a:pt x="66" y="120"/>
                        <a:pt x="66" y="120"/>
                        <a:pt x="66" y="120"/>
                      </a:cubicBezTo>
                      <a:cubicBezTo>
                        <a:pt x="66" y="120"/>
                        <a:pt x="66" y="119"/>
                        <a:pt x="66" y="119"/>
                      </a:cubicBezTo>
                      <a:moveTo>
                        <a:pt x="66" y="119"/>
                      </a:moveTo>
                      <a:cubicBezTo>
                        <a:pt x="66" y="119"/>
                        <a:pt x="66" y="119"/>
                        <a:pt x="66" y="119"/>
                      </a:cubicBezTo>
                      <a:cubicBezTo>
                        <a:pt x="66" y="119"/>
                        <a:pt x="66" y="119"/>
                        <a:pt x="66" y="119"/>
                      </a:cubicBezTo>
                      <a:moveTo>
                        <a:pt x="66" y="118"/>
                      </a:moveTo>
                      <a:cubicBezTo>
                        <a:pt x="66" y="118"/>
                        <a:pt x="66" y="118"/>
                        <a:pt x="66" y="119"/>
                      </a:cubicBezTo>
                      <a:cubicBezTo>
                        <a:pt x="66" y="118"/>
                        <a:pt x="66" y="118"/>
                        <a:pt x="66" y="118"/>
                      </a:cubicBezTo>
                      <a:moveTo>
                        <a:pt x="66" y="117"/>
                      </a:moveTo>
                      <a:cubicBezTo>
                        <a:pt x="66" y="118"/>
                        <a:pt x="66" y="118"/>
                        <a:pt x="66" y="118"/>
                      </a:cubicBezTo>
                      <a:cubicBezTo>
                        <a:pt x="66" y="118"/>
                        <a:pt x="66" y="118"/>
                        <a:pt x="66" y="117"/>
                      </a:cubicBezTo>
                      <a:moveTo>
                        <a:pt x="66" y="117"/>
                      </a:moveTo>
                      <a:cubicBezTo>
                        <a:pt x="66" y="117"/>
                        <a:pt x="66" y="117"/>
                        <a:pt x="66" y="117"/>
                      </a:cubicBezTo>
                      <a:cubicBezTo>
                        <a:pt x="66" y="117"/>
                        <a:pt x="66" y="117"/>
                        <a:pt x="66" y="117"/>
                      </a:cubicBezTo>
                      <a:moveTo>
                        <a:pt x="66" y="117"/>
                      </a:moveTo>
                      <a:cubicBezTo>
                        <a:pt x="66" y="117"/>
                        <a:pt x="66" y="117"/>
                        <a:pt x="66" y="117"/>
                      </a:cubicBezTo>
                      <a:cubicBezTo>
                        <a:pt x="66" y="117"/>
                        <a:pt x="66" y="117"/>
                        <a:pt x="66" y="117"/>
                      </a:cubicBezTo>
                      <a:moveTo>
                        <a:pt x="66" y="117"/>
                      </a:moveTo>
                      <a:cubicBezTo>
                        <a:pt x="66" y="117"/>
                        <a:pt x="66" y="117"/>
                        <a:pt x="66" y="117"/>
                      </a:cubicBezTo>
                      <a:cubicBezTo>
                        <a:pt x="66" y="117"/>
                        <a:pt x="66" y="117"/>
                        <a:pt x="66" y="117"/>
                      </a:cubicBezTo>
                      <a:moveTo>
                        <a:pt x="66" y="116"/>
                      </a:moveTo>
                      <a:cubicBezTo>
                        <a:pt x="66" y="116"/>
                        <a:pt x="66" y="116"/>
                        <a:pt x="66" y="117"/>
                      </a:cubicBezTo>
                      <a:cubicBezTo>
                        <a:pt x="66" y="116"/>
                        <a:pt x="66" y="116"/>
                        <a:pt x="66" y="116"/>
                      </a:cubicBezTo>
                      <a:moveTo>
                        <a:pt x="66" y="115"/>
                      </a:moveTo>
                      <a:cubicBezTo>
                        <a:pt x="66" y="115"/>
                        <a:pt x="66" y="116"/>
                        <a:pt x="66" y="116"/>
                      </a:cubicBezTo>
                      <a:cubicBezTo>
                        <a:pt x="66" y="116"/>
                        <a:pt x="66" y="115"/>
                        <a:pt x="66" y="115"/>
                      </a:cubicBezTo>
                      <a:moveTo>
                        <a:pt x="1" y="1"/>
                      </a:moveTo>
                      <a:cubicBezTo>
                        <a:pt x="30" y="20"/>
                        <a:pt x="58" y="55"/>
                        <a:pt x="66" y="115"/>
                      </a:cubicBezTo>
                      <a:cubicBezTo>
                        <a:pt x="58" y="55"/>
                        <a:pt x="30" y="20"/>
                        <a:pt x="1" y="1"/>
                      </a:cubicBezTo>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1" y="0"/>
                      </a:moveTo>
                      <a:cubicBezTo>
                        <a:pt x="1" y="0"/>
                        <a:pt x="1" y="0"/>
                        <a:pt x="1" y="0"/>
                      </a:cubicBezTo>
                      <a:cubicBezTo>
                        <a:pt x="1" y="0"/>
                        <a:pt x="1" y="0"/>
                        <a:pt x="1"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4912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39" name="Freeform 258">
                  <a:extLst>
                    <a:ext uri="{FF2B5EF4-FFF2-40B4-BE49-F238E27FC236}">
                      <a16:creationId xmlns:a16="http://schemas.microsoft.com/office/drawing/2014/main" id="{8DEC97C1-64A6-6961-C5FE-42E908835DD5}"/>
                    </a:ext>
                  </a:extLst>
                </p:cNvPr>
                <p:cNvSpPr>
                  <a:spLocks noEditPoints="1"/>
                </p:cNvSpPr>
                <p:nvPr/>
              </p:nvSpPr>
              <p:spPr bwMode="auto">
                <a:xfrm>
                  <a:off x="4160" y="1113"/>
                  <a:ext cx="9" cy="90"/>
                </a:xfrm>
                <a:custGeom>
                  <a:gdLst>
                    <a:gd name="T0" fmla="*/ 0 w 5"/>
                    <a:gd name="T1" fmla="*/ 49 h 49"/>
                    <a:gd name="T2" fmla="*/ 0 w 5"/>
                    <a:gd name="T3" fmla="*/ 49 h 49"/>
                    <a:gd name="T4" fmla="*/ 0 w 5"/>
                    <a:gd name="T5" fmla="*/ 49 h 49"/>
                    <a:gd name="T6" fmla="*/ 0 w 5"/>
                    <a:gd name="T7" fmla="*/ 48 h 49"/>
                    <a:gd name="T8" fmla="*/ 0 w 5"/>
                    <a:gd name="T9" fmla="*/ 48 h 49"/>
                    <a:gd name="T10" fmla="*/ 0 w 5"/>
                    <a:gd name="T11" fmla="*/ 48 h 49"/>
                    <a:gd name="T12" fmla="*/ 5 w 5"/>
                    <a:gd name="T13" fmla="*/ 0 h 49"/>
                    <a:gd name="T14" fmla="*/ 5 w 5"/>
                    <a:gd name="T15" fmla="*/ 0 h 49"/>
                    <a:gd name="T16" fmla="*/ 0 w 5"/>
                    <a:gd name="T17" fmla="*/ 48 h 49"/>
                    <a:gd name="T18" fmla="*/ 5 w 5"/>
                    <a:gd name="T19" fmla="*/ 0 h 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9">
                      <a:moveTo>
                        <a:pt x="0" y="49"/>
                      </a:moveTo>
                      <a:cubicBezTo>
                        <a:pt x="0" y="49"/>
                        <a:pt x="0" y="49"/>
                        <a:pt x="0" y="49"/>
                      </a:cubicBezTo>
                      <a:cubicBezTo>
                        <a:pt x="0" y="49"/>
                        <a:pt x="0" y="49"/>
                        <a:pt x="0" y="49"/>
                      </a:cubicBezTo>
                      <a:moveTo>
                        <a:pt x="0" y="48"/>
                      </a:moveTo>
                      <a:cubicBezTo>
                        <a:pt x="0" y="48"/>
                        <a:pt x="0" y="48"/>
                        <a:pt x="0" y="48"/>
                      </a:cubicBezTo>
                      <a:cubicBezTo>
                        <a:pt x="0" y="48"/>
                        <a:pt x="0" y="48"/>
                        <a:pt x="0" y="48"/>
                      </a:cubicBezTo>
                      <a:moveTo>
                        <a:pt x="5" y="0"/>
                      </a:moveTo>
                      <a:cubicBezTo>
                        <a:pt x="5" y="0"/>
                        <a:pt x="5" y="0"/>
                        <a:pt x="5" y="0"/>
                      </a:cubicBezTo>
                      <a:cubicBezTo>
                        <a:pt x="4" y="19"/>
                        <a:pt x="2" y="35"/>
                        <a:pt x="0" y="48"/>
                      </a:cubicBezTo>
                      <a:cubicBezTo>
                        <a:pt x="2" y="35"/>
                        <a:pt x="4" y="19"/>
                        <a:pt x="5" y="0"/>
                      </a:cubicBezTo>
                    </a:path>
                  </a:pathLst>
                </a:custGeom>
                <a:solidFill>
                  <a:srgbClr val="E084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40" name="Freeform 259">
                  <a:extLst>
                    <a:ext uri="{FF2B5EF4-FFF2-40B4-BE49-F238E27FC236}">
                      <a16:creationId xmlns:a16="http://schemas.microsoft.com/office/drawing/2014/main" id="{9BC3DFD1-CF6D-E463-4E42-D6D6708B5759}"/>
                    </a:ext>
                  </a:extLst>
                </p:cNvPr>
                <p:cNvSpPr>
                  <a:spLocks noEditPoints="1"/>
                </p:cNvSpPr>
                <p:nvPr/>
              </p:nvSpPr>
              <p:spPr bwMode="auto">
                <a:xfrm>
                  <a:off x="3697" y="719"/>
                  <a:ext cx="478" cy="759"/>
                </a:xfrm>
                <a:custGeom>
                  <a:gdLst>
                    <a:gd name="T0" fmla="*/ 211 w 262"/>
                    <a:gd name="T1" fmla="*/ 244 h 416"/>
                    <a:gd name="T2" fmla="*/ 151 w 262"/>
                    <a:gd name="T3" fmla="*/ 164 h 416"/>
                    <a:gd name="T4" fmla="*/ 217 w 262"/>
                    <a:gd name="T5" fmla="*/ 143 h 416"/>
                    <a:gd name="T6" fmla="*/ 214 w 262"/>
                    <a:gd name="T7" fmla="*/ 153 h 416"/>
                    <a:gd name="T8" fmla="*/ 7 w 262"/>
                    <a:gd name="T9" fmla="*/ 145 h 416"/>
                    <a:gd name="T10" fmla="*/ 54 w 262"/>
                    <a:gd name="T11" fmla="*/ 261 h 416"/>
                    <a:gd name="T12" fmla="*/ 34 w 262"/>
                    <a:gd name="T13" fmla="*/ 339 h 416"/>
                    <a:gd name="T14" fmla="*/ 173 w 262"/>
                    <a:gd name="T15" fmla="*/ 406 h 416"/>
                    <a:gd name="T16" fmla="*/ 254 w 262"/>
                    <a:gd name="T17" fmla="*/ 265 h 416"/>
                    <a:gd name="T18" fmla="*/ 254 w 262"/>
                    <a:gd name="T19" fmla="*/ 264 h 416"/>
                    <a:gd name="T20" fmla="*/ 261 w 262"/>
                    <a:gd name="T21" fmla="*/ 194 h 416"/>
                    <a:gd name="T22" fmla="*/ 261 w 262"/>
                    <a:gd name="T23" fmla="*/ 193 h 416"/>
                    <a:gd name="T24" fmla="*/ 261 w 262"/>
                    <a:gd name="T25" fmla="*/ 193 h 416"/>
                    <a:gd name="T26" fmla="*/ 261 w 262"/>
                    <a:gd name="T27" fmla="*/ 192 h 416"/>
                    <a:gd name="T28" fmla="*/ 261 w 262"/>
                    <a:gd name="T29" fmla="*/ 192 h 416"/>
                    <a:gd name="T30" fmla="*/ 261 w 262"/>
                    <a:gd name="T31" fmla="*/ 191 h 416"/>
                    <a:gd name="T32" fmla="*/ 261 w 262"/>
                    <a:gd name="T33" fmla="*/ 190 h 416"/>
                    <a:gd name="T34" fmla="*/ 261 w 262"/>
                    <a:gd name="T35" fmla="*/ 151 h 416"/>
                    <a:gd name="T36" fmla="*/ 261 w 262"/>
                    <a:gd name="T37" fmla="*/ 151 h 416"/>
                    <a:gd name="T38" fmla="*/ 261 w 262"/>
                    <a:gd name="T39" fmla="*/ 150 h 416"/>
                    <a:gd name="T40" fmla="*/ 261 w 262"/>
                    <a:gd name="T41" fmla="*/ 149 h 416"/>
                    <a:gd name="T42" fmla="*/ 261 w 262"/>
                    <a:gd name="T43" fmla="*/ 148 h 416"/>
                    <a:gd name="T44" fmla="*/ 261 w 262"/>
                    <a:gd name="T45" fmla="*/ 147 h 416"/>
                    <a:gd name="T46" fmla="*/ 261 w 262"/>
                    <a:gd name="T47" fmla="*/ 147 h 416"/>
                    <a:gd name="T48" fmla="*/ 261 w 262"/>
                    <a:gd name="T49" fmla="*/ 146 h 416"/>
                    <a:gd name="T50" fmla="*/ 260 w 262"/>
                    <a:gd name="T51" fmla="*/ 146 h 416"/>
                    <a:gd name="T52" fmla="*/ 260 w 262"/>
                    <a:gd name="T53" fmla="*/ 145 h 416"/>
                    <a:gd name="T54" fmla="*/ 260 w 262"/>
                    <a:gd name="T55" fmla="*/ 144 h 416"/>
                    <a:gd name="T56" fmla="*/ 260 w 262"/>
                    <a:gd name="T57" fmla="*/ 144 h 416"/>
                    <a:gd name="T58" fmla="*/ 260 w 262"/>
                    <a:gd name="T59" fmla="*/ 143 h 416"/>
                    <a:gd name="T60" fmla="*/ 260 w 262"/>
                    <a:gd name="T61" fmla="*/ 143 h 416"/>
                    <a:gd name="T62" fmla="*/ 260 w 262"/>
                    <a:gd name="T63" fmla="*/ 142 h 416"/>
                    <a:gd name="T64" fmla="*/ 260 w 262"/>
                    <a:gd name="T65" fmla="*/ 142 h 416"/>
                    <a:gd name="T66" fmla="*/ 260 w 262"/>
                    <a:gd name="T67" fmla="*/ 141 h 416"/>
                    <a:gd name="T68" fmla="*/ 260 w 262"/>
                    <a:gd name="T69" fmla="*/ 140 h 416"/>
                    <a:gd name="T70" fmla="*/ 260 w 262"/>
                    <a:gd name="T71" fmla="*/ 139 h 416"/>
                    <a:gd name="T72" fmla="*/ 260 w 262"/>
                    <a:gd name="T73" fmla="*/ 139 h 416"/>
                    <a:gd name="T74" fmla="*/ 260 w 262"/>
                    <a:gd name="T75" fmla="*/ 139 h 416"/>
                    <a:gd name="T76" fmla="*/ 260 w 262"/>
                    <a:gd name="T77" fmla="*/ 137 h 416"/>
                    <a:gd name="T78" fmla="*/ 195 w 262"/>
                    <a:gd name="T79" fmla="*/ 23 h 416"/>
                    <a:gd name="T80" fmla="*/ 195 w 262"/>
                    <a:gd name="T81" fmla="*/ 23 h 416"/>
                    <a:gd name="T82" fmla="*/ 195 w 262"/>
                    <a:gd name="T83" fmla="*/ 22 h 416"/>
                    <a:gd name="T84" fmla="*/ 194 w 262"/>
                    <a:gd name="T85" fmla="*/ 22 h 416"/>
                    <a:gd name="T86" fmla="*/ 138 w 262"/>
                    <a:gd name="T87" fmla="*/ 0 h 4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2" h="416">
                      <a:moveTo>
                        <a:pt x="211" y="279"/>
                      </a:moveTo>
                      <a:cubicBezTo>
                        <a:pt x="192" y="279"/>
                        <a:pt x="176" y="271"/>
                        <a:pt x="176" y="261"/>
                      </a:cubicBezTo>
                      <a:cubicBezTo>
                        <a:pt x="176" y="252"/>
                        <a:pt x="192" y="244"/>
                        <a:pt x="211" y="244"/>
                      </a:cubicBezTo>
                      <a:cubicBezTo>
                        <a:pt x="230" y="244"/>
                        <a:pt x="246" y="252"/>
                        <a:pt x="246" y="261"/>
                      </a:cubicBezTo>
                      <a:cubicBezTo>
                        <a:pt x="246" y="271"/>
                        <a:pt x="230" y="279"/>
                        <a:pt x="211" y="279"/>
                      </a:cubicBezTo>
                      <a:moveTo>
                        <a:pt x="151" y="164"/>
                      </a:moveTo>
                      <a:cubicBezTo>
                        <a:pt x="151" y="150"/>
                        <a:pt x="151" y="150"/>
                        <a:pt x="151" y="150"/>
                      </a:cubicBezTo>
                      <a:cubicBezTo>
                        <a:pt x="151" y="150"/>
                        <a:pt x="182" y="142"/>
                        <a:pt x="206" y="142"/>
                      </a:cubicBezTo>
                      <a:cubicBezTo>
                        <a:pt x="210" y="142"/>
                        <a:pt x="214" y="142"/>
                        <a:pt x="217" y="143"/>
                      </a:cubicBezTo>
                      <a:cubicBezTo>
                        <a:pt x="240" y="147"/>
                        <a:pt x="251" y="169"/>
                        <a:pt x="251" y="169"/>
                      </a:cubicBezTo>
                      <a:cubicBezTo>
                        <a:pt x="251" y="169"/>
                        <a:pt x="234" y="154"/>
                        <a:pt x="216" y="153"/>
                      </a:cubicBezTo>
                      <a:cubicBezTo>
                        <a:pt x="215" y="153"/>
                        <a:pt x="215" y="153"/>
                        <a:pt x="214" y="153"/>
                      </a:cubicBezTo>
                      <a:cubicBezTo>
                        <a:pt x="195" y="153"/>
                        <a:pt x="151" y="164"/>
                        <a:pt x="151" y="164"/>
                      </a:cubicBezTo>
                      <a:moveTo>
                        <a:pt x="138" y="0"/>
                      </a:moveTo>
                      <a:cubicBezTo>
                        <a:pt x="7" y="145"/>
                        <a:pt x="7" y="145"/>
                        <a:pt x="7" y="145"/>
                      </a:cubicBezTo>
                      <a:cubicBezTo>
                        <a:pt x="7" y="145"/>
                        <a:pt x="0" y="193"/>
                        <a:pt x="5" y="245"/>
                      </a:cubicBezTo>
                      <a:cubicBezTo>
                        <a:pt x="9" y="244"/>
                        <a:pt x="14" y="244"/>
                        <a:pt x="19" y="244"/>
                      </a:cubicBezTo>
                      <a:cubicBezTo>
                        <a:pt x="39" y="244"/>
                        <a:pt x="54" y="252"/>
                        <a:pt x="54" y="261"/>
                      </a:cubicBezTo>
                      <a:cubicBezTo>
                        <a:pt x="54" y="271"/>
                        <a:pt x="39" y="279"/>
                        <a:pt x="19" y="279"/>
                      </a:cubicBezTo>
                      <a:cubicBezTo>
                        <a:pt x="16" y="279"/>
                        <a:pt x="13" y="278"/>
                        <a:pt x="10" y="278"/>
                      </a:cubicBezTo>
                      <a:cubicBezTo>
                        <a:pt x="14" y="300"/>
                        <a:pt x="22" y="322"/>
                        <a:pt x="34" y="339"/>
                      </a:cubicBezTo>
                      <a:cubicBezTo>
                        <a:pt x="70" y="387"/>
                        <a:pt x="104" y="416"/>
                        <a:pt x="145" y="416"/>
                      </a:cubicBezTo>
                      <a:cubicBezTo>
                        <a:pt x="152" y="416"/>
                        <a:pt x="159" y="415"/>
                        <a:pt x="166" y="413"/>
                      </a:cubicBezTo>
                      <a:cubicBezTo>
                        <a:pt x="168" y="411"/>
                        <a:pt x="171" y="409"/>
                        <a:pt x="173" y="406"/>
                      </a:cubicBezTo>
                      <a:cubicBezTo>
                        <a:pt x="198" y="383"/>
                        <a:pt x="215" y="370"/>
                        <a:pt x="227" y="355"/>
                      </a:cubicBezTo>
                      <a:cubicBezTo>
                        <a:pt x="242" y="336"/>
                        <a:pt x="249" y="313"/>
                        <a:pt x="254" y="265"/>
                      </a:cubicBezTo>
                      <a:cubicBezTo>
                        <a:pt x="254" y="265"/>
                        <a:pt x="254" y="265"/>
                        <a:pt x="254" y="265"/>
                      </a:cubicBezTo>
                      <a:cubicBezTo>
                        <a:pt x="254" y="265"/>
                        <a:pt x="254" y="264"/>
                        <a:pt x="254" y="264"/>
                      </a:cubicBezTo>
                      <a:cubicBezTo>
                        <a:pt x="254" y="264"/>
                        <a:pt x="254" y="264"/>
                        <a:pt x="254" y="264"/>
                      </a:cubicBezTo>
                      <a:cubicBezTo>
                        <a:pt x="254" y="264"/>
                        <a:pt x="254" y="264"/>
                        <a:pt x="254" y="264"/>
                      </a:cubicBezTo>
                      <a:cubicBezTo>
                        <a:pt x="256" y="251"/>
                        <a:pt x="258" y="235"/>
                        <a:pt x="259" y="216"/>
                      </a:cubicBezTo>
                      <a:cubicBezTo>
                        <a:pt x="260" y="209"/>
                        <a:pt x="260" y="202"/>
                        <a:pt x="261" y="194"/>
                      </a:cubicBezTo>
                      <a:cubicBezTo>
                        <a:pt x="261" y="194"/>
                        <a:pt x="261" y="194"/>
                        <a:pt x="261" y="194"/>
                      </a:cubicBezTo>
                      <a:cubicBezTo>
                        <a:pt x="261" y="194"/>
                        <a:pt x="261" y="194"/>
                        <a:pt x="261" y="194"/>
                      </a:cubicBezTo>
                      <a:cubicBezTo>
                        <a:pt x="261" y="194"/>
                        <a:pt x="261" y="194"/>
                        <a:pt x="261" y="194"/>
                      </a:cubicBezTo>
                      <a:cubicBezTo>
                        <a:pt x="261" y="194"/>
                        <a:pt x="261" y="194"/>
                        <a:pt x="261" y="193"/>
                      </a:cubicBezTo>
                      <a:cubicBezTo>
                        <a:pt x="261" y="193"/>
                        <a:pt x="261" y="193"/>
                        <a:pt x="261" y="193"/>
                      </a:cubicBezTo>
                      <a:cubicBezTo>
                        <a:pt x="261" y="193"/>
                        <a:pt x="261" y="193"/>
                        <a:pt x="261" y="193"/>
                      </a:cubicBezTo>
                      <a:cubicBezTo>
                        <a:pt x="261" y="193"/>
                        <a:pt x="261" y="193"/>
                        <a:pt x="261" y="193"/>
                      </a:cubicBezTo>
                      <a:cubicBezTo>
                        <a:pt x="261" y="193"/>
                        <a:pt x="261" y="193"/>
                        <a:pt x="261" y="193"/>
                      </a:cubicBezTo>
                      <a:cubicBezTo>
                        <a:pt x="261" y="193"/>
                        <a:pt x="261" y="193"/>
                        <a:pt x="261" y="193"/>
                      </a:cubicBezTo>
                      <a:cubicBezTo>
                        <a:pt x="261" y="192"/>
                        <a:pt x="261" y="192"/>
                        <a:pt x="261" y="192"/>
                      </a:cubicBezTo>
                      <a:cubicBezTo>
                        <a:pt x="261" y="192"/>
                        <a:pt x="261" y="192"/>
                        <a:pt x="261" y="192"/>
                      </a:cubicBezTo>
                      <a:cubicBezTo>
                        <a:pt x="261" y="192"/>
                        <a:pt x="261" y="192"/>
                        <a:pt x="261" y="192"/>
                      </a:cubicBezTo>
                      <a:cubicBezTo>
                        <a:pt x="261" y="192"/>
                        <a:pt x="261" y="192"/>
                        <a:pt x="261" y="192"/>
                      </a:cubicBezTo>
                      <a:cubicBezTo>
                        <a:pt x="261" y="192"/>
                        <a:pt x="261" y="191"/>
                        <a:pt x="261" y="191"/>
                      </a:cubicBezTo>
                      <a:cubicBezTo>
                        <a:pt x="261" y="191"/>
                        <a:pt x="261" y="191"/>
                        <a:pt x="261" y="191"/>
                      </a:cubicBezTo>
                      <a:cubicBezTo>
                        <a:pt x="261" y="191"/>
                        <a:pt x="261" y="191"/>
                        <a:pt x="261" y="191"/>
                      </a:cubicBezTo>
                      <a:cubicBezTo>
                        <a:pt x="261" y="191"/>
                        <a:pt x="261" y="191"/>
                        <a:pt x="261" y="191"/>
                      </a:cubicBezTo>
                      <a:cubicBezTo>
                        <a:pt x="261" y="191"/>
                        <a:pt x="261" y="190"/>
                        <a:pt x="261" y="190"/>
                      </a:cubicBezTo>
                      <a:cubicBezTo>
                        <a:pt x="261" y="190"/>
                        <a:pt x="261" y="190"/>
                        <a:pt x="261" y="190"/>
                      </a:cubicBezTo>
                      <a:cubicBezTo>
                        <a:pt x="261" y="190"/>
                        <a:pt x="261" y="189"/>
                        <a:pt x="261" y="189"/>
                      </a:cubicBezTo>
                      <a:cubicBezTo>
                        <a:pt x="261" y="189"/>
                        <a:pt x="261" y="189"/>
                        <a:pt x="261" y="189"/>
                      </a:cubicBezTo>
                      <a:cubicBezTo>
                        <a:pt x="262" y="176"/>
                        <a:pt x="262" y="163"/>
                        <a:pt x="261" y="151"/>
                      </a:cubicBezTo>
                      <a:cubicBezTo>
                        <a:pt x="261" y="151"/>
                        <a:pt x="261" y="151"/>
                        <a:pt x="261" y="151"/>
                      </a:cubicBezTo>
                      <a:cubicBezTo>
                        <a:pt x="261" y="151"/>
                        <a:pt x="261" y="151"/>
                        <a:pt x="261" y="151"/>
                      </a:cubicBezTo>
                      <a:cubicBezTo>
                        <a:pt x="261" y="151"/>
                        <a:pt x="261" y="151"/>
                        <a:pt x="261" y="151"/>
                      </a:cubicBezTo>
                      <a:cubicBezTo>
                        <a:pt x="261" y="151"/>
                        <a:pt x="261" y="150"/>
                        <a:pt x="261" y="150"/>
                      </a:cubicBezTo>
                      <a:cubicBezTo>
                        <a:pt x="261" y="150"/>
                        <a:pt x="261" y="150"/>
                        <a:pt x="261" y="150"/>
                      </a:cubicBezTo>
                      <a:cubicBezTo>
                        <a:pt x="261" y="150"/>
                        <a:pt x="261" y="150"/>
                        <a:pt x="261" y="150"/>
                      </a:cubicBezTo>
                      <a:cubicBezTo>
                        <a:pt x="261" y="150"/>
                        <a:pt x="261" y="150"/>
                        <a:pt x="261" y="150"/>
                      </a:cubicBezTo>
                      <a:cubicBezTo>
                        <a:pt x="261" y="149"/>
                        <a:pt x="261" y="149"/>
                        <a:pt x="261" y="149"/>
                      </a:cubicBezTo>
                      <a:cubicBezTo>
                        <a:pt x="261" y="149"/>
                        <a:pt x="261" y="149"/>
                        <a:pt x="261" y="149"/>
                      </a:cubicBezTo>
                      <a:cubicBezTo>
                        <a:pt x="261" y="149"/>
                        <a:pt x="261" y="149"/>
                        <a:pt x="261" y="149"/>
                      </a:cubicBezTo>
                      <a:cubicBezTo>
                        <a:pt x="261" y="149"/>
                        <a:pt x="261" y="149"/>
                        <a:pt x="261" y="149"/>
                      </a:cubicBezTo>
                      <a:cubicBezTo>
                        <a:pt x="261" y="149"/>
                        <a:pt x="261" y="148"/>
                        <a:pt x="261" y="148"/>
                      </a:cubicBezTo>
                      <a:cubicBezTo>
                        <a:pt x="261" y="148"/>
                        <a:pt x="261" y="148"/>
                        <a:pt x="261" y="148"/>
                      </a:cubicBezTo>
                      <a:cubicBezTo>
                        <a:pt x="261" y="148"/>
                        <a:pt x="261" y="148"/>
                        <a:pt x="261" y="147"/>
                      </a:cubicBezTo>
                      <a:cubicBezTo>
                        <a:pt x="261" y="147"/>
                        <a:pt x="261" y="147"/>
                        <a:pt x="261" y="147"/>
                      </a:cubicBezTo>
                      <a:cubicBezTo>
                        <a:pt x="261" y="147"/>
                        <a:pt x="261" y="147"/>
                        <a:pt x="261" y="147"/>
                      </a:cubicBezTo>
                      <a:cubicBezTo>
                        <a:pt x="261" y="147"/>
                        <a:pt x="261" y="147"/>
                        <a:pt x="261" y="147"/>
                      </a:cubicBezTo>
                      <a:cubicBezTo>
                        <a:pt x="261" y="147"/>
                        <a:pt x="261" y="147"/>
                        <a:pt x="261" y="147"/>
                      </a:cubicBezTo>
                      <a:cubicBezTo>
                        <a:pt x="261" y="147"/>
                        <a:pt x="261" y="147"/>
                        <a:pt x="261" y="147"/>
                      </a:cubicBezTo>
                      <a:cubicBezTo>
                        <a:pt x="261" y="146"/>
                        <a:pt x="261" y="146"/>
                        <a:pt x="261" y="146"/>
                      </a:cubicBezTo>
                      <a:cubicBezTo>
                        <a:pt x="261" y="146"/>
                        <a:pt x="261" y="146"/>
                        <a:pt x="261" y="146"/>
                      </a:cubicBezTo>
                      <a:cubicBezTo>
                        <a:pt x="261" y="146"/>
                        <a:pt x="261" y="146"/>
                        <a:pt x="261" y="146"/>
                      </a:cubicBezTo>
                      <a:cubicBezTo>
                        <a:pt x="261" y="146"/>
                        <a:pt x="261" y="146"/>
                        <a:pt x="261" y="146"/>
                      </a:cubicBezTo>
                      <a:cubicBezTo>
                        <a:pt x="261" y="146"/>
                        <a:pt x="261" y="146"/>
                        <a:pt x="260" y="146"/>
                      </a:cubicBezTo>
                      <a:cubicBezTo>
                        <a:pt x="260" y="146"/>
                        <a:pt x="260" y="145"/>
                        <a:pt x="260" y="145"/>
                      </a:cubicBezTo>
                      <a:cubicBezTo>
                        <a:pt x="260" y="145"/>
                        <a:pt x="260" y="145"/>
                        <a:pt x="260" y="145"/>
                      </a:cubicBezTo>
                      <a:cubicBezTo>
                        <a:pt x="260" y="145"/>
                        <a:pt x="260" y="145"/>
                        <a:pt x="260" y="145"/>
                      </a:cubicBezTo>
                      <a:cubicBezTo>
                        <a:pt x="260" y="145"/>
                        <a:pt x="260" y="145"/>
                        <a:pt x="260" y="145"/>
                      </a:cubicBezTo>
                      <a:cubicBezTo>
                        <a:pt x="260" y="145"/>
                        <a:pt x="260" y="145"/>
                        <a:pt x="260" y="145"/>
                      </a:cubicBezTo>
                      <a:cubicBezTo>
                        <a:pt x="260" y="145"/>
                        <a:pt x="260" y="145"/>
                        <a:pt x="260" y="144"/>
                      </a:cubicBezTo>
                      <a:cubicBezTo>
                        <a:pt x="260" y="144"/>
                        <a:pt x="260" y="144"/>
                        <a:pt x="260" y="144"/>
                      </a:cubicBezTo>
                      <a:cubicBezTo>
                        <a:pt x="260" y="144"/>
                        <a:pt x="260" y="144"/>
                        <a:pt x="260" y="144"/>
                      </a:cubicBezTo>
                      <a:cubicBezTo>
                        <a:pt x="260" y="144"/>
                        <a:pt x="260" y="144"/>
                        <a:pt x="260" y="144"/>
                      </a:cubicBezTo>
                      <a:cubicBezTo>
                        <a:pt x="260" y="144"/>
                        <a:pt x="260" y="144"/>
                        <a:pt x="260" y="144"/>
                      </a:cubicBezTo>
                      <a:cubicBezTo>
                        <a:pt x="260" y="144"/>
                        <a:pt x="260" y="144"/>
                        <a:pt x="260" y="144"/>
                      </a:cubicBezTo>
                      <a:cubicBezTo>
                        <a:pt x="260" y="144"/>
                        <a:pt x="260" y="143"/>
                        <a:pt x="260" y="143"/>
                      </a:cubicBezTo>
                      <a:cubicBezTo>
                        <a:pt x="260" y="143"/>
                        <a:pt x="260" y="143"/>
                        <a:pt x="260" y="143"/>
                      </a:cubicBezTo>
                      <a:cubicBezTo>
                        <a:pt x="260" y="143"/>
                        <a:pt x="260" y="143"/>
                        <a:pt x="260" y="143"/>
                      </a:cubicBezTo>
                      <a:cubicBezTo>
                        <a:pt x="260" y="143"/>
                        <a:pt x="260" y="143"/>
                        <a:pt x="260" y="143"/>
                      </a:cubicBezTo>
                      <a:cubicBezTo>
                        <a:pt x="260" y="143"/>
                        <a:pt x="260" y="143"/>
                        <a:pt x="260" y="143"/>
                      </a:cubicBezTo>
                      <a:cubicBezTo>
                        <a:pt x="260" y="143"/>
                        <a:pt x="260" y="143"/>
                        <a:pt x="260" y="143"/>
                      </a:cubicBezTo>
                      <a:cubicBezTo>
                        <a:pt x="260" y="142"/>
                        <a:pt x="260" y="142"/>
                        <a:pt x="260" y="142"/>
                      </a:cubicBezTo>
                      <a:cubicBezTo>
                        <a:pt x="260" y="142"/>
                        <a:pt x="260" y="142"/>
                        <a:pt x="260" y="142"/>
                      </a:cubicBezTo>
                      <a:cubicBezTo>
                        <a:pt x="260" y="142"/>
                        <a:pt x="260" y="142"/>
                        <a:pt x="260" y="142"/>
                      </a:cubicBezTo>
                      <a:cubicBezTo>
                        <a:pt x="260" y="142"/>
                        <a:pt x="260" y="142"/>
                        <a:pt x="260" y="142"/>
                      </a:cubicBezTo>
                      <a:cubicBezTo>
                        <a:pt x="260" y="142"/>
                        <a:pt x="260" y="142"/>
                        <a:pt x="260" y="142"/>
                      </a:cubicBezTo>
                      <a:cubicBezTo>
                        <a:pt x="260" y="142"/>
                        <a:pt x="260" y="142"/>
                        <a:pt x="260" y="141"/>
                      </a:cubicBezTo>
                      <a:cubicBezTo>
                        <a:pt x="260" y="141"/>
                        <a:pt x="260" y="141"/>
                        <a:pt x="260" y="141"/>
                      </a:cubicBezTo>
                      <a:cubicBezTo>
                        <a:pt x="260" y="141"/>
                        <a:pt x="260" y="141"/>
                        <a:pt x="260" y="141"/>
                      </a:cubicBezTo>
                      <a:cubicBezTo>
                        <a:pt x="260" y="141"/>
                        <a:pt x="260" y="141"/>
                        <a:pt x="260" y="141"/>
                      </a:cubicBezTo>
                      <a:cubicBezTo>
                        <a:pt x="260" y="140"/>
                        <a:pt x="260" y="140"/>
                        <a:pt x="260" y="140"/>
                      </a:cubicBezTo>
                      <a:cubicBezTo>
                        <a:pt x="260" y="140"/>
                        <a:pt x="260" y="140"/>
                        <a:pt x="260" y="140"/>
                      </a:cubicBezTo>
                      <a:cubicBezTo>
                        <a:pt x="260" y="140"/>
                        <a:pt x="260" y="140"/>
                        <a:pt x="260" y="139"/>
                      </a:cubicBezTo>
                      <a:cubicBezTo>
                        <a:pt x="260" y="139"/>
                        <a:pt x="260" y="139"/>
                        <a:pt x="260" y="139"/>
                      </a:cubicBezTo>
                      <a:cubicBezTo>
                        <a:pt x="260" y="139"/>
                        <a:pt x="260" y="139"/>
                        <a:pt x="260" y="139"/>
                      </a:cubicBezTo>
                      <a:cubicBezTo>
                        <a:pt x="260" y="139"/>
                        <a:pt x="260" y="139"/>
                        <a:pt x="260" y="139"/>
                      </a:cubicBezTo>
                      <a:cubicBezTo>
                        <a:pt x="260" y="139"/>
                        <a:pt x="260" y="139"/>
                        <a:pt x="260" y="139"/>
                      </a:cubicBezTo>
                      <a:cubicBezTo>
                        <a:pt x="260" y="139"/>
                        <a:pt x="260" y="139"/>
                        <a:pt x="260" y="139"/>
                      </a:cubicBezTo>
                      <a:cubicBezTo>
                        <a:pt x="260" y="139"/>
                        <a:pt x="260" y="139"/>
                        <a:pt x="260" y="139"/>
                      </a:cubicBezTo>
                      <a:cubicBezTo>
                        <a:pt x="260" y="139"/>
                        <a:pt x="260" y="139"/>
                        <a:pt x="260" y="139"/>
                      </a:cubicBezTo>
                      <a:cubicBezTo>
                        <a:pt x="260" y="138"/>
                        <a:pt x="260" y="138"/>
                        <a:pt x="260" y="138"/>
                      </a:cubicBezTo>
                      <a:cubicBezTo>
                        <a:pt x="260" y="138"/>
                        <a:pt x="260" y="138"/>
                        <a:pt x="260" y="138"/>
                      </a:cubicBezTo>
                      <a:cubicBezTo>
                        <a:pt x="260" y="138"/>
                        <a:pt x="260" y="137"/>
                        <a:pt x="260" y="137"/>
                      </a:cubicBezTo>
                      <a:cubicBezTo>
                        <a:pt x="260" y="137"/>
                        <a:pt x="260" y="137"/>
                        <a:pt x="260" y="137"/>
                      </a:cubicBezTo>
                      <a:cubicBezTo>
                        <a:pt x="252" y="77"/>
                        <a:pt x="224" y="42"/>
                        <a:pt x="195" y="23"/>
                      </a:cubicBezTo>
                      <a:cubicBezTo>
                        <a:pt x="195" y="23"/>
                        <a:pt x="195" y="23"/>
                        <a:pt x="195" y="23"/>
                      </a:cubicBezTo>
                      <a:cubicBezTo>
                        <a:pt x="195" y="23"/>
                        <a:pt x="195" y="23"/>
                        <a:pt x="195" y="23"/>
                      </a:cubicBezTo>
                      <a:cubicBezTo>
                        <a:pt x="195" y="23"/>
                        <a:pt x="195" y="23"/>
                        <a:pt x="195" y="23"/>
                      </a:cubicBezTo>
                      <a:cubicBezTo>
                        <a:pt x="195" y="23"/>
                        <a:pt x="195" y="23"/>
                        <a:pt x="195" y="23"/>
                      </a:cubicBezTo>
                      <a:cubicBezTo>
                        <a:pt x="195" y="23"/>
                        <a:pt x="195" y="23"/>
                        <a:pt x="195" y="23"/>
                      </a:cubicBezTo>
                      <a:cubicBezTo>
                        <a:pt x="195" y="23"/>
                        <a:pt x="195" y="23"/>
                        <a:pt x="195" y="23"/>
                      </a:cubicBezTo>
                      <a:cubicBezTo>
                        <a:pt x="195" y="23"/>
                        <a:pt x="195" y="22"/>
                        <a:pt x="195" y="22"/>
                      </a:cubicBezTo>
                      <a:cubicBezTo>
                        <a:pt x="195" y="22"/>
                        <a:pt x="195" y="22"/>
                        <a:pt x="195" y="22"/>
                      </a:cubicBezTo>
                      <a:cubicBezTo>
                        <a:pt x="194" y="22"/>
                        <a:pt x="194" y="22"/>
                        <a:pt x="194" y="22"/>
                      </a:cubicBezTo>
                      <a:cubicBezTo>
                        <a:pt x="194" y="22"/>
                        <a:pt x="194" y="22"/>
                        <a:pt x="194" y="22"/>
                      </a:cubicBezTo>
                      <a:cubicBezTo>
                        <a:pt x="194" y="22"/>
                        <a:pt x="194" y="22"/>
                        <a:pt x="194" y="22"/>
                      </a:cubicBezTo>
                      <a:cubicBezTo>
                        <a:pt x="194" y="22"/>
                        <a:pt x="194" y="22"/>
                        <a:pt x="194" y="22"/>
                      </a:cubicBezTo>
                      <a:cubicBezTo>
                        <a:pt x="174" y="9"/>
                        <a:pt x="153" y="3"/>
                        <a:pt x="138" y="0"/>
                      </a:cubicBezTo>
                    </a:path>
                  </a:pathLst>
                </a:custGeom>
                <a:solidFill>
                  <a:srgbClr val="FCA6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41" name="Freeform 260">
                  <a:extLst>
                    <a:ext uri="{FF2B5EF4-FFF2-40B4-BE49-F238E27FC236}">
                      <a16:creationId xmlns:a16="http://schemas.microsoft.com/office/drawing/2014/main" id="{EA968A3B-9223-7C40-487B-75D508F51C45}"/>
                    </a:ext>
                  </a:extLst>
                </p:cNvPr>
                <p:cNvSpPr/>
                <p:nvPr/>
              </p:nvSpPr>
              <p:spPr bwMode="auto">
                <a:xfrm>
                  <a:off x="3972" y="978"/>
                  <a:ext cx="183" cy="49"/>
                </a:xfrm>
                <a:custGeom>
                  <a:gdLst>
                    <a:gd name="T0" fmla="*/ 55 w 100"/>
                    <a:gd name="T1" fmla="*/ 0 h 27"/>
                    <a:gd name="T2" fmla="*/ 0 w 100"/>
                    <a:gd name="T3" fmla="*/ 8 h 27"/>
                    <a:gd name="T4" fmla="*/ 0 w 100"/>
                    <a:gd name="T5" fmla="*/ 22 h 27"/>
                    <a:gd name="T6" fmla="*/ 63 w 100"/>
                    <a:gd name="T7" fmla="*/ 11 h 27"/>
                    <a:gd name="T8" fmla="*/ 65 w 100"/>
                    <a:gd name="T9" fmla="*/ 11 h 27"/>
                    <a:gd name="T10" fmla="*/ 100 w 100"/>
                    <a:gd name="T11" fmla="*/ 27 h 27"/>
                    <a:gd name="T12" fmla="*/ 66 w 100"/>
                    <a:gd name="T13" fmla="*/ 1 h 27"/>
                    <a:gd name="T14" fmla="*/ 55 w 100"/>
                    <a:gd name="T15" fmla="*/ 0 h 2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27">
                      <a:moveTo>
                        <a:pt x="55" y="0"/>
                      </a:moveTo>
                      <a:cubicBezTo>
                        <a:pt x="31" y="0"/>
                        <a:pt x="0" y="8"/>
                        <a:pt x="0" y="8"/>
                      </a:cubicBezTo>
                      <a:cubicBezTo>
                        <a:pt x="0" y="22"/>
                        <a:pt x="0" y="22"/>
                        <a:pt x="0" y="22"/>
                      </a:cubicBezTo>
                      <a:cubicBezTo>
                        <a:pt x="0" y="22"/>
                        <a:pt x="44" y="11"/>
                        <a:pt x="63" y="11"/>
                      </a:cubicBezTo>
                      <a:cubicBezTo>
                        <a:pt x="64" y="11"/>
                        <a:pt x="64" y="11"/>
                        <a:pt x="65" y="11"/>
                      </a:cubicBezTo>
                      <a:cubicBezTo>
                        <a:pt x="83" y="12"/>
                        <a:pt x="100" y="27"/>
                        <a:pt x="100" y="27"/>
                      </a:cubicBezTo>
                      <a:cubicBezTo>
                        <a:pt x="100" y="27"/>
                        <a:pt x="89" y="5"/>
                        <a:pt x="66" y="1"/>
                      </a:cubicBezTo>
                      <a:cubicBezTo>
                        <a:pt x="63" y="0"/>
                        <a:pt x="59" y="0"/>
                        <a:pt x="55" y="0"/>
                      </a:cubicBezTo>
                    </a:path>
                  </a:pathLst>
                </a:custGeom>
                <a:solidFill>
                  <a:srgbClr val="4912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42" name="Oval 261">
                  <a:extLst>
                    <a:ext uri="{FF2B5EF4-FFF2-40B4-BE49-F238E27FC236}">
                      <a16:creationId xmlns:a16="http://schemas.microsoft.com/office/drawing/2014/main" id="{3F109332-67B0-D0B0-40D0-315C3DF06F79}"/>
                    </a:ext>
                  </a:extLst>
                </p:cNvPr>
                <p:cNvSpPr>
                  <a:spLocks noChangeArrowheads="1"/>
                </p:cNvSpPr>
                <p:nvPr/>
              </p:nvSpPr>
              <p:spPr bwMode="auto">
                <a:xfrm>
                  <a:off x="4018" y="1164"/>
                  <a:ext cx="128" cy="64"/>
                </a:xfrm>
                <a:prstGeom prst="ellipse">
                  <a:avLst/>
                </a:prstGeom>
                <a:solidFill>
                  <a:srgbClr val="D671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43" name="Freeform 262">
                  <a:extLst>
                    <a:ext uri="{FF2B5EF4-FFF2-40B4-BE49-F238E27FC236}">
                      <a16:creationId xmlns:a16="http://schemas.microsoft.com/office/drawing/2014/main" id="{B8F1EAEC-48AA-93BE-DAD2-EE5BA947FA93}"/>
                    </a:ext>
                  </a:extLst>
                </p:cNvPr>
                <p:cNvSpPr/>
                <p:nvPr/>
              </p:nvSpPr>
              <p:spPr bwMode="auto">
                <a:xfrm>
                  <a:off x="3706" y="1164"/>
                  <a:ext cx="89" cy="64"/>
                </a:xfrm>
                <a:custGeom>
                  <a:gdLst>
                    <a:gd name="T0" fmla="*/ 14 w 49"/>
                    <a:gd name="T1" fmla="*/ 0 h 35"/>
                    <a:gd name="T2" fmla="*/ 0 w 49"/>
                    <a:gd name="T3" fmla="*/ 1 h 35"/>
                    <a:gd name="T4" fmla="*/ 5 w 49"/>
                    <a:gd name="T5" fmla="*/ 34 h 35"/>
                    <a:gd name="T6" fmla="*/ 14 w 49"/>
                    <a:gd name="T7" fmla="*/ 35 h 35"/>
                    <a:gd name="T8" fmla="*/ 49 w 49"/>
                    <a:gd name="T9" fmla="*/ 17 h 35"/>
                    <a:gd name="T10" fmla="*/ 14 w 49"/>
                    <a:gd name="T11" fmla="*/ 0 h 35"/>
                  </a:gdLst>
                  <a:cxnLst>
                    <a:cxn ang="0">
                      <a:pos x="T0" y="T1"/>
                    </a:cxn>
                    <a:cxn ang="0">
                      <a:pos x="T2" y="T3"/>
                    </a:cxn>
                    <a:cxn ang="0">
                      <a:pos x="T4" y="T5"/>
                    </a:cxn>
                    <a:cxn ang="0">
                      <a:pos x="T6" y="T7"/>
                    </a:cxn>
                    <a:cxn ang="0">
                      <a:pos x="T8" y="T9"/>
                    </a:cxn>
                    <a:cxn ang="0">
                      <a:pos x="T10" y="T11"/>
                    </a:cxn>
                  </a:cxnLst>
                  <a:rect l="0" t="0" r="r" b="b"/>
                  <a:pathLst>
                    <a:path w="49" h="35">
                      <a:moveTo>
                        <a:pt x="14" y="0"/>
                      </a:moveTo>
                      <a:cubicBezTo>
                        <a:pt x="9" y="0"/>
                        <a:pt x="4" y="0"/>
                        <a:pt x="0" y="1"/>
                      </a:cubicBezTo>
                      <a:cubicBezTo>
                        <a:pt x="1" y="12"/>
                        <a:pt x="2" y="23"/>
                        <a:pt x="5" y="34"/>
                      </a:cubicBezTo>
                      <a:cubicBezTo>
                        <a:pt x="8" y="34"/>
                        <a:pt x="11" y="35"/>
                        <a:pt x="14" y="35"/>
                      </a:cubicBezTo>
                      <a:cubicBezTo>
                        <a:pt x="34" y="35"/>
                        <a:pt x="49" y="27"/>
                        <a:pt x="49" y="17"/>
                      </a:cubicBezTo>
                      <a:cubicBezTo>
                        <a:pt x="49" y="8"/>
                        <a:pt x="34" y="0"/>
                        <a:pt x="14" y="0"/>
                      </a:cubicBezTo>
                    </a:path>
                  </a:pathLst>
                </a:custGeom>
                <a:solidFill>
                  <a:srgbClr val="D671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44" name="Freeform 263">
                  <a:extLst>
                    <a:ext uri="{FF2B5EF4-FFF2-40B4-BE49-F238E27FC236}">
                      <a16:creationId xmlns:a16="http://schemas.microsoft.com/office/drawing/2014/main" id="{690BFB3D-E924-7310-C138-27FC226AB37D}"/>
                    </a:ext>
                  </a:extLst>
                </p:cNvPr>
                <p:cNvSpPr/>
                <p:nvPr/>
              </p:nvSpPr>
              <p:spPr bwMode="auto">
                <a:xfrm>
                  <a:off x="3556" y="588"/>
                  <a:ext cx="590" cy="509"/>
                </a:xfrm>
                <a:custGeom>
                  <a:gdLst>
                    <a:gd name="T0" fmla="*/ 298 w 323"/>
                    <a:gd name="T1" fmla="*/ 0 h 279"/>
                    <a:gd name="T2" fmla="*/ 192 w 323"/>
                    <a:gd name="T3" fmla="*/ 176 h 279"/>
                    <a:gd name="T4" fmla="*/ 46 w 323"/>
                    <a:gd name="T5" fmla="*/ 279 h 279"/>
                    <a:gd name="T6" fmla="*/ 87 w 323"/>
                    <a:gd name="T7" fmla="*/ 91 h 279"/>
                    <a:gd name="T8" fmla="*/ 298 w 323"/>
                    <a:gd name="T9" fmla="*/ 0 h 279"/>
                  </a:gdLst>
                  <a:cxnLst>
                    <a:cxn ang="0">
                      <a:pos x="T0" y="T1"/>
                    </a:cxn>
                    <a:cxn ang="0">
                      <a:pos x="T2" y="T3"/>
                    </a:cxn>
                    <a:cxn ang="0">
                      <a:pos x="T4" y="T5"/>
                    </a:cxn>
                    <a:cxn ang="0">
                      <a:pos x="T6" y="T7"/>
                    </a:cxn>
                    <a:cxn ang="0">
                      <a:pos x="T8" y="T9"/>
                    </a:cxn>
                  </a:cxnLst>
                  <a:rect l="0" t="0" r="r" b="b"/>
                  <a:pathLst>
                    <a:path w="323" h="279">
                      <a:moveTo>
                        <a:pt x="298" y="0"/>
                      </a:moveTo>
                      <a:cubicBezTo>
                        <a:pt x="298" y="0"/>
                        <a:pt x="323" y="104"/>
                        <a:pt x="192" y="176"/>
                      </a:cubicBezTo>
                      <a:cubicBezTo>
                        <a:pt x="62" y="247"/>
                        <a:pt x="46" y="279"/>
                        <a:pt x="46" y="279"/>
                      </a:cubicBezTo>
                      <a:cubicBezTo>
                        <a:pt x="46" y="279"/>
                        <a:pt x="0" y="174"/>
                        <a:pt x="87" y="91"/>
                      </a:cubicBezTo>
                      <a:cubicBezTo>
                        <a:pt x="175" y="8"/>
                        <a:pt x="298" y="0"/>
                        <a:pt x="298" y="0"/>
                      </a:cubicBezTo>
                      <a:close/>
                    </a:path>
                  </a:pathLst>
                </a:custGeom>
                <a:solidFill>
                  <a:srgbClr val="3D0F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45" name="Freeform 264">
                  <a:extLst>
                    <a:ext uri="{FF2B5EF4-FFF2-40B4-BE49-F238E27FC236}">
                      <a16:creationId xmlns:a16="http://schemas.microsoft.com/office/drawing/2014/main" id="{F2BD9702-9E37-AA0F-9358-A04040B991D9}"/>
                    </a:ext>
                  </a:extLst>
                </p:cNvPr>
                <p:cNvSpPr/>
                <p:nvPr/>
              </p:nvSpPr>
              <p:spPr bwMode="auto">
                <a:xfrm>
                  <a:off x="3808" y="1298"/>
                  <a:ext cx="203" cy="62"/>
                </a:xfrm>
                <a:custGeom>
                  <a:gdLst>
                    <a:gd name="T0" fmla="*/ 55 w 111"/>
                    <a:gd name="T1" fmla="*/ 5 h 34"/>
                    <a:gd name="T2" fmla="*/ 8 w 111"/>
                    <a:gd name="T3" fmla="*/ 1 h 34"/>
                    <a:gd name="T4" fmla="*/ 3 w 111"/>
                    <a:gd name="T5" fmla="*/ 9 h 34"/>
                    <a:gd name="T6" fmla="*/ 55 w 111"/>
                    <a:gd name="T7" fmla="*/ 34 h 34"/>
                    <a:gd name="T8" fmla="*/ 108 w 111"/>
                    <a:gd name="T9" fmla="*/ 9 h 34"/>
                    <a:gd name="T10" fmla="*/ 103 w 111"/>
                    <a:gd name="T11" fmla="*/ 1 h 34"/>
                    <a:gd name="T12" fmla="*/ 55 w 111"/>
                    <a:gd name="T13" fmla="*/ 5 h 34"/>
                  </a:gdLst>
                  <a:cxnLst>
                    <a:cxn ang="0">
                      <a:pos x="T0" y="T1"/>
                    </a:cxn>
                    <a:cxn ang="0">
                      <a:pos x="T2" y="T3"/>
                    </a:cxn>
                    <a:cxn ang="0">
                      <a:pos x="T4" y="T5"/>
                    </a:cxn>
                    <a:cxn ang="0">
                      <a:pos x="T6" y="T7"/>
                    </a:cxn>
                    <a:cxn ang="0">
                      <a:pos x="T8" y="T9"/>
                    </a:cxn>
                    <a:cxn ang="0">
                      <a:pos x="T10" y="T11"/>
                    </a:cxn>
                    <a:cxn ang="0">
                      <a:pos x="T12" y="T13"/>
                    </a:cxn>
                  </a:cxnLst>
                  <a:rect l="0" t="0" r="r" b="b"/>
                  <a:pathLst>
                    <a:path w="110" h="34">
                      <a:moveTo>
                        <a:pt x="55" y="5"/>
                      </a:moveTo>
                      <a:cubicBezTo>
                        <a:pt x="39" y="5"/>
                        <a:pt x="23" y="4"/>
                        <a:pt x="8" y="1"/>
                      </a:cubicBezTo>
                      <a:cubicBezTo>
                        <a:pt x="3" y="0"/>
                        <a:pt x="0" y="6"/>
                        <a:pt x="3" y="9"/>
                      </a:cubicBezTo>
                      <a:cubicBezTo>
                        <a:pt x="16" y="24"/>
                        <a:pt x="34" y="34"/>
                        <a:pt x="55" y="34"/>
                      </a:cubicBezTo>
                      <a:cubicBezTo>
                        <a:pt x="76" y="34"/>
                        <a:pt x="95" y="24"/>
                        <a:pt x="108" y="9"/>
                      </a:cubicBezTo>
                      <a:cubicBezTo>
                        <a:pt x="111" y="6"/>
                        <a:pt x="108" y="0"/>
                        <a:pt x="103" y="1"/>
                      </a:cubicBezTo>
                      <a:cubicBezTo>
                        <a:pt x="88" y="4"/>
                        <a:pt x="72" y="5"/>
                        <a:pt x="55" y="5"/>
                      </a:cubicBezTo>
                      <a:close/>
                    </a:path>
                  </a:pathLst>
                </a:custGeom>
                <a:solidFill>
                  <a:srgbClr val="EFEE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grpSp>
          <p:sp>
            <p:nvSpPr>
              <p:cNvPr id="10" name="Freeform 266">
                <a:extLst>
                  <a:ext uri="{FF2B5EF4-FFF2-40B4-BE49-F238E27FC236}">
                    <a16:creationId xmlns:a16="http://schemas.microsoft.com/office/drawing/2014/main" id="{5B29A6E4-74F0-920C-6ACA-0C2366562C74}"/>
                  </a:ext>
                </a:extLst>
              </p:cNvPr>
              <p:cNvSpPr/>
              <p:nvPr/>
            </p:nvSpPr>
            <p:spPr bwMode="auto">
              <a:xfrm>
                <a:off x="3874" y="1148"/>
                <a:ext cx="62" cy="119"/>
              </a:xfrm>
              <a:custGeom>
                <a:gdLst>
                  <a:gd name="T0" fmla="*/ 54 w 62"/>
                  <a:gd name="T1" fmla="*/ 0 h 119"/>
                  <a:gd name="T2" fmla="*/ 54 w 62"/>
                  <a:gd name="T3" fmla="*/ 109 h 119"/>
                  <a:gd name="T4" fmla="*/ 2 w 62"/>
                  <a:gd name="T5" fmla="*/ 91 h 119"/>
                  <a:gd name="T6" fmla="*/ 0 w 62"/>
                  <a:gd name="T7" fmla="*/ 98 h 119"/>
                  <a:gd name="T8" fmla="*/ 62 w 62"/>
                  <a:gd name="T9" fmla="*/ 119 h 119"/>
                  <a:gd name="T10" fmla="*/ 62 w 62"/>
                  <a:gd name="T11" fmla="*/ 0 h 119"/>
                  <a:gd name="T12" fmla="*/ 54 w 62"/>
                  <a:gd name="T13" fmla="*/ 0 h 119"/>
                  <a:gd name="T14" fmla="*/ 54 w 62"/>
                  <a:gd name="T15" fmla="*/ 0 h 11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119">
                    <a:moveTo>
                      <a:pt x="54" y="0"/>
                    </a:moveTo>
                    <a:lnTo>
                      <a:pt x="54" y="109"/>
                    </a:lnTo>
                    <a:lnTo>
                      <a:pt x="2" y="91"/>
                    </a:lnTo>
                    <a:lnTo>
                      <a:pt x="0" y="98"/>
                    </a:lnTo>
                    <a:lnTo>
                      <a:pt x="62" y="119"/>
                    </a:lnTo>
                    <a:lnTo>
                      <a:pt x="62" y="0"/>
                    </a:lnTo>
                    <a:lnTo>
                      <a:pt x="54" y="0"/>
                    </a:lnTo>
                    <a:lnTo>
                      <a:pt x="54" y="0"/>
                    </a:lnTo>
                    <a:close/>
                  </a:path>
                </a:pathLst>
              </a:custGeom>
              <a:solidFill>
                <a:srgbClr val="7541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1" name="Freeform 267">
                <a:extLst>
                  <a:ext uri="{FF2B5EF4-FFF2-40B4-BE49-F238E27FC236}">
                    <a16:creationId xmlns:a16="http://schemas.microsoft.com/office/drawing/2014/main" id="{9FDCD15C-79CE-9346-3C09-9EFECEB66B7D}"/>
                  </a:ext>
                </a:extLst>
              </p:cNvPr>
              <p:cNvSpPr/>
              <p:nvPr/>
            </p:nvSpPr>
            <p:spPr bwMode="auto">
              <a:xfrm>
                <a:off x="3985" y="1048"/>
                <a:ext cx="153" cy="62"/>
              </a:xfrm>
              <a:custGeom>
                <a:gdLst>
                  <a:gd name="T0" fmla="*/ 0 w 84"/>
                  <a:gd name="T1" fmla="*/ 34 h 34"/>
                  <a:gd name="T2" fmla="*/ 84 w 84"/>
                  <a:gd name="T3" fmla="*/ 21 h 34"/>
                  <a:gd name="T4" fmla="*/ 73 w 84"/>
                  <a:gd name="T5" fmla="*/ 20 h 34"/>
                  <a:gd name="T6" fmla="*/ 0 w 84"/>
                  <a:gd name="T7" fmla="*/ 34 h 34"/>
                </a:gdLst>
                <a:cxnLst>
                  <a:cxn ang="0">
                    <a:pos x="T0" y="T1"/>
                  </a:cxn>
                  <a:cxn ang="0">
                    <a:pos x="T2" y="T3"/>
                  </a:cxn>
                  <a:cxn ang="0">
                    <a:pos x="T4" y="T5"/>
                  </a:cxn>
                  <a:cxn ang="0">
                    <a:pos x="T6" y="T7"/>
                  </a:cxn>
                </a:cxnLst>
                <a:rect l="0" t="0" r="r" b="b"/>
                <a:pathLst>
                  <a:path w="84" h="34">
                    <a:moveTo>
                      <a:pt x="0" y="34"/>
                    </a:moveTo>
                    <a:cubicBezTo>
                      <a:pt x="16" y="6"/>
                      <a:pt x="59" y="0"/>
                      <a:pt x="84" y="21"/>
                    </a:cubicBezTo>
                    <a:cubicBezTo>
                      <a:pt x="80" y="21"/>
                      <a:pt x="76" y="20"/>
                      <a:pt x="73" y="20"/>
                    </a:cubicBezTo>
                    <a:cubicBezTo>
                      <a:pt x="47" y="17"/>
                      <a:pt x="23" y="23"/>
                      <a:pt x="0" y="34"/>
                    </a:cubicBezTo>
                    <a:close/>
                  </a:path>
                </a:pathLst>
              </a:custGeom>
              <a:solidFill>
                <a:srgbClr val="59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2" name="Freeform 268">
                <a:extLst>
                  <a:ext uri="{FF2B5EF4-FFF2-40B4-BE49-F238E27FC236}">
                    <a16:creationId xmlns:a16="http://schemas.microsoft.com/office/drawing/2014/main" id="{296A4E02-29CC-E3CA-841E-3BBB4B1B0DE3}"/>
                  </a:ext>
                </a:extLst>
              </p:cNvPr>
              <p:cNvSpPr/>
              <p:nvPr/>
            </p:nvSpPr>
            <p:spPr bwMode="auto">
              <a:xfrm>
                <a:off x="3658" y="973"/>
                <a:ext cx="183" cy="54"/>
              </a:xfrm>
              <a:custGeom>
                <a:gdLst>
                  <a:gd name="T0" fmla="*/ 100 w 100"/>
                  <a:gd name="T1" fmla="*/ 25 h 30"/>
                  <a:gd name="T2" fmla="*/ 35 w 100"/>
                  <a:gd name="T3" fmla="*/ 14 h 30"/>
                  <a:gd name="T4" fmla="*/ 0 w 100"/>
                  <a:gd name="T5" fmla="*/ 30 h 30"/>
                  <a:gd name="T6" fmla="*/ 34 w 100"/>
                  <a:gd name="T7" fmla="*/ 4 h 30"/>
                  <a:gd name="T8" fmla="*/ 100 w 100"/>
                  <a:gd name="T9" fmla="*/ 11 h 30"/>
                  <a:gd name="T10" fmla="*/ 100 w 100"/>
                  <a:gd name="T11" fmla="*/ 25 h 30"/>
                </a:gdLst>
                <a:cxnLst>
                  <a:cxn ang="0">
                    <a:pos x="T0" y="T1"/>
                  </a:cxn>
                  <a:cxn ang="0">
                    <a:pos x="T2" y="T3"/>
                  </a:cxn>
                  <a:cxn ang="0">
                    <a:pos x="T4" y="T5"/>
                  </a:cxn>
                  <a:cxn ang="0">
                    <a:pos x="T6" y="T7"/>
                  </a:cxn>
                  <a:cxn ang="0">
                    <a:pos x="T8" y="T9"/>
                  </a:cxn>
                  <a:cxn ang="0">
                    <a:pos x="T10" y="T11"/>
                  </a:cxn>
                </a:cxnLst>
                <a:rect l="0" t="0" r="r" b="b"/>
                <a:pathLst>
                  <a:path w="100" h="30">
                    <a:moveTo>
                      <a:pt x="100" y="25"/>
                    </a:moveTo>
                    <a:cubicBezTo>
                      <a:pt x="100" y="25"/>
                      <a:pt x="54" y="14"/>
                      <a:pt x="35" y="14"/>
                    </a:cubicBezTo>
                    <a:cubicBezTo>
                      <a:pt x="17" y="15"/>
                      <a:pt x="0" y="30"/>
                      <a:pt x="0" y="30"/>
                    </a:cubicBezTo>
                    <a:cubicBezTo>
                      <a:pt x="0" y="30"/>
                      <a:pt x="11" y="8"/>
                      <a:pt x="34" y="4"/>
                    </a:cubicBezTo>
                    <a:cubicBezTo>
                      <a:pt x="58" y="0"/>
                      <a:pt x="100" y="11"/>
                      <a:pt x="100" y="11"/>
                    </a:cubicBezTo>
                    <a:lnTo>
                      <a:pt x="100" y="25"/>
                    </a:lnTo>
                    <a:close/>
                  </a:path>
                </a:pathLst>
              </a:custGeom>
              <a:solidFill>
                <a:srgbClr val="3D0F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3" name="Freeform 269">
                <a:extLst>
                  <a:ext uri="{FF2B5EF4-FFF2-40B4-BE49-F238E27FC236}">
                    <a16:creationId xmlns:a16="http://schemas.microsoft.com/office/drawing/2014/main" id="{EE06F23A-7F31-62CD-0725-2F70FC2AD3FB}"/>
                  </a:ext>
                </a:extLst>
              </p:cNvPr>
              <p:cNvSpPr/>
              <p:nvPr/>
            </p:nvSpPr>
            <p:spPr bwMode="auto">
              <a:xfrm>
                <a:off x="3675" y="1048"/>
                <a:ext cx="153" cy="62"/>
              </a:xfrm>
              <a:custGeom>
                <a:gdLst>
                  <a:gd name="T0" fmla="*/ 84 w 84"/>
                  <a:gd name="T1" fmla="*/ 34 h 34"/>
                  <a:gd name="T2" fmla="*/ 12 w 84"/>
                  <a:gd name="T3" fmla="*/ 20 h 34"/>
                  <a:gd name="T4" fmla="*/ 0 w 84"/>
                  <a:gd name="T5" fmla="*/ 21 h 34"/>
                  <a:gd name="T6" fmla="*/ 84 w 84"/>
                  <a:gd name="T7" fmla="*/ 34 h 34"/>
                </a:gdLst>
                <a:cxnLst>
                  <a:cxn ang="0">
                    <a:pos x="T0" y="T1"/>
                  </a:cxn>
                  <a:cxn ang="0">
                    <a:pos x="T2" y="T3"/>
                  </a:cxn>
                  <a:cxn ang="0">
                    <a:pos x="T4" y="T5"/>
                  </a:cxn>
                  <a:cxn ang="0">
                    <a:pos x="T6" y="T7"/>
                  </a:cxn>
                </a:cxnLst>
                <a:rect l="0" t="0" r="r" b="b"/>
                <a:pathLst>
                  <a:path w="84" h="34">
                    <a:moveTo>
                      <a:pt x="84" y="34"/>
                    </a:moveTo>
                    <a:cubicBezTo>
                      <a:pt x="62" y="23"/>
                      <a:pt x="37" y="17"/>
                      <a:pt x="12" y="20"/>
                    </a:cubicBezTo>
                    <a:cubicBezTo>
                      <a:pt x="8" y="20"/>
                      <a:pt x="4" y="21"/>
                      <a:pt x="0" y="21"/>
                    </a:cubicBezTo>
                    <a:cubicBezTo>
                      <a:pt x="25" y="0"/>
                      <a:pt x="68" y="6"/>
                      <a:pt x="84" y="34"/>
                    </a:cubicBezTo>
                    <a:close/>
                  </a:path>
                </a:pathLst>
              </a:custGeom>
              <a:solidFill>
                <a:srgbClr val="59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4" name="Freeform 270">
                <a:extLst>
                  <a:ext uri="{FF2B5EF4-FFF2-40B4-BE49-F238E27FC236}">
                    <a16:creationId xmlns:a16="http://schemas.microsoft.com/office/drawing/2014/main" id="{D44AA7D0-0386-617B-7378-77C68F8465EC}"/>
                  </a:ext>
                </a:extLst>
              </p:cNvPr>
              <p:cNvSpPr/>
              <p:nvPr/>
            </p:nvSpPr>
            <p:spPr bwMode="auto">
              <a:xfrm>
                <a:off x="3607" y="588"/>
                <a:ext cx="493" cy="509"/>
              </a:xfrm>
              <a:custGeom>
                <a:gdLst>
                  <a:gd name="T0" fmla="*/ 270 w 270"/>
                  <a:gd name="T1" fmla="*/ 0 h 279"/>
                  <a:gd name="T2" fmla="*/ 75 w 270"/>
                  <a:gd name="T3" fmla="*/ 82 h 279"/>
                  <a:gd name="T4" fmla="*/ 14 w 270"/>
                  <a:gd name="T5" fmla="*/ 226 h 279"/>
                  <a:gd name="T6" fmla="*/ 18 w 270"/>
                  <a:gd name="T7" fmla="*/ 279 h 279"/>
                  <a:gd name="T8" fmla="*/ 71 w 270"/>
                  <a:gd name="T9" fmla="*/ 78 h 279"/>
                  <a:gd name="T10" fmla="*/ 270 w 270"/>
                  <a:gd name="T11" fmla="*/ 0 h 279"/>
                </a:gdLst>
                <a:cxnLst>
                  <a:cxn ang="0">
                    <a:pos x="T0" y="T1"/>
                  </a:cxn>
                  <a:cxn ang="0">
                    <a:pos x="T2" y="T3"/>
                  </a:cxn>
                  <a:cxn ang="0">
                    <a:pos x="T4" y="T5"/>
                  </a:cxn>
                  <a:cxn ang="0">
                    <a:pos x="T6" y="T7"/>
                  </a:cxn>
                  <a:cxn ang="0">
                    <a:pos x="T8" y="T9"/>
                  </a:cxn>
                  <a:cxn ang="0">
                    <a:pos x="T10" y="T11"/>
                  </a:cxn>
                </a:cxnLst>
                <a:rect l="0" t="0" r="r" b="b"/>
                <a:pathLst>
                  <a:path w="270" h="279">
                    <a:moveTo>
                      <a:pt x="270" y="0"/>
                    </a:moveTo>
                    <a:cubicBezTo>
                      <a:pt x="200" y="11"/>
                      <a:pt x="127" y="31"/>
                      <a:pt x="75" y="82"/>
                    </a:cubicBezTo>
                    <a:cubicBezTo>
                      <a:pt x="36" y="119"/>
                      <a:pt x="15" y="172"/>
                      <a:pt x="14" y="226"/>
                    </a:cubicBezTo>
                    <a:cubicBezTo>
                      <a:pt x="13" y="244"/>
                      <a:pt x="15" y="262"/>
                      <a:pt x="18" y="279"/>
                    </a:cubicBezTo>
                    <a:cubicBezTo>
                      <a:pt x="0" y="209"/>
                      <a:pt x="18" y="129"/>
                      <a:pt x="71" y="78"/>
                    </a:cubicBezTo>
                    <a:cubicBezTo>
                      <a:pt x="124" y="27"/>
                      <a:pt x="198" y="7"/>
                      <a:pt x="270" y="0"/>
                    </a:cubicBezTo>
                    <a:close/>
                  </a:path>
                </a:pathLst>
              </a:custGeom>
              <a:solidFill>
                <a:srgbClr val="A355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5" name="Freeform 271">
                <a:extLst>
                  <a:ext uri="{FF2B5EF4-FFF2-40B4-BE49-F238E27FC236}">
                    <a16:creationId xmlns:a16="http://schemas.microsoft.com/office/drawing/2014/main" id="{13199805-5B2E-D6D8-C55A-AC15CDCDED78}"/>
                  </a:ext>
                </a:extLst>
              </p:cNvPr>
              <p:cNvSpPr/>
              <p:nvPr/>
            </p:nvSpPr>
            <p:spPr bwMode="auto">
              <a:xfrm>
                <a:off x="4063" y="588"/>
                <a:ext cx="41" cy="180"/>
              </a:xfrm>
              <a:custGeom>
                <a:gdLst>
                  <a:gd name="T0" fmla="*/ 0 w 22"/>
                  <a:gd name="T1" fmla="*/ 99 h 99"/>
                  <a:gd name="T2" fmla="*/ 20 w 22"/>
                  <a:gd name="T3" fmla="*/ 0 h 99"/>
                  <a:gd name="T4" fmla="*/ 0 w 22"/>
                  <a:gd name="T5" fmla="*/ 99 h 99"/>
                </a:gdLst>
                <a:cxnLst>
                  <a:cxn ang="0">
                    <a:pos x="T0" y="T1"/>
                  </a:cxn>
                  <a:cxn ang="0">
                    <a:pos x="T2" y="T3"/>
                  </a:cxn>
                  <a:cxn ang="0">
                    <a:pos x="T4" y="T5"/>
                  </a:cxn>
                </a:cxnLst>
                <a:rect l="0" t="0" r="r" b="b"/>
                <a:pathLst>
                  <a:path w="22" h="99">
                    <a:moveTo>
                      <a:pt x="0" y="99"/>
                    </a:moveTo>
                    <a:cubicBezTo>
                      <a:pt x="11" y="67"/>
                      <a:pt x="14" y="33"/>
                      <a:pt x="20" y="0"/>
                    </a:cubicBezTo>
                    <a:cubicBezTo>
                      <a:pt x="22" y="34"/>
                      <a:pt x="18" y="70"/>
                      <a:pt x="0" y="99"/>
                    </a:cubicBezTo>
                    <a:close/>
                  </a:path>
                </a:pathLst>
              </a:custGeom>
              <a:solidFill>
                <a:srgbClr val="A355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6" name="Freeform 272">
                <a:extLst>
                  <a:ext uri="{FF2B5EF4-FFF2-40B4-BE49-F238E27FC236}">
                    <a16:creationId xmlns:a16="http://schemas.microsoft.com/office/drawing/2014/main" id="{F72B2124-0603-4419-BB29-C57A6A0FDA3D}"/>
                  </a:ext>
                </a:extLst>
              </p:cNvPr>
              <p:cNvSpPr/>
              <p:nvPr/>
            </p:nvSpPr>
            <p:spPr bwMode="auto">
              <a:xfrm>
                <a:off x="3907" y="1566"/>
                <a:ext cx="233" cy="423"/>
              </a:xfrm>
              <a:custGeom>
                <a:gdLst>
                  <a:gd name="T0" fmla="*/ 127 w 128"/>
                  <a:gd name="T1" fmla="*/ 0 h 232"/>
                  <a:gd name="T2" fmla="*/ 36 w 128"/>
                  <a:gd name="T3" fmla="*/ 30 h 232"/>
                  <a:gd name="T4" fmla="*/ 0 w 128"/>
                  <a:gd name="T5" fmla="*/ 135 h 232"/>
                  <a:gd name="T6" fmla="*/ 0 w 128"/>
                  <a:gd name="T7" fmla="*/ 232 h 232"/>
                  <a:gd name="T8" fmla="*/ 127 w 128"/>
                  <a:gd name="T9" fmla="*/ 95 h 232"/>
                  <a:gd name="T10" fmla="*/ 127 w 128"/>
                  <a:gd name="T11" fmla="*/ 0 h 232"/>
                </a:gdLst>
                <a:cxnLst>
                  <a:cxn ang="0">
                    <a:pos x="T0" y="T1"/>
                  </a:cxn>
                  <a:cxn ang="0">
                    <a:pos x="T2" y="T3"/>
                  </a:cxn>
                  <a:cxn ang="0">
                    <a:pos x="T4" y="T5"/>
                  </a:cxn>
                  <a:cxn ang="0">
                    <a:pos x="T6" y="T7"/>
                  </a:cxn>
                  <a:cxn ang="0">
                    <a:pos x="T8" y="T9"/>
                  </a:cxn>
                  <a:cxn ang="0">
                    <a:pos x="T10" y="T11"/>
                  </a:cxn>
                </a:cxnLst>
                <a:rect l="0" t="0" r="r" b="b"/>
                <a:pathLst>
                  <a:path w="128" h="231">
                    <a:moveTo>
                      <a:pt x="127" y="0"/>
                    </a:moveTo>
                    <a:cubicBezTo>
                      <a:pt x="127" y="0"/>
                      <a:pt x="72" y="25"/>
                      <a:pt x="36" y="30"/>
                    </a:cubicBezTo>
                    <a:cubicBezTo>
                      <a:pt x="0" y="135"/>
                      <a:pt x="0" y="135"/>
                      <a:pt x="0" y="135"/>
                    </a:cubicBezTo>
                    <a:cubicBezTo>
                      <a:pt x="0" y="232"/>
                      <a:pt x="0" y="232"/>
                      <a:pt x="0" y="232"/>
                    </a:cubicBezTo>
                    <a:cubicBezTo>
                      <a:pt x="0" y="232"/>
                      <a:pt x="109" y="158"/>
                      <a:pt x="127" y="95"/>
                    </a:cubicBezTo>
                    <a:cubicBezTo>
                      <a:pt x="128" y="36"/>
                      <a:pt x="127" y="0"/>
                      <a:pt x="127" y="0"/>
                    </a:cubicBezTo>
                    <a:close/>
                  </a:path>
                </a:pathLst>
              </a:cu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7" name="Freeform 273">
                <a:extLst>
                  <a:ext uri="{FF2B5EF4-FFF2-40B4-BE49-F238E27FC236}">
                    <a16:creationId xmlns:a16="http://schemas.microsoft.com/office/drawing/2014/main" id="{8989CF80-70AD-D176-9A93-05E08D01D3DA}"/>
                  </a:ext>
                </a:extLst>
              </p:cNvPr>
              <p:cNvSpPr/>
              <p:nvPr/>
            </p:nvSpPr>
            <p:spPr bwMode="auto">
              <a:xfrm>
                <a:off x="3673" y="1566"/>
                <a:ext cx="234" cy="423"/>
              </a:xfrm>
              <a:custGeom>
                <a:gdLst>
                  <a:gd name="T0" fmla="*/ 1 w 128"/>
                  <a:gd name="T1" fmla="*/ 0 h 232"/>
                  <a:gd name="T2" fmla="*/ 92 w 128"/>
                  <a:gd name="T3" fmla="*/ 30 h 232"/>
                  <a:gd name="T4" fmla="*/ 128 w 128"/>
                  <a:gd name="T5" fmla="*/ 135 h 232"/>
                  <a:gd name="T6" fmla="*/ 128 w 128"/>
                  <a:gd name="T7" fmla="*/ 232 h 232"/>
                  <a:gd name="T8" fmla="*/ 1 w 128"/>
                  <a:gd name="T9" fmla="*/ 95 h 232"/>
                  <a:gd name="T10" fmla="*/ 1 w 128"/>
                  <a:gd name="T11" fmla="*/ 0 h 232"/>
                </a:gdLst>
                <a:cxnLst>
                  <a:cxn ang="0">
                    <a:pos x="T0" y="T1"/>
                  </a:cxn>
                  <a:cxn ang="0">
                    <a:pos x="T2" y="T3"/>
                  </a:cxn>
                  <a:cxn ang="0">
                    <a:pos x="T4" y="T5"/>
                  </a:cxn>
                  <a:cxn ang="0">
                    <a:pos x="T6" y="T7"/>
                  </a:cxn>
                  <a:cxn ang="0">
                    <a:pos x="T8" y="T9"/>
                  </a:cxn>
                  <a:cxn ang="0">
                    <a:pos x="T10" y="T11"/>
                  </a:cxn>
                </a:cxnLst>
                <a:rect l="0" t="0" r="r" b="b"/>
                <a:pathLst>
                  <a:path w="128" h="231">
                    <a:moveTo>
                      <a:pt x="1" y="0"/>
                    </a:moveTo>
                    <a:cubicBezTo>
                      <a:pt x="1" y="0"/>
                      <a:pt x="57" y="25"/>
                      <a:pt x="92" y="30"/>
                    </a:cubicBezTo>
                    <a:cubicBezTo>
                      <a:pt x="128" y="135"/>
                      <a:pt x="128" y="135"/>
                      <a:pt x="128" y="135"/>
                    </a:cubicBezTo>
                    <a:cubicBezTo>
                      <a:pt x="128" y="232"/>
                      <a:pt x="128" y="232"/>
                      <a:pt x="128" y="232"/>
                    </a:cubicBezTo>
                    <a:cubicBezTo>
                      <a:pt x="128" y="232"/>
                      <a:pt x="20" y="158"/>
                      <a:pt x="1" y="95"/>
                    </a:cubicBezTo>
                    <a:cubicBezTo>
                      <a:pt x="0" y="36"/>
                      <a:pt x="1" y="0"/>
                      <a:pt x="1" y="0"/>
                    </a:cubicBezTo>
                    <a:close/>
                  </a:path>
                </a:pathLst>
              </a:cu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8" name="Freeform 274">
                <a:extLst>
                  <a:ext uri="{FF2B5EF4-FFF2-40B4-BE49-F238E27FC236}">
                    <a16:creationId xmlns:a16="http://schemas.microsoft.com/office/drawing/2014/main" id="{A31E4D51-4186-3BC0-3A81-B9F1CD2896A9}"/>
                  </a:ext>
                </a:extLst>
              </p:cNvPr>
              <p:cNvSpPr/>
              <p:nvPr/>
            </p:nvSpPr>
            <p:spPr bwMode="auto">
              <a:xfrm>
                <a:off x="5149" y="2276"/>
                <a:ext cx="482" cy="434"/>
              </a:xfrm>
              <a:custGeom>
                <a:gdLst>
                  <a:gd name="T0" fmla="*/ 75 w 264"/>
                  <a:gd name="T1" fmla="*/ 0 h 238"/>
                  <a:gd name="T2" fmla="*/ 0 w 264"/>
                  <a:gd name="T3" fmla="*/ 89 h 238"/>
                  <a:gd name="T4" fmla="*/ 202 w 264"/>
                  <a:gd name="T5" fmla="*/ 238 h 238"/>
                  <a:gd name="T6" fmla="*/ 264 w 264"/>
                  <a:gd name="T7" fmla="*/ 144 h 238"/>
                  <a:gd name="T8" fmla="*/ 75 w 264"/>
                  <a:gd name="T9" fmla="*/ 0 h 238"/>
                </a:gdLst>
                <a:cxnLst>
                  <a:cxn ang="0">
                    <a:pos x="T0" y="T1"/>
                  </a:cxn>
                  <a:cxn ang="0">
                    <a:pos x="T2" y="T3"/>
                  </a:cxn>
                  <a:cxn ang="0">
                    <a:pos x="T4" y="T5"/>
                  </a:cxn>
                  <a:cxn ang="0">
                    <a:pos x="T6" y="T7"/>
                  </a:cxn>
                  <a:cxn ang="0">
                    <a:pos x="T8" y="T9"/>
                  </a:cxn>
                </a:cxnLst>
                <a:rect l="0" t="0" r="r" b="b"/>
                <a:pathLst>
                  <a:path w="264" h="238">
                    <a:moveTo>
                      <a:pt x="75" y="0"/>
                    </a:moveTo>
                    <a:cubicBezTo>
                      <a:pt x="0" y="89"/>
                      <a:pt x="0" y="89"/>
                      <a:pt x="0" y="89"/>
                    </a:cubicBezTo>
                    <a:cubicBezTo>
                      <a:pt x="42" y="137"/>
                      <a:pt x="115" y="208"/>
                      <a:pt x="202" y="238"/>
                    </a:cubicBezTo>
                    <a:cubicBezTo>
                      <a:pt x="221" y="209"/>
                      <a:pt x="242" y="178"/>
                      <a:pt x="264" y="144"/>
                    </a:cubicBezTo>
                    <a:cubicBezTo>
                      <a:pt x="137" y="120"/>
                      <a:pt x="75" y="0"/>
                      <a:pt x="75" y="0"/>
                    </a:cubicBezTo>
                    <a:close/>
                  </a:path>
                </a:pathLst>
              </a:custGeom>
              <a:solidFill>
                <a:srgbClr val="D3C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19" name="Freeform 275">
                <a:extLst>
                  <a:ext uri="{FF2B5EF4-FFF2-40B4-BE49-F238E27FC236}">
                    <a16:creationId xmlns:a16="http://schemas.microsoft.com/office/drawing/2014/main" id="{8ECF8BC8-509D-3504-8EF5-FBF3EF9985D9}"/>
                  </a:ext>
                </a:extLst>
              </p:cNvPr>
              <p:cNvSpPr/>
              <p:nvPr/>
            </p:nvSpPr>
            <p:spPr bwMode="auto">
              <a:xfrm>
                <a:off x="4777" y="2603"/>
                <a:ext cx="237" cy="275"/>
              </a:xfrm>
              <a:custGeom>
                <a:gdLst>
                  <a:gd name="T0" fmla="*/ 232 w 237"/>
                  <a:gd name="T1" fmla="*/ 0 h 275"/>
                  <a:gd name="T2" fmla="*/ 0 w 237"/>
                  <a:gd name="T3" fmla="*/ 270 h 275"/>
                  <a:gd name="T4" fmla="*/ 5 w 237"/>
                  <a:gd name="T5" fmla="*/ 275 h 275"/>
                  <a:gd name="T6" fmla="*/ 237 w 237"/>
                  <a:gd name="T7" fmla="*/ 5 h 275"/>
                  <a:gd name="T8" fmla="*/ 232 w 237"/>
                  <a:gd name="T9" fmla="*/ 0 h 275"/>
                </a:gdLst>
                <a:cxnLst>
                  <a:cxn ang="0">
                    <a:pos x="T0" y="T1"/>
                  </a:cxn>
                  <a:cxn ang="0">
                    <a:pos x="T2" y="T3"/>
                  </a:cxn>
                  <a:cxn ang="0">
                    <a:pos x="T4" y="T5"/>
                  </a:cxn>
                  <a:cxn ang="0">
                    <a:pos x="T6" y="T7"/>
                  </a:cxn>
                  <a:cxn ang="0">
                    <a:pos x="T8" y="T9"/>
                  </a:cxn>
                </a:cxnLst>
                <a:rect l="0" t="0" r="r" b="b"/>
                <a:pathLst>
                  <a:path w="236" h="275">
                    <a:moveTo>
                      <a:pt x="232" y="0"/>
                    </a:moveTo>
                    <a:lnTo>
                      <a:pt x="0" y="270"/>
                    </a:lnTo>
                    <a:lnTo>
                      <a:pt x="5" y="275"/>
                    </a:lnTo>
                    <a:lnTo>
                      <a:pt x="237" y="5"/>
                    </a:lnTo>
                    <a:lnTo>
                      <a:pt x="232" y="0"/>
                    </a:lnTo>
                    <a:close/>
                  </a:path>
                </a:pathLst>
              </a:custGeom>
              <a:solidFill>
                <a:srgbClr val="9B94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0" name="Freeform 276">
                <a:extLst>
                  <a:ext uri="{FF2B5EF4-FFF2-40B4-BE49-F238E27FC236}">
                    <a16:creationId xmlns:a16="http://schemas.microsoft.com/office/drawing/2014/main" id="{1478B307-30B4-B791-8367-F52BDD6957F9}"/>
                  </a:ext>
                </a:extLst>
              </p:cNvPr>
              <p:cNvSpPr/>
              <p:nvPr/>
            </p:nvSpPr>
            <p:spPr bwMode="auto">
              <a:xfrm>
                <a:off x="4777" y="2603"/>
                <a:ext cx="237" cy="275"/>
              </a:xfrm>
              <a:custGeom>
                <a:gdLst>
                  <a:gd name="T0" fmla="*/ 232 w 237"/>
                  <a:gd name="T1" fmla="*/ 0 h 275"/>
                  <a:gd name="T2" fmla="*/ 0 w 237"/>
                  <a:gd name="T3" fmla="*/ 270 h 275"/>
                  <a:gd name="T4" fmla="*/ 5 w 237"/>
                  <a:gd name="T5" fmla="*/ 275 h 275"/>
                  <a:gd name="T6" fmla="*/ 237 w 237"/>
                  <a:gd name="T7" fmla="*/ 5 h 275"/>
                </a:gdLst>
                <a:cxnLst>
                  <a:cxn ang="0">
                    <a:pos x="T0" y="T1"/>
                  </a:cxn>
                  <a:cxn ang="0">
                    <a:pos x="T2" y="T3"/>
                  </a:cxn>
                  <a:cxn ang="0">
                    <a:pos x="T4" y="T5"/>
                  </a:cxn>
                  <a:cxn ang="0">
                    <a:pos x="T6" y="T7"/>
                  </a:cxn>
                </a:cxnLst>
                <a:rect l="0" t="0" r="r" b="b"/>
                <a:pathLst>
                  <a:path w="236" h="275">
                    <a:moveTo>
                      <a:pt x="232" y="0"/>
                    </a:moveTo>
                    <a:lnTo>
                      <a:pt x="0" y="270"/>
                    </a:lnTo>
                    <a:lnTo>
                      <a:pt x="5" y="275"/>
                    </a:lnTo>
                    <a:lnTo>
                      <a:pt x="23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1" name="Freeform 277">
                <a:extLst>
                  <a:ext uri="{FF2B5EF4-FFF2-40B4-BE49-F238E27FC236}">
                    <a16:creationId xmlns:a16="http://schemas.microsoft.com/office/drawing/2014/main" id="{7ED92588-5183-BD5D-603D-044686705D4C}"/>
                  </a:ext>
                </a:extLst>
              </p:cNvPr>
              <p:cNvSpPr/>
              <p:nvPr/>
            </p:nvSpPr>
            <p:spPr bwMode="auto">
              <a:xfrm>
                <a:off x="4746" y="2707"/>
                <a:ext cx="184" cy="82"/>
              </a:xfrm>
              <a:custGeom>
                <a:gdLst>
                  <a:gd name="T0" fmla="*/ 3 w 184"/>
                  <a:gd name="T1" fmla="*/ 82 h 82"/>
                  <a:gd name="T2" fmla="*/ 184 w 184"/>
                  <a:gd name="T3" fmla="*/ 7 h 82"/>
                  <a:gd name="T4" fmla="*/ 180 w 184"/>
                  <a:gd name="T5" fmla="*/ 0 h 82"/>
                  <a:gd name="T6" fmla="*/ 0 w 184"/>
                  <a:gd name="T7" fmla="*/ 74 h 82"/>
                  <a:gd name="T8" fmla="*/ 3 w 184"/>
                  <a:gd name="T9" fmla="*/ 82 h 82"/>
                </a:gdLst>
                <a:cxnLst>
                  <a:cxn ang="0">
                    <a:pos x="T0" y="T1"/>
                  </a:cxn>
                  <a:cxn ang="0">
                    <a:pos x="T2" y="T3"/>
                  </a:cxn>
                  <a:cxn ang="0">
                    <a:pos x="T4" y="T5"/>
                  </a:cxn>
                  <a:cxn ang="0">
                    <a:pos x="T6" y="T7"/>
                  </a:cxn>
                  <a:cxn ang="0">
                    <a:pos x="T8" y="T9"/>
                  </a:cxn>
                </a:cxnLst>
                <a:rect l="0" t="0" r="r" b="b"/>
                <a:pathLst>
                  <a:path w="184" h="82">
                    <a:moveTo>
                      <a:pt x="3" y="82"/>
                    </a:moveTo>
                    <a:lnTo>
                      <a:pt x="184" y="7"/>
                    </a:lnTo>
                    <a:lnTo>
                      <a:pt x="180" y="0"/>
                    </a:lnTo>
                    <a:lnTo>
                      <a:pt x="0" y="74"/>
                    </a:lnTo>
                    <a:lnTo>
                      <a:pt x="3" y="82"/>
                    </a:lnTo>
                    <a:close/>
                  </a:path>
                </a:pathLst>
              </a:custGeom>
              <a:solidFill>
                <a:srgbClr val="9B94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2" name="Freeform 278">
                <a:extLst>
                  <a:ext uri="{FF2B5EF4-FFF2-40B4-BE49-F238E27FC236}">
                    <a16:creationId xmlns:a16="http://schemas.microsoft.com/office/drawing/2014/main" id="{34824996-4A6F-4236-B427-816CF8601A44}"/>
                  </a:ext>
                </a:extLst>
              </p:cNvPr>
              <p:cNvSpPr/>
              <p:nvPr/>
            </p:nvSpPr>
            <p:spPr bwMode="auto">
              <a:xfrm>
                <a:off x="4746" y="2707"/>
                <a:ext cx="184" cy="82"/>
              </a:xfrm>
              <a:custGeom>
                <a:gdLst>
                  <a:gd name="T0" fmla="*/ 3 w 184"/>
                  <a:gd name="T1" fmla="*/ 82 h 82"/>
                  <a:gd name="T2" fmla="*/ 184 w 184"/>
                  <a:gd name="T3" fmla="*/ 7 h 82"/>
                  <a:gd name="T4" fmla="*/ 180 w 184"/>
                  <a:gd name="T5" fmla="*/ 0 h 82"/>
                  <a:gd name="T6" fmla="*/ 0 w 184"/>
                  <a:gd name="T7" fmla="*/ 74 h 82"/>
                </a:gdLst>
                <a:cxnLst>
                  <a:cxn ang="0">
                    <a:pos x="T0" y="T1"/>
                  </a:cxn>
                  <a:cxn ang="0">
                    <a:pos x="T2" y="T3"/>
                  </a:cxn>
                  <a:cxn ang="0">
                    <a:pos x="T4" y="T5"/>
                  </a:cxn>
                  <a:cxn ang="0">
                    <a:pos x="T6" y="T7"/>
                  </a:cxn>
                </a:cxnLst>
                <a:rect l="0" t="0" r="r" b="b"/>
                <a:pathLst>
                  <a:path w="184" h="82">
                    <a:moveTo>
                      <a:pt x="3" y="82"/>
                    </a:moveTo>
                    <a:lnTo>
                      <a:pt x="184" y="7"/>
                    </a:lnTo>
                    <a:lnTo>
                      <a:pt x="180" y="0"/>
                    </a:lnTo>
                    <a:lnTo>
                      <a:pt x="0"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3" name="Freeform 279">
                <a:extLst>
                  <a:ext uri="{FF2B5EF4-FFF2-40B4-BE49-F238E27FC236}">
                    <a16:creationId xmlns:a16="http://schemas.microsoft.com/office/drawing/2014/main" id="{61840AF4-1CD4-7420-B366-B7F5D4167D74}"/>
                  </a:ext>
                </a:extLst>
              </p:cNvPr>
              <p:cNvSpPr/>
              <p:nvPr/>
            </p:nvSpPr>
            <p:spPr bwMode="auto">
              <a:xfrm>
                <a:off x="4695" y="3083"/>
                <a:ext cx="449" cy="281"/>
              </a:xfrm>
              <a:custGeom>
                <a:gdLst>
                  <a:gd name="T0" fmla="*/ 246 w 246"/>
                  <a:gd name="T1" fmla="*/ 81 h 154"/>
                  <a:gd name="T2" fmla="*/ 123 w 246"/>
                  <a:gd name="T3" fmla="*/ 0 h 154"/>
                  <a:gd name="T4" fmla="*/ 0 w 246"/>
                  <a:gd name="T5" fmla="*/ 80 h 154"/>
                  <a:gd name="T6" fmla="*/ 85 w 246"/>
                  <a:gd name="T7" fmla="*/ 149 h 154"/>
                  <a:gd name="T8" fmla="*/ 246 w 246"/>
                  <a:gd name="T9" fmla="*/ 81 h 154"/>
                </a:gdLst>
                <a:cxnLst>
                  <a:cxn ang="0">
                    <a:pos x="T0" y="T1"/>
                  </a:cxn>
                  <a:cxn ang="0">
                    <a:pos x="T2" y="T3"/>
                  </a:cxn>
                  <a:cxn ang="0">
                    <a:pos x="T4" y="T5"/>
                  </a:cxn>
                  <a:cxn ang="0">
                    <a:pos x="T6" y="T7"/>
                  </a:cxn>
                  <a:cxn ang="0">
                    <a:pos x="T8" y="T9"/>
                  </a:cxn>
                </a:cxnLst>
                <a:rect l="0" t="0" r="r" b="b"/>
                <a:pathLst>
                  <a:path w="246" h="154">
                    <a:moveTo>
                      <a:pt x="246" y="81"/>
                    </a:moveTo>
                    <a:cubicBezTo>
                      <a:pt x="225" y="34"/>
                      <a:pt x="178" y="0"/>
                      <a:pt x="123" y="0"/>
                    </a:cubicBezTo>
                    <a:cubicBezTo>
                      <a:pt x="68" y="0"/>
                      <a:pt x="21" y="33"/>
                      <a:pt x="0" y="80"/>
                    </a:cubicBezTo>
                    <a:cubicBezTo>
                      <a:pt x="24" y="118"/>
                      <a:pt x="52" y="146"/>
                      <a:pt x="85" y="149"/>
                    </a:cubicBezTo>
                    <a:cubicBezTo>
                      <a:pt x="146" y="154"/>
                      <a:pt x="186" y="145"/>
                      <a:pt x="246" y="81"/>
                    </a:cubicBezTo>
                    <a:close/>
                  </a:path>
                </a:pathLst>
              </a:custGeom>
              <a:solidFill>
                <a:srgbClr val="D3C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4" name="Freeform 280">
                <a:extLst>
                  <a:ext uri="{FF2B5EF4-FFF2-40B4-BE49-F238E27FC236}">
                    <a16:creationId xmlns:a16="http://schemas.microsoft.com/office/drawing/2014/main" id="{6659F26B-6370-0A25-96E1-BE0ED5A7DA54}"/>
                  </a:ext>
                </a:extLst>
              </p:cNvPr>
              <p:cNvSpPr/>
              <p:nvPr/>
            </p:nvSpPr>
            <p:spPr bwMode="auto">
              <a:xfrm>
                <a:off x="3907" y="1604"/>
                <a:ext cx="127" cy="385"/>
              </a:xfrm>
              <a:custGeom>
                <a:gdLst>
                  <a:gd name="T0" fmla="*/ 36 w 70"/>
                  <a:gd name="T1" fmla="*/ 9 h 211"/>
                  <a:gd name="T2" fmla="*/ 0 w 70"/>
                  <a:gd name="T3" fmla="*/ 114 h 211"/>
                  <a:gd name="T4" fmla="*/ 0 w 70"/>
                  <a:gd name="T5" fmla="*/ 211 h 211"/>
                  <a:gd name="T6" fmla="*/ 24 w 70"/>
                  <a:gd name="T7" fmla="*/ 193 h 211"/>
                  <a:gd name="T8" fmla="*/ 70 w 70"/>
                  <a:gd name="T9" fmla="*/ 0 h 211"/>
                  <a:gd name="T10" fmla="*/ 36 w 70"/>
                  <a:gd name="T11" fmla="*/ 9 h 211"/>
                </a:gdLst>
                <a:cxnLst>
                  <a:cxn ang="0">
                    <a:pos x="T0" y="T1"/>
                  </a:cxn>
                  <a:cxn ang="0">
                    <a:pos x="T2" y="T3"/>
                  </a:cxn>
                  <a:cxn ang="0">
                    <a:pos x="T4" y="T5"/>
                  </a:cxn>
                  <a:cxn ang="0">
                    <a:pos x="T6" y="T7"/>
                  </a:cxn>
                  <a:cxn ang="0">
                    <a:pos x="T8" y="T9"/>
                  </a:cxn>
                  <a:cxn ang="0">
                    <a:pos x="T10" y="T11"/>
                  </a:cxn>
                </a:cxnLst>
                <a:rect l="0" t="0" r="r" b="b"/>
                <a:pathLst>
                  <a:path w="70" h="211">
                    <a:moveTo>
                      <a:pt x="36" y="9"/>
                    </a:moveTo>
                    <a:cubicBezTo>
                      <a:pt x="0" y="114"/>
                      <a:pt x="0" y="114"/>
                      <a:pt x="0" y="114"/>
                    </a:cubicBezTo>
                    <a:cubicBezTo>
                      <a:pt x="0" y="211"/>
                      <a:pt x="0" y="211"/>
                      <a:pt x="0" y="211"/>
                    </a:cubicBezTo>
                    <a:cubicBezTo>
                      <a:pt x="0" y="211"/>
                      <a:pt x="10" y="204"/>
                      <a:pt x="24" y="193"/>
                    </a:cubicBezTo>
                    <a:cubicBezTo>
                      <a:pt x="16" y="109"/>
                      <a:pt x="70" y="0"/>
                      <a:pt x="70" y="0"/>
                    </a:cubicBezTo>
                    <a:cubicBezTo>
                      <a:pt x="58" y="4"/>
                      <a:pt x="46" y="7"/>
                      <a:pt x="36" y="9"/>
                    </a:cubicBezTo>
                    <a:close/>
                  </a:path>
                </a:pathLst>
              </a:custGeom>
              <a:solidFill>
                <a:srgbClr val="006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5" name="Freeform 281">
                <a:extLst>
                  <a:ext uri="{FF2B5EF4-FFF2-40B4-BE49-F238E27FC236}">
                    <a16:creationId xmlns:a16="http://schemas.microsoft.com/office/drawing/2014/main" id="{F7ED40A0-0CFB-A1FE-6BAA-5A22BA120F89}"/>
                  </a:ext>
                </a:extLst>
              </p:cNvPr>
              <p:cNvSpPr/>
              <p:nvPr/>
            </p:nvSpPr>
            <p:spPr bwMode="auto">
              <a:xfrm>
                <a:off x="3779" y="1604"/>
                <a:ext cx="128" cy="385"/>
              </a:xfrm>
              <a:custGeom>
                <a:gdLst>
                  <a:gd name="T0" fmla="*/ 34 w 70"/>
                  <a:gd name="T1" fmla="*/ 9 h 211"/>
                  <a:gd name="T2" fmla="*/ 70 w 70"/>
                  <a:gd name="T3" fmla="*/ 114 h 211"/>
                  <a:gd name="T4" fmla="*/ 70 w 70"/>
                  <a:gd name="T5" fmla="*/ 211 h 211"/>
                  <a:gd name="T6" fmla="*/ 46 w 70"/>
                  <a:gd name="T7" fmla="*/ 193 h 211"/>
                  <a:gd name="T8" fmla="*/ 0 w 70"/>
                  <a:gd name="T9" fmla="*/ 0 h 211"/>
                  <a:gd name="T10" fmla="*/ 34 w 70"/>
                  <a:gd name="T11" fmla="*/ 9 h 211"/>
                </a:gdLst>
                <a:cxnLst>
                  <a:cxn ang="0">
                    <a:pos x="T0" y="T1"/>
                  </a:cxn>
                  <a:cxn ang="0">
                    <a:pos x="T2" y="T3"/>
                  </a:cxn>
                  <a:cxn ang="0">
                    <a:pos x="T4" y="T5"/>
                  </a:cxn>
                  <a:cxn ang="0">
                    <a:pos x="T6" y="T7"/>
                  </a:cxn>
                  <a:cxn ang="0">
                    <a:pos x="T8" y="T9"/>
                  </a:cxn>
                  <a:cxn ang="0">
                    <a:pos x="T10" y="T11"/>
                  </a:cxn>
                </a:cxnLst>
                <a:rect l="0" t="0" r="r" b="b"/>
                <a:pathLst>
                  <a:path w="70" h="211">
                    <a:moveTo>
                      <a:pt x="34" y="9"/>
                    </a:moveTo>
                    <a:cubicBezTo>
                      <a:pt x="70" y="114"/>
                      <a:pt x="70" y="114"/>
                      <a:pt x="70" y="114"/>
                    </a:cubicBezTo>
                    <a:cubicBezTo>
                      <a:pt x="70" y="211"/>
                      <a:pt x="70" y="211"/>
                      <a:pt x="70" y="211"/>
                    </a:cubicBezTo>
                    <a:cubicBezTo>
                      <a:pt x="70" y="211"/>
                      <a:pt x="60" y="204"/>
                      <a:pt x="46" y="193"/>
                    </a:cubicBezTo>
                    <a:cubicBezTo>
                      <a:pt x="54" y="109"/>
                      <a:pt x="0" y="0"/>
                      <a:pt x="0" y="0"/>
                    </a:cubicBezTo>
                    <a:cubicBezTo>
                      <a:pt x="12" y="4"/>
                      <a:pt x="24" y="7"/>
                      <a:pt x="34" y="9"/>
                    </a:cubicBezTo>
                    <a:close/>
                  </a:path>
                </a:pathLst>
              </a:custGeom>
              <a:solidFill>
                <a:srgbClr val="006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6" name="Oval 282">
                <a:extLst>
                  <a:ext uri="{FF2B5EF4-FFF2-40B4-BE49-F238E27FC236}">
                    <a16:creationId xmlns:a16="http://schemas.microsoft.com/office/drawing/2014/main" id="{9834F014-171E-EAC7-283F-9FB572F9E624}"/>
                  </a:ext>
                </a:extLst>
              </p:cNvPr>
              <p:cNvSpPr>
                <a:spLocks noChangeArrowheads="1"/>
              </p:cNvSpPr>
              <p:nvPr/>
            </p:nvSpPr>
            <p:spPr bwMode="auto">
              <a:xfrm>
                <a:off x="4018" y="2081"/>
                <a:ext cx="93" cy="93"/>
              </a:xfrm>
              <a:prstGeom prst="ellipse">
                <a:avLst/>
              </a:prstGeom>
              <a:solidFill>
                <a:srgbClr val="2D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7" name="Oval 283">
                <a:extLst>
                  <a:ext uri="{FF2B5EF4-FFF2-40B4-BE49-F238E27FC236}">
                    <a16:creationId xmlns:a16="http://schemas.microsoft.com/office/drawing/2014/main" id="{35A6C015-A141-891F-B8D0-A90AC6EF512A}"/>
                  </a:ext>
                </a:extLst>
              </p:cNvPr>
              <p:cNvSpPr>
                <a:spLocks noChangeArrowheads="1"/>
              </p:cNvSpPr>
              <p:nvPr/>
            </p:nvSpPr>
            <p:spPr bwMode="auto">
              <a:xfrm>
                <a:off x="4018" y="2497"/>
                <a:ext cx="93" cy="93"/>
              </a:xfrm>
              <a:prstGeom prst="ellipse">
                <a:avLst/>
              </a:prstGeom>
              <a:solidFill>
                <a:srgbClr val="2D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8" name="Oval 284">
                <a:extLst>
                  <a:ext uri="{FF2B5EF4-FFF2-40B4-BE49-F238E27FC236}">
                    <a16:creationId xmlns:a16="http://schemas.microsoft.com/office/drawing/2014/main" id="{46EBB289-736A-D72A-662E-3EF7A1F97EFB}"/>
                  </a:ext>
                </a:extLst>
              </p:cNvPr>
              <p:cNvSpPr>
                <a:spLocks noChangeArrowheads="1"/>
              </p:cNvSpPr>
              <p:nvPr/>
            </p:nvSpPr>
            <p:spPr bwMode="auto">
              <a:xfrm>
                <a:off x="4018" y="2913"/>
                <a:ext cx="93" cy="91"/>
              </a:xfrm>
              <a:prstGeom prst="ellipse">
                <a:avLst/>
              </a:prstGeom>
              <a:solidFill>
                <a:srgbClr val="2D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9" name="Oval 285">
                <a:extLst>
                  <a:ext uri="{FF2B5EF4-FFF2-40B4-BE49-F238E27FC236}">
                    <a16:creationId xmlns:a16="http://schemas.microsoft.com/office/drawing/2014/main" id="{81C5A646-4711-8495-11E4-70269B5088D7}"/>
                  </a:ext>
                </a:extLst>
              </p:cNvPr>
              <p:cNvSpPr>
                <a:spLocks noChangeArrowheads="1"/>
              </p:cNvSpPr>
              <p:nvPr/>
            </p:nvSpPr>
            <p:spPr bwMode="auto">
              <a:xfrm>
                <a:off x="4018" y="3329"/>
                <a:ext cx="93" cy="91"/>
              </a:xfrm>
              <a:prstGeom prst="ellipse">
                <a:avLst/>
              </a:prstGeom>
              <a:solidFill>
                <a:srgbClr val="2D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30" name="Oval 286">
                <a:extLst>
                  <a:ext uri="{FF2B5EF4-FFF2-40B4-BE49-F238E27FC236}">
                    <a16:creationId xmlns:a16="http://schemas.microsoft.com/office/drawing/2014/main" id="{01126362-18EB-2544-3476-5A3D5BECB2C1}"/>
                  </a:ext>
                </a:extLst>
              </p:cNvPr>
              <p:cNvSpPr>
                <a:spLocks noChangeArrowheads="1"/>
              </p:cNvSpPr>
              <p:nvPr/>
            </p:nvSpPr>
            <p:spPr bwMode="auto">
              <a:xfrm>
                <a:off x="4018" y="3743"/>
                <a:ext cx="93" cy="93"/>
              </a:xfrm>
              <a:prstGeom prst="ellipse">
                <a:avLst/>
              </a:prstGeom>
              <a:solidFill>
                <a:srgbClr val="2D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31" name="Freeform 287">
                <a:extLst>
                  <a:ext uri="{FF2B5EF4-FFF2-40B4-BE49-F238E27FC236}">
                    <a16:creationId xmlns:a16="http://schemas.microsoft.com/office/drawing/2014/main" id="{45E220CA-E0D1-6A3C-33B1-01B45819A961}"/>
                  </a:ext>
                </a:extLst>
              </p:cNvPr>
              <p:cNvSpPr/>
              <p:nvPr/>
            </p:nvSpPr>
            <p:spPr bwMode="auto">
              <a:xfrm>
                <a:off x="3109" y="3906"/>
                <a:ext cx="1588" cy="259"/>
              </a:xfrm>
              <a:custGeom>
                <a:gdLst>
                  <a:gd name="T0" fmla="*/ 861 w 870"/>
                  <a:gd name="T1" fmla="*/ 0 h 142"/>
                  <a:gd name="T2" fmla="*/ 435 w 870"/>
                  <a:gd name="T3" fmla="*/ 66 h 142"/>
                  <a:gd name="T4" fmla="*/ 9 w 870"/>
                  <a:gd name="T5" fmla="*/ 0 h 142"/>
                  <a:gd name="T6" fmla="*/ 0 w 870"/>
                  <a:gd name="T7" fmla="*/ 76 h 142"/>
                  <a:gd name="T8" fmla="*/ 435 w 870"/>
                  <a:gd name="T9" fmla="*/ 137 h 142"/>
                  <a:gd name="T10" fmla="*/ 870 w 870"/>
                  <a:gd name="T11" fmla="*/ 76 h 142"/>
                  <a:gd name="T12" fmla="*/ 861 w 870"/>
                  <a:gd name="T13" fmla="*/ 0 h 142"/>
                </a:gdLst>
                <a:cxnLst>
                  <a:cxn ang="0">
                    <a:pos x="T0" y="T1"/>
                  </a:cxn>
                  <a:cxn ang="0">
                    <a:pos x="T2" y="T3"/>
                  </a:cxn>
                  <a:cxn ang="0">
                    <a:pos x="T4" y="T5"/>
                  </a:cxn>
                  <a:cxn ang="0">
                    <a:pos x="T6" y="T7"/>
                  </a:cxn>
                  <a:cxn ang="0">
                    <a:pos x="T8" y="T9"/>
                  </a:cxn>
                  <a:cxn ang="0">
                    <a:pos x="T10" y="T11"/>
                  </a:cxn>
                  <a:cxn ang="0">
                    <a:pos x="T12" y="T13"/>
                  </a:cxn>
                </a:cxnLst>
                <a:rect l="0" t="0" r="r" b="b"/>
                <a:pathLst>
                  <a:path w="870" h="142">
                    <a:moveTo>
                      <a:pt x="861" y="0"/>
                    </a:moveTo>
                    <a:cubicBezTo>
                      <a:pt x="684" y="59"/>
                      <a:pt x="499" y="65"/>
                      <a:pt x="435" y="66"/>
                    </a:cubicBezTo>
                    <a:cubicBezTo>
                      <a:pt x="371" y="65"/>
                      <a:pt x="186" y="59"/>
                      <a:pt x="9" y="0"/>
                    </a:cubicBezTo>
                    <a:cubicBezTo>
                      <a:pt x="5" y="28"/>
                      <a:pt x="2" y="54"/>
                      <a:pt x="0" y="76"/>
                    </a:cubicBezTo>
                    <a:cubicBezTo>
                      <a:pt x="339" y="142"/>
                      <a:pt x="435" y="137"/>
                      <a:pt x="435" y="137"/>
                    </a:cubicBezTo>
                    <a:cubicBezTo>
                      <a:pt x="435" y="137"/>
                      <a:pt x="532" y="142"/>
                      <a:pt x="870" y="76"/>
                    </a:cubicBezTo>
                    <a:cubicBezTo>
                      <a:pt x="868" y="54"/>
                      <a:pt x="865" y="28"/>
                      <a:pt x="861" y="0"/>
                    </a:cubicBezTo>
                    <a:close/>
                  </a:path>
                </a:pathLst>
              </a:custGeom>
              <a:solidFill>
                <a:srgbClr val="006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32" name="Freeform 288">
                <a:extLst>
                  <a:ext uri="{FF2B5EF4-FFF2-40B4-BE49-F238E27FC236}">
                    <a16:creationId xmlns:a16="http://schemas.microsoft.com/office/drawing/2014/main" id="{83BD40CA-9949-4A9D-252E-1BCFD3DA6569}"/>
                  </a:ext>
                </a:extLst>
              </p:cNvPr>
              <p:cNvSpPr/>
              <p:nvPr/>
            </p:nvSpPr>
            <p:spPr bwMode="auto">
              <a:xfrm>
                <a:off x="4467" y="1683"/>
                <a:ext cx="106" cy="1053"/>
              </a:xfrm>
              <a:custGeom>
                <a:gdLst>
                  <a:gd name="T0" fmla="*/ 0 w 58"/>
                  <a:gd name="T1" fmla="*/ 1 h 577"/>
                  <a:gd name="T2" fmla="*/ 3 w 58"/>
                  <a:gd name="T3" fmla="*/ 15 h 577"/>
                  <a:gd name="T4" fmla="*/ 32 w 58"/>
                  <a:gd name="T5" fmla="*/ 212 h 577"/>
                  <a:gd name="T6" fmla="*/ 53 w 58"/>
                  <a:gd name="T7" fmla="*/ 440 h 577"/>
                  <a:gd name="T8" fmla="*/ 53 w 58"/>
                  <a:gd name="T9" fmla="*/ 459 h 577"/>
                  <a:gd name="T10" fmla="*/ 41 w 58"/>
                  <a:gd name="T11" fmla="*/ 555 h 577"/>
                  <a:gd name="T12" fmla="*/ 37 w 58"/>
                  <a:gd name="T13" fmla="*/ 571 h 577"/>
                  <a:gd name="T14" fmla="*/ 35 w 58"/>
                  <a:gd name="T15" fmla="*/ 573 h 577"/>
                  <a:gd name="T16" fmla="*/ 35 w 58"/>
                  <a:gd name="T17" fmla="*/ 574 h 577"/>
                  <a:gd name="T18" fmla="*/ 35 w 58"/>
                  <a:gd name="T19" fmla="*/ 574 h 577"/>
                  <a:gd name="T20" fmla="*/ 36 w 58"/>
                  <a:gd name="T21" fmla="*/ 575 h 577"/>
                  <a:gd name="T22" fmla="*/ 35 w 58"/>
                  <a:gd name="T23" fmla="*/ 574 h 577"/>
                  <a:gd name="T24" fmla="*/ 35 w 58"/>
                  <a:gd name="T25" fmla="*/ 574 h 577"/>
                  <a:gd name="T26" fmla="*/ 36 w 58"/>
                  <a:gd name="T27" fmla="*/ 575 h 577"/>
                  <a:gd name="T28" fmla="*/ 35 w 58"/>
                  <a:gd name="T29" fmla="*/ 574 h 577"/>
                  <a:gd name="T30" fmla="*/ 38 w 58"/>
                  <a:gd name="T31" fmla="*/ 577 h 577"/>
                  <a:gd name="T32" fmla="*/ 45 w 58"/>
                  <a:gd name="T33" fmla="*/ 556 h 577"/>
                  <a:gd name="T34" fmla="*/ 57 w 58"/>
                  <a:gd name="T35" fmla="*/ 459 h 577"/>
                  <a:gd name="T36" fmla="*/ 58 w 58"/>
                  <a:gd name="T37" fmla="*/ 440 h 577"/>
                  <a:gd name="T38" fmla="*/ 31 w 58"/>
                  <a:gd name="T39" fmla="*/ 175 h 577"/>
                  <a:gd name="T40" fmla="*/ 5 w 58"/>
                  <a:gd name="T41" fmla="*/ 0 h 577"/>
                  <a:gd name="T42" fmla="*/ 0 w 58"/>
                  <a:gd name="T43" fmla="*/ 1 h 5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 h="577">
                    <a:moveTo>
                      <a:pt x="0" y="1"/>
                    </a:moveTo>
                    <a:cubicBezTo>
                      <a:pt x="0" y="1"/>
                      <a:pt x="1" y="6"/>
                      <a:pt x="3" y="15"/>
                    </a:cubicBezTo>
                    <a:cubicBezTo>
                      <a:pt x="8" y="46"/>
                      <a:pt x="20" y="126"/>
                      <a:pt x="32" y="212"/>
                    </a:cubicBezTo>
                    <a:cubicBezTo>
                      <a:pt x="43" y="297"/>
                      <a:pt x="53" y="388"/>
                      <a:pt x="53" y="440"/>
                    </a:cubicBezTo>
                    <a:cubicBezTo>
                      <a:pt x="53" y="447"/>
                      <a:pt x="53" y="453"/>
                      <a:pt x="53" y="459"/>
                    </a:cubicBezTo>
                    <a:cubicBezTo>
                      <a:pt x="49" y="510"/>
                      <a:pt x="45" y="539"/>
                      <a:pt x="41" y="555"/>
                    </a:cubicBezTo>
                    <a:cubicBezTo>
                      <a:pt x="39" y="563"/>
                      <a:pt x="38" y="568"/>
                      <a:pt x="37" y="571"/>
                    </a:cubicBezTo>
                    <a:cubicBezTo>
                      <a:pt x="36" y="572"/>
                      <a:pt x="36" y="573"/>
                      <a:pt x="35" y="573"/>
                    </a:cubicBezTo>
                    <a:cubicBezTo>
                      <a:pt x="35" y="574"/>
                      <a:pt x="35" y="574"/>
                      <a:pt x="35" y="574"/>
                    </a:cubicBezTo>
                    <a:cubicBezTo>
                      <a:pt x="35" y="574"/>
                      <a:pt x="35" y="574"/>
                      <a:pt x="35" y="574"/>
                    </a:cubicBezTo>
                    <a:cubicBezTo>
                      <a:pt x="36" y="575"/>
                      <a:pt x="36" y="575"/>
                      <a:pt x="36" y="575"/>
                    </a:cubicBezTo>
                    <a:cubicBezTo>
                      <a:pt x="35" y="574"/>
                      <a:pt x="35" y="574"/>
                      <a:pt x="35" y="574"/>
                    </a:cubicBezTo>
                    <a:cubicBezTo>
                      <a:pt x="35" y="574"/>
                      <a:pt x="35" y="574"/>
                      <a:pt x="35" y="574"/>
                    </a:cubicBezTo>
                    <a:cubicBezTo>
                      <a:pt x="36" y="575"/>
                      <a:pt x="36" y="575"/>
                      <a:pt x="36" y="575"/>
                    </a:cubicBezTo>
                    <a:cubicBezTo>
                      <a:pt x="35" y="574"/>
                      <a:pt x="35" y="574"/>
                      <a:pt x="35" y="574"/>
                    </a:cubicBezTo>
                    <a:cubicBezTo>
                      <a:pt x="38" y="577"/>
                      <a:pt x="38" y="577"/>
                      <a:pt x="38" y="577"/>
                    </a:cubicBezTo>
                    <a:cubicBezTo>
                      <a:pt x="39" y="576"/>
                      <a:pt x="42" y="572"/>
                      <a:pt x="45" y="556"/>
                    </a:cubicBezTo>
                    <a:cubicBezTo>
                      <a:pt x="49" y="539"/>
                      <a:pt x="54" y="510"/>
                      <a:pt x="57" y="459"/>
                    </a:cubicBezTo>
                    <a:cubicBezTo>
                      <a:pt x="57" y="453"/>
                      <a:pt x="58" y="447"/>
                      <a:pt x="58" y="440"/>
                    </a:cubicBezTo>
                    <a:cubicBezTo>
                      <a:pt x="58" y="380"/>
                      <a:pt x="44" y="270"/>
                      <a:pt x="31" y="175"/>
                    </a:cubicBezTo>
                    <a:cubicBezTo>
                      <a:pt x="18" y="80"/>
                      <a:pt x="5" y="0"/>
                      <a:pt x="5" y="0"/>
                    </a:cubicBezTo>
                    <a:cubicBezTo>
                      <a:pt x="0" y="1"/>
                      <a:pt x="0" y="1"/>
                      <a:pt x="0" y="1"/>
                    </a:cubicBezTo>
                    <a:close/>
                  </a:path>
                </a:pathLst>
              </a:custGeom>
              <a:solidFill>
                <a:srgbClr val="9B94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33" name="Freeform 289">
                <a:extLst>
                  <a:ext uri="{FF2B5EF4-FFF2-40B4-BE49-F238E27FC236}">
                    <a16:creationId xmlns:a16="http://schemas.microsoft.com/office/drawing/2014/main" id="{9F6678B4-8B8B-FF4D-4B35-CE4637A64EEB}"/>
                  </a:ext>
                </a:extLst>
              </p:cNvPr>
              <p:cNvSpPr/>
              <p:nvPr/>
            </p:nvSpPr>
            <p:spPr bwMode="auto">
              <a:xfrm>
                <a:off x="5842" y="2081"/>
                <a:ext cx="196" cy="89"/>
              </a:xfrm>
              <a:custGeom>
                <a:gdLst>
                  <a:gd name="T0" fmla="*/ 103 w 107"/>
                  <a:gd name="T1" fmla="*/ 0 h 49"/>
                  <a:gd name="T2" fmla="*/ 103 w 107"/>
                  <a:gd name="T3" fmla="*/ 0 h 49"/>
                  <a:gd name="T4" fmla="*/ 103 w 107"/>
                  <a:gd name="T5" fmla="*/ 0 h 49"/>
                  <a:gd name="T6" fmla="*/ 103 w 107"/>
                  <a:gd name="T7" fmla="*/ 0 h 49"/>
                  <a:gd name="T8" fmla="*/ 103 w 107"/>
                  <a:gd name="T9" fmla="*/ 0 h 49"/>
                  <a:gd name="T10" fmla="*/ 103 w 107"/>
                  <a:gd name="T11" fmla="*/ 0 h 49"/>
                  <a:gd name="T12" fmla="*/ 85 w 107"/>
                  <a:gd name="T13" fmla="*/ 21 h 49"/>
                  <a:gd name="T14" fmla="*/ 0 w 107"/>
                  <a:gd name="T15" fmla="*/ 45 h 49"/>
                  <a:gd name="T16" fmla="*/ 0 w 107"/>
                  <a:gd name="T17" fmla="*/ 49 h 49"/>
                  <a:gd name="T18" fmla="*/ 88 w 107"/>
                  <a:gd name="T19" fmla="*/ 24 h 49"/>
                  <a:gd name="T20" fmla="*/ 107 w 107"/>
                  <a:gd name="T21" fmla="*/ 1 h 49"/>
                  <a:gd name="T22" fmla="*/ 103 w 107"/>
                  <a:gd name="T23" fmla="*/ 0 h 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7" h="49">
                    <a:moveTo>
                      <a:pt x="103" y="0"/>
                    </a:moveTo>
                    <a:cubicBezTo>
                      <a:pt x="103" y="0"/>
                      <a:pt x="103" y="0"/>
                      <a:pt x="103" y="0"/>
                    </a:cubicBezTo>
                    <a:cubicBezTo>
                      <a:pt x="103" y="0"/>
                      <a:pt x="103" y="0"/>
                      <a:pt x="103" y="0"/>
                    </a:cubicBezTo>
                    <a:cubicBezTo>
                      <a:pt x="103" y="0"/>
                      <a:pt x="103" y="0"/>
                      <a:pt x="103" y="0"/>
                    </a:cubicBezTo>
                    <a:cubicBezTo>
                      <a:pt x="103" y="0"/>
                      <a:pt x="103" y="0"/>
                      <a:pt x="103" y="0"/>
                    </a:cubicBezTo>
                    <a:cubicBezTo>
                      <a:pt x="103" y="0"/>
                      <a:pt x="103" y="0"/>
                      <a:pt x="103" y="0"/>
                    </a:cubicBezTo>
                    <a:cubicBezTo>
                      <a:pt x="103" y="0"/>
                      <a:pt x="100" y="10"/>
                      <a:pt x="85" y="21"/>
                    </a:cubicBezTo>
                    <a:cubicBezTo>
                      <a:pt x="71" y="31"/>
                      <a:pt x="45" y="43"/>
                      <a:pt x="0" y="45"/>
                    </a:cubicBezTo>
                    <a:cubicBezTo>
                      <a:pt x="0" y="49"/>
                      <a:pt x="0" y="49"/>
                      <a:pt x="0" y="49"/>
                    </a:cubicBezTo>
                    <a:cubicBezTo>
                      <a:pt x="46" y="47"/>
                      <a:pt x="73" y="35"/>
                      <a:pt x="88" y="24"/>
                    </a:cubicBezTo>
                    <a:cubicBezTo>
                      <a:pt x="104" y="12"/>
                      <a:pt x="107" y="1"/>
                      <a:pt x="107" y="1"/>
                    </a:cubicBezTo>
                    <a:cubicBezTo>
                      <a:pt x="103" y="0"/>
                      <a:pt x="103" y="0"/>
                      <a:pt x="103" y="0"/>
                    </a:cubicBezTo>
                    <a:close/>
                  </a:path>
                </a:pathLst>
              </a:custGeom>
              <a:solidFill>
                <a:srgbClr val="931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34" name="Freeform 290">
                <a:extLst>
                  <a:ext uri="{FF2B5EF4-FFF2-40B4-BE49-F238E27FC236}">
                    <a16:creationId xmlns:a16="http://schemas.microsoft.com/office/drawing/2014/main" id="{E4AF59F1-861B-8365-5DBB-76558382EA7F}"/>
                  </a:ext>
                </a:extLst>
              </p:cNvPr>
              <p:cNvSpPr/>
              <p:nvPr/>
            </p:nvSpPr>
            <p:spPr bwMode="auto">
              <a:xfrm>
                <a:off x="5698" y="1456"/>
                <a:ext cx="186" cy="166"/>
              </a:xfrm>
              <a:custGeom>
                <a:gdLst>
                  <a:gd name="T0" fmla="*/ 98 w 102"/>
                  <a:gd name="T1" fmla="*/ 10 h 91"/>
                  <a:gd name="T2" fmla="*/ 93 w 102"/>
                  <a:gd name="T3" fmla="*/ 0 h 91"/>
                  <a:gd name="T4" fmla="*/ 51 w 102"/>
                  <a:gd name="T5" fmla="*/ 0 h 91"/>
                  <a:gd name="T6" fmla="*/ 8 w 102"/>
                  <a:gd name="T7" fmla="*/ 0 h 91"/>
                  <a:gd name="T8" fmla="*/ 3 w 102"/>
                  <a:gd name="T9" fmla="*/ 10 h 91"/>
                  <a:gd name="T10" fmla="*/ 27 w 102"/>
                  <a:gd name="T11" fmla="*/ 85 h 91"/>
                  <a:gd name="T12" fmla="*/ 51 w 102"/>
                  <a:gd name="T13" fmla="*/ 91 h 91"/>
                  <a:gd name="T14" fmla="*/ 74 w 102"/>
                  <a:gd name="T15" fmla="*/ 85 h 91"/>
                  <a:gd name="T16" fmla="*/ 98 w 102"/>
                  <a:gd name="T17" fmla="*/ 10 h 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91">
                    <a:moveTo>
                      <a:pt x="98" y="10"/>
                    </a:moveTo>
                    <a:cubicBezTo>
                      <a:pt x="102" y="6"/>
                      <a:pt x="99" y="0"/>
                      <a:pt x="93" y="0"/>
                    </a:cubicBezTo>
                    <a:cubicBezTo>
                      <a:pt x="51" y="0"/>
                      <a:pt x="51" y="0"/>
                      <a:pt x="51" y="0"/>
                    </a:cubicBezTo>
                    <a:cubicBezTo>
                      <a:pt x="8" y="0"/>
                      <a:pt x="8" y="0"/>
                      <a:pt x="8" y="0"/>
                    </a:cubicBezTo>
                    <a:cubicBezTo>
                      <a:pt x="3" y="0"/>
                      <a:pt x="0" y="6"/>
                      <a:pt x="3" y="10"/>
                    </a:cubicBezTo>
                    <a:cubicBezTo>
                      <a:pt x="15" y="23"/>
                      <a:pt x="31" y="48"/>
                      <a:pt x="27" y="85"/>
                    </a:cubicBezTo>
                    <a:cubicBezTo>
                      <a:pt x="46" y="83"/>
                      <a:pt x="51" y="91"/>
                      <a:pt x="51" y="91"/>
                    </a:cubicBezTo>
                    <a:cubicBezTo>
                      <a:pt x="51" y="91"/>
                      <a:pt x="55" y="83"/>
                      <a:pt x="74" y="85"/>
                    </a:cubicBezTo>
                    <a:cubicBezTo>
                      <a:pt x="70" y="48"/>
                      <a:pt x="86" y="23"/>
                      <a:pt x="98" y="10"/>
                    </a:cubicBezTo>
                  </a:path>
                </a:pathLst>
              </a:cu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35" name="Freeform 291">
                <a:extLst>
                  <a:ext uri="{FF2B5EF4-FFF2-40B4-BE49-F238E27FC236}">
                    <a16:creationId xmlns:a16="http://schemas.microsoft.com/office/drawing/2014/main" id="{B88F8215-FDDF-1417-DC92-A0D1488E065A}"/>
                  </a:ext>
                </a:extLst>
              </p:cNvPr>
              <p:cNvSpPr/>
              <p:nvPr/>
            </p:nvSpPr>
            <p:spPr bwMode="auto">
              <a:xfrm>
                <a:off x="5698" y="1456"/>
                <a:ext cx="153" cy="166"/>
              </a:xfrm>
              <a:custGeom>
                <a:gdLst>
                  <a:gd name="T0" fmla="*/ 27 w 84"/>
                  <a:gd name="T1" fmla="*/ 85 h 91"/>
                  <a:gd name="T2" fmla="*/ 51 w 84"/>
                  <a:gd name="T3" fmla="*/ 91 h 91"/>
                  <a:gd name="T4" fmla="*/ 74 w 84"/>
                  <a:gd name="T5" fmla="*/ 85 h 91"/>
                  <a:gd name="T6" fmla="*/ 84 w 84"/>
                  <a:gd name="T7" fmla="*/ 32 h 91"/>
                  <a:gd name="T8" fmla="*/ 43 w 84"/>
                  <a:gd name="T9" fmla="*/ 16 h 91"/>
                  <a:gd name="T10" fmla="*/ 36 w 84"/>
                  <a:gd name="T11" fmla="*/ 0 h 91"/>
                  <a:gd name="T12" fmla="*/ 8 w 84"/>
                  <a:gd name="T13" fmla="*/ 0 h 91"/>
                  <a:gd name="T14" fmla="*/ 3 w 84"/>
                  <a:gd name="T15" fmla="*/ 10 h 91"/>
                  <a:gd name="T16" fmla="*/ 27 w 84"/>
                  <a:gd name="T17" fmla="*/ 85 h 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91">
                    <a:moveTo>
                      <a:pt x="27" y="85"/>
                    </a:moveTo>
                    <a:cubicBezTo>
                      <a:pt x="46" y="83"/>
                      <a:pt x="51" y="91"/>
                      <a:pt x="51" y="91"/>
                    </a:cubicBezTo>
                    <a:cubicBezTo>
                      <a:pt x="51" y="91"/>
                      <a:pt x="55" y="83"/>
                      <a:pt x="74" y="85"/>
                    </a:cubicBezTo>
                    <a:cubicBezTo>
                      <a:pt x="72" y="63"/>
                      <a:pt x="77" y="45"/>
                      <a:pt x="84" y="32"/>
                    </a:cubicBezTo>
                    <a:cubicBezTo>
                      <a:pt x="62" y="33"/>
                      <a:pt x="54" y="25"/>
                      <a:pt x="43" y="16"/>
                    </a:cubicBezTo>
                    <a:cubicBezTo>
                      <a:pt x="38" y="11"/>
                      <a:pt x="36" y="5"/>
                      <a:pt x="36" y="0"/>
                    </a:cubicBezTo>
                    <a:cubicBezTo>
                      <a:pt x="8" y="0"/>
                      <a:pt x="8" y="0"/>
                      <a:pt x="8" y="0"/>
                    </a:cubicBezTo>
                    <a:cubicBezTo>
                      <a:pt x="3" y="0"/>
                      <a:pt x="0" y="6"/>
                      <a:pt x="3" y="10"/>
                    </a:cubicBezTo>
                    <a:cubicBezTo>
                      <a:pt x="15" y="23"/>
                      <a:pt x="31" y="48"/>
                      <a:pt x="27" y="85"/>
                    </a:cubicBezTo>
                  </a:path>
                </a:pathLst>
              </a:custGeom>
              <a:solidFill>
                <a:srgbClr val="C1B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36" name="Freeform 292">
                <a:extLst>
                  <a:ext uri="{FF2B5EF4-FFF2-40B4-BE49-F238E27FC236}">
                    <a16:creationId xmlns:a16="http://schemas.microsoft.com/office/drawing/2014/main" id="{AC13D288-61C0-B486-BEE9-523816E27B89}"/>
                  </a:ext>
                </a:extLst>
              </p:cNvPr>
              <p:cNvSpPr/>
              <p:nvPr/>
            </p:nvSpPr>
            <p:spPr bwMode="auto">
              <a:xfrm>
                <a:off x="5160" y="2017"/>
                <a:ext cx="1314" cy="85"/>
              </a:xfrm>
              <a:custGeom>
                <a:gdLst>
                  <a:gd name="T0" fmla="*/ 696 w 720"/>
                  <a:gd name="T1" fmla="*/ 47 h 47"/>
                  <a:gd name="T2" fmla="*/ 23 w 720"/>
                  <a:gd name="T3" fmla="*/ 47 h 47"/>
                  <a:gd name="T4" fmla="*/ 0 w 720"/>
                  <a:gd name="T5" fmla="*/ 23 h 47"/>
                  <a:gd name="T6" fmla="*/ 23 w 720"/>
                  <a:gd name="T7" fmla="*/ 0 h 47"/>
                  <a:gd name="T8" fmla="*/ 696 w 720"/>
                  <a:gd name="T9" fmla="*/ 0 h 47"/>
                  <a:gd name="T10" fmla="*/ 720 w 720"/>
                  <a:gd name="T11" fmla="*/ 23 h 47"/>
                  <a:gd name="T12" fmla="*/ 696 w 720"/>
                  <a:gd name="T13" fmla="*/ 47 h 47"/>
                </a:gdLst>
                <a:cxnLst>
                  <a:cxn ang="0">
                    <a:pos x="T0" y="T1"/>
                  </a:cxn>
                  <a:cxn ang="0">
                    <a:pos x="T2" y="T3"/>
                  </a:cxn>
                  <a:cxn ang="0">
                    <a:pos x="T4" y="T5"/>
                  </a:cxn>
                  <a:cxn ang="0">
                    <a:pos x="T6" y="T7"/>
                  </a:cxn>
                  <a:cxn ang="0">
                    <a:pos x="T8" y="T9"/>
                  </a:cxn>
                  <a:cxn ang="0">
                    <a:pos x="T10" y="T11"/>
                  </a:cxn>
                  <a:cxn ang="0">
                    <a:pos x="T12" y="T13"/>
                  </a:cxn>
                </a:cxnLst>
                <a:rect l="0" t="0" r="r" b="b"/>
                <a:pathLst>
                  <a:path w="720" h="47">
                    <a:moveTo>
                      <a:pt x="696" y="47"/>
                    </a:moveTo>
                    <a:cubicBezTo>
                      <a:pt x="23" y="47"/>
                      <a:pt x="23" y="47"/>
                      <a:pt x="23" y="47"/>
                    </a:cubicBezTo>
                    <a:cubicBezTo>
                      <a:pt x="10" y="47"/>
                      <a:pt x="0" y="36"/>
                      <a:pt x="0" y="23"/>
                    </a:cubicBezTo>
                    <a:cubicBezTo>
                      <a:pt x="0" y="10"/>
                      <a:pt x="10" y="0"/>
                      <a:pt x="23" y="0"/>
                    </a:cubicBezTo>
                    <a:cubicBezTo>
                      <a:pt x="696" y="0"/>
                      <a:pt x="696" y="0"/>
                      <a:pt x="696" y="0"/>
                    </a:cubicBezTo>
                    <a:cubicBezTo>
                      <a:pt x="709" y="0"/>
                      <a:pt x="720" y="10"/>
                      <a:pt x="720" y="23"/>
                    </a:cubicBezTo>
                    <a:cubicBezTo>
                      <a:pt x="720" y="36"/>
                      <a:pt x="709" y="47"/>
                      <a:pt x="696" y="47"/>
                    </a:cubicBezTo>
                  </a:path>
                </a:pathLst>
              </a:custGeom>
              <a:solidFill>
                <a:srgbClr val="C1B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37" name="Freeform 293">
                <a:extLst>
                  <a:ext uri="{FF2B5EF4-FFF2-40B4-BE49-F238E27FC236}">
                    <a16:creationId xmlns:a16="http://schemas.microsoft.com/office/drawing/2014/main" id="{08AAFA54-4232-0395-5327-C11CA7CD83BB}"/>
                  </a:ext>
                </a:extLst>
              </p:cNvPr>
              <p:cNvSpPr/>
              <p:nvPr/>
            </p:nvSpPr>
            <p:spPr bwMode="auto">
              <a:xfrm>
                <a:off x="5310" y="1553"/>
                <a:ext cx="963" cy="464"/>
              </a:xfrm>
              <a:custGeom>
                <a:gdLst>
                  <a:gd name="T0" fmla="*/ 528 w 528"/>
                  <a:gd name="T1" fmla="*/ 254 h 254"/>
                  <a:gd name="T2" fmla="*/ 264 w 528"/>
                  <a:gd name="T3" fmla="*/ 0 h 254"/>
                  <a:gd name="T4" fmla="*/ 0 w 528"/>
                  <a:gd name="T5" fmla="*/ 254 h 254"/>
                  <a:gd name="T6" fmla="*/ 528 w 528"/>
                  <a:gd name="T7" fmla="*/ 254 h 254"/>
                </a:gdLst>
                <a:cxnLst>
                  <a:cxn ang="0">
                    <a:pos x="T0" y="T1"/>
                  </a:cxn>
                  <a:cxn ang="0">
                    <a:pos x="T2" y="T3"/>
                  </a:cxn>
                  <a:cxn ang="0">
                    <a:pos x="T4" y="T5"/>
                  </a:cxn>
                  <a:cxn ang="0">
                    <a:pos x="T6" y="T7"/>
                  </a:cxn>
                </a:cxnLst>
                <a:rect l="0" t="0" r="r" b="b"/>
                <a:pathLst>
                  <a:path w="528" h="254">
                    <a:moveTo>
                      <a:pt x="528" y="254"/>
                    </a:moveTo>
                    <a:cubicBezTo>
                      <a:pt x="522" y="113"/>
                      <a:pt x="406" y="0"/>
                      <a:pt x="264" y="0"/>
                    </a:cubicBezTo>
                    <a:cubicBezTo>
                      <a:pt x="121" y="0"/>
                      <a:pt x="5" y="113"/>
                      <a:pt x="0" y="254"/>
                    </a:cubicBezTo>
                    <a:cubicBezTo>
                      <a:pt x="528" y="254"/>
                      <a:pt x="528" y="254"/>
                      <a:pt x="528" y="254"/>
                    </a:cubicBezTo>
                  </a:path>
                </a:pathLst>
              </a:cu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38" name="Freeform 294">
                <a:extLst>
                  <a:ext uri="{FF2B5EF4-FFF2-40B4-BE49-F238E27FC236}">
                    <a16:creationId xmlns:a16="http://schemas.microsoft.com/office/drawing/2014/main" id="{A8AE5B50-7E54-E020-C04F-B591EE750EAE}"/>
                  </a:ext>
                </a:extLst>
              </p:cNvPr>
              <p:cNvSpPr/>
              <p:nvPr/>
            </p:nvSpPr>
            <p:spPr bwMode="auto">
              <a:xfrm>
                <a:off x="5310" y="1553"/>
                <a:ext cx="481" cy="464"/>
              </a:xfrm>
              <a:custGeom>
                <a:gdLst>
                  <a:gd name="T0" fmla="*/ 264 w 264"/>
                  <a:gd name="T1" fmla="*/ 0 h 254"/>
                  <a:gd name="T2" fmla="*/ 0 w 264"/>
                  <a:gd name="T3" fmla="*/ 254 h 254"/>
                  <a:gd name="T4" fmla="*/ 122 w 264"/>
                  <a:gd name="T5" fmla="*/ 254 h 254"/>
                  <a:gd name="T6" fmla="*/ 264 w 264"/>
                  <a:gd name="T7" fmla="*/ 0 h 254"/>
                </a:gdLst>
                <a:cxnLst>
                  <a:cxn ang="0">
                    <a:pos x="T0" y="T1"/>
                  </a:cxn>
                  <a:cxn ang="0">
                    <a:pos x="T2" y="T3"/>
                  </a:cxn>
                  <a:cxn ang="0">
                    <a:pos x="T4" y="T5"/>
                  </a:cxn>
                  <a:cxn ang="0">
                    <a:pos x="T6" y="T7"/>
                  </a:cxn>
                </a:cxnLst>
                <a:rect l="0" t="0" r="r" b="b"/>
                <a:pathLst>
                  <a:path w="264" h="254">
                    <a:moveTo>
                      <a:pt x="264" y="0"/>
                    </a:moveTo>
                    <a:cubicBezTo>
                      <a:pt x="121" y="0"/>
                      <a:pt x="5" y="113"/>
                      <a:pt x="0" y="254"/>
                    </a:cubicBezTo>
                    <a:cubicBezTo>
                      <a:pt x="122" y="254"/>
                      <a:pt x="122" y="254"/>
                      <a:pt x="122" y="254"/>
                    </a:cubicBezTo>
                    <a:cubicBezTo>
                      <a:pt x="122" y="39"/>
                      <a:pt x="264" y="0"/>
                      <a:pt x="264" y="0"/>
                    </a:cubicBezTo>
                  </a:path>
                </a:pathLst>
              </a:custGeom>
              <a:solidFill>
                <a:srgbClr val="DAD5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39" name="Freeform 295">
                <a:extLst>
                  <a:ext uri="{FF2B5EF4-FFF2-40B4-BE49-F238E27FC236}">
                    <a16:creationId xmlns:a16="http://schemas.microsoft.com/office/drawing/2014/main" id="{455AB768-A4BA-702B-560B-1CB8651C2E83}"/>
                  </a:ext>
                </a:extLst>
              </p:cNvPr>
              <p:cNvSpPr/>
              <p:nvPr/>
            </p:nvSpPr>
            <p:spPr bwMode="auto">
              <a:xfrm>
                <a:off x="5383" y="1593"/>
                <a:ext cx="288" cy="342"/>
              </a:xfrm>
              <a:custGeom>
                <a:gdLst>
                  <a:gd name="T0" fmla="*/ 158 w 158"/>
                  <a:gd name="T1" fmla="*/ 0 h 187"/>
                  <a:gd name="T2" fmla="*/ 43 w 158"/>
                  <a:gd name="T3" fmla="*/ 103 h 187"/>
                  <a:gd name="T4" fmla="*/ 31 w 158"/>
                  <a:gd name="T5" fmla="*/ 122 h 187"/>
                  <a:gd name="T6" fmla="*/ 13 w 158"/>
                  <a:gd name="T7" fmla="*/ 157 h 187"/>
                  <a:gd name="T8" fmla="*/ 7 w 158"/>
                  <a:gd name="T9" fmla="*/ 172 h 187"/>
                  <a:gd name="T10" fmla="*/ 0 w 158"/>
                  <a:gd name="T11" fmla="*/ 187 h 187"/>
                  <a:gd name="T12" fmla="*/ 5 w 158"/>
                  <a:gd name="T13" fmla="*/ 159 h 187"/>
                  <a:gd name="T14" fmla="*/ 158 w 158"/>
                  <a:gd name="T15" fmla="*/ 0 h 18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 h="187">
                    <a:moveTo>
                      <a:pt x="158" y="0"/>
                    </a:moveTo>
                    <a:cubicBezTo>
                      <a:pt x="112" y="24"/>
                      <a:pt x="72" y="59"/>
                      <a:pt x="43" y="103"/>
                    </a:cubicBezTo>
                    <a:cubicBezTo>
                      <a:pt x="40" y="107"/>
                      <a:pt x="33" y="118"/>
                      <a:pt x="31" y="122"/>
                    </a:cubicBezTo>
                    <a:cubicBezTo>
                      <a:pt x="24" y="133"/>
                      <a:pt x="18" y="146"/>
                      <a:pt x="13" y="157"/>
                    </a:cubicBezTo>
                    <a:cubicBezTo>
                      <a:pt x="10" y="161"/>
                      <a:pt x="8" y="168"/>
                      <a:pt x="7" y="172"/>
                    </a:cubicBezTo>
                    <a:cubicBezTo>
                      <a:pt x="5" y="177"/>
                      <a:pt x="3" y="182"/>
                      <a:pt x="0" y="187"/>
                    </a:cubicBezTo>
                    <a:cubicBezTo>
                      <a:pt x="2" y="177"/>
                      <a:pt x="4" y="168"/>
                      <a:pt x="5" y="159"/>
                    </a:cubicBezTo>
                    <a:cubicBezTo>
                      <a:pt x="25" y="85"/>
                      <a:pt x="83" y="19"/>
                      <a:pt x="158" y="0"/>
                    </a:cubicBezTo>
                    <a:close/>
                  </a:path>
                </a:pathLst>
              </a:cu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40" name="Freeform 296">
                <a:extLst>
                  <a:ext uri="{FF2B5EF4-FFF2-40B4-BE49-F238E27FC236}">
                    <a16:creationId xmlns:a16="http://schemas.microsoft.com/office/drawing/2014/main" id="{CCB34F86-4CA3-24D3-C192-F7C2FB3FB814}"/>
                  </a:ext>
                </a:extLst>
              </p:cNvPr>
              <p:cNvSpPr/>
              <p:nvPr/>
            </p:nvSpPr>
            <p:spPr bwMode="auto">
              <a:xfrm>
                <a:off x="5842" y="1557"/>
                <a:ext cx="431" cy="460"/>
              </a:xfrm>
              <a:custGeom>
                <a:gdLst>
                  <a:gd name="T0" fmla="*/ 0 w 236"/>
                  <a:gd name="T1" fmla="*/ 0 h 252"/>
                  <a:gd name="T2" fmla="*/ 163 w 236"/>
                  <a:gd name="T3" fmla="*/ 252 h 252"/>
                  <a:gd name="T4" fmla="*/ 236 w 236"/>
                  <a:gd name="T5" fmla="*/ 252 h 252"/>
                  <a:gd name="T6" fmla="*/ 0 w 236"/>
                  <a:gd name="T7" fmla="*/ 0 h 252"/>
                </a:gdLst>
                <a:cxnLst>
                  <a:cxn ang="0">
                    <a:pos x="T0" y="T1"/>
                  </a:cxn>
                  <a:cxn ang="0">
                    <a:pos x="T2" y="T3"/>
                  </a:cxn>
                  <a:cxn ang="0">
                    <a:pos x="T4" y="T5"/>
                  </a:cxn>
                  <a:cxn ang="0">
                    <a:pos x="T6" y="T7"/>
                  </a:cxn>
                </a:cxnLst>
                <a:rect l="0" t="0" r="r" b="b"/>
                <a:pathLst>
                  <a:path w="236" h="251">
                    <a:moveTo>
                      <a:pt x="0" y="0"/>
                    </a:moveTo>
                    <a:cubicBezTo>
                      <a:pt x="2" y="0"/>
                      <a:pt x="151" y="60"/>
                      <a:pt x="163" y="252"/>
                    </a:cubicBezTo>
                    <a:cubicBezTo>
                      <a:pt x="236" y="252"/>
                      <a:pt x="236" y="252"/>
                      <a:pt x="236" y="252"/>
                    </a:cubicBezTo>
                    <a:cubicBezTo>
                      <a:pt x="231" y="120"/>
                      <a:pt x="129" y="13"/>
                      <a:pt x="0" y="0"/>
                    </a:cubicBezTo>
                    <a:close/>
                  </a:path>
                </a:pathLst>
              </a:custGeom>
              <a:solidFill>
                <a:srgbClr val="F7F5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41" name="Freeform 297">
                <a:extLst>
                  <a:ext uri="{FF2B5EF4-FFF2-40B4-BE49-F238E27FC236}">
                    <a16:creationId xmlns:a16="http://schemas.microsoft.com/office/drawing/2014/main" id="{12BA2C95-E13F-22CF-98B9-E2EA41A04C86}"/>
                  </a:ext>
                </a:extLst>
              </p:cNvPr>
              <p:cNvSpPr/>
              <p:nvPr/>
            </p:nvSpPr>
            <p:spPr bwMode="auto">
              <a:xfrm>
                <a:off x="4248" y="2466"/>
                <a:ext cx="299" cy="753"/>
              </a:xfrm>
              <a:custGeom>
                <a:gdLst>
                  <a:gd name="T0" fmla="*/ 121 w 164"/>
                  <a:gd name="T1" fmla="*/ 0 h 413"/>
                  <a:gd name="T2" fmla="*/ 0 w 164"/>
                  <a:gd name="T3" fmla="*/ 413 h 413"/>
                  <a:gd name="T4" fmla="*/ 121 w 164"/>
                  <a:gd name="T5" fmla="*/ 0 h 413"/>
                </a:gdLst>
                <a:cxnLst>
                  <a:cxn ang="0">
                    <a:pos x="T0" y="T1"/>
                  </a:cxn>
                  <a:cxn ang="0">
                    <a:pos x="T2" y="T3"/>
                  </a:cxn>
                  <a:cxn ang="0">
                    <a:pos x="T4" y="T5"/>
                  </a:cxn>
                </a:cxnLst>
                <a:rect l="0" t="0" r="r" b="b"/>
                <a:pathLst>
                  <a:path w="164" h="412">
                    <a:moveTo>
                      <a:pt x="121" y="0"/>
                    </a:moveTo>
                    <a:cubicBezTo>
                      <a:pt x="121" y="0"/>
                      <a:pt x="164" y="170"/>
                      <a:pt x="0" y="413"/>
                    </a:cubicBezTo>
                    <a:cubicBezTo>
                      <a:pt x="45" y="292"/>
                      <a:pt x="111" y="106"/>
                      <a:pt x="121" y="0"/>
                    </a:cubicBezTo>
                    <a:close/>
                  </a:path>
                </a:pathLst>
              </a:custGeom>
              <a:solidFill>
                <a:srgbClr val="E0DB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42" name="Freeform 298">
                <a:extLst>
                  <a:ext uri="{FF2B5EF4-FFF2-40B4-BE49-F238E27FC236}">
                    <a16:creationId xmlns:a16="http://schemas.microsoft.com/office/drawing/2014/main" id="{F1F2545C-C91C-0922-5B4A-8D29B3180C19}"/>
                  </a:ext>
                </a:extLst>
              </p:cNvPr>
              <p:cNvSpPr/>
              <p:nvPr/>
            </p:nvSpPr>
            <p:spPr bwMode="auto">
              <a:xfrm>
                <a:off x="4120" y="1747"/>
                <a:ext cx="363" cy="34"/>
              </a:xfrm>
              <a:custGeom>
                <a:gdLst>
                  <a:gd name="T0" fmla="*/ 1 w 199"/>
                  <a:gd name="T1" fmla="*/ 19 h 19"/>
                  <a:gd name="T2" fmla="*/ 4 w 199"/>
                  <a:gd name="T3" fmla="*/ 18 h 19"/>
                  <a:gd name="T4" fmla="*/ 131 w 199"/>
                  <a:gd name="T5" fmla="*/ 5 h 19"/>
                  <a:gd name="T6" fmla="*/ 199 w 199"/>
                  <a:gd name="T7" fmla="*/ 9 h 19"/>
                  <a:gd name="T8" fmla="*/ 199 w 199"/>
                  <a:gd name="T9" fmla="*/ 5 h 19"/>
                  <a:gd name="T10" fmla="*/ 131 w 199"/>
                  <a:gd name="T11" fmla="*/ 0 h 19"/>
                  <a:gd name="T12" fmla="*/ 0 w 199"/>
                  <a:gd name="T13" fmla="*/ 15 h 19"/>
                  <a:gd name="T14" fmla="*/ 1 w 199"/>
                  <a:gd name="T15" fmla="*/ 19 h 1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9" h="19">
                    <a:moveTo>
                      <a:pt x="1" y="19"/>
                    </a:moveTo>
                    <a:cubicBezTo>
                      <a:pt x="1" y="19"/>
                      <a:pt x="2" y="19"/>
                      <a:pt x="4" y="18"/>
                    </a:cubicBezTo>
                    <a:cubicBezTo>
                      <a:pt x="16" y="16"/>
                      <a:pt x="69" y="5"/>
                      <a:pt x="131" y="5"/>
                    </a:cubicBezTo>
                    <a:cubicBezTo>
                      <a:pt x="153" y="5"/>
                      <a:pt x="176" y="6"/>
                      <a:pt x="199" y="9"/>
                    </a:cubicBezTo>
                    <a:cubicBezTo>
                      <a:pt x="199" y="5"/>
                      <a:pt x="199" y="5"/>
                      <a:pt x="199" y="5"/>
                    </a:cubicBezTo>
                    <a:cubicBezTo>
                      <a:pt x="176" y="2"/>
                      <a:pt x="153" y="0"/>
                      <a:pt x="131" y="0"/>
                    </a:cubicBezTo>
                    <a:cubicBezTo>
                      <a:pt x="59" y="0"/>
                      <a:pt x="0" y="15"/>
                      <a:pt x="0" y="15"/>
                    </a:cubicBezTo>
                    <a:cubicBezTo>
                      <a:pt x="1" y="19"/>
                      <a:pt x="1" y="19"/>
                      <a:pt x="1" y="19"/>
                    </a:cubicBezTo>
                    <a:close/>
                  </a:path>
                </a:pathLst>
              </a:custGeom>
              <a:solidFill>
                <a:srgbClr val="9B94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43" name="Rectangle 299">
                <a:extLst>
                  <a:ext uri="{FF2B5EF4-FFF2-40B4-BE49-F238E27FC236}">
                    <a16:creationId xmlns:a16="http://schemas.microsoft.com/office/drawing/2014/main" id="{8F3BD7EC-BE56-0C64-6AA1-C0DDA29BB607}"/>
                  </a:ext>
                </a:extLst>
              </p:cNvPr>
              <p:cNvSpPr>
                <a:spLocks noChangeArrowheads="1"/>
              </p:cNvSpPr>
              <p:nvPr/>
            </p:nvSpPr>
            <p:spPr bwMode="auto">
              <a:xfrm>
                <a:off x="3863" y="1956"/>
                <a:ext cx="87" cy="2110"/>
              </a:xfrm>
              <a:prstGeom prst="rect">
                <a:avLst/>
              </a:prstGeom>
              <a:solidFill>
                <a:srgbClr val="0067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44" name="Rectangle 300">
                <a:extLst>
                  <a:ext uri="{FF2B5EF4-FFF2-40B4-BE49-F238E27FC236}">
                    <a16:creationId xmlns:a16="http://schemas.microsoft.com/office/drawing/2014/main" id="{BD6067C7-71EA-095D-B252-AB5402FAE1F5}"/>
                  </a:ext>
                </a:extLst>
              </p:cNvPr>
              <p:cNvSpPr>
                <a:spLocks noChangeArrowheads="1"/>
              </p:cNvSpPr>
              <p:nvPr/>
            </p:nvSpPr>
            <p:spPr bwMode="auto">
              <a:xfrm>
                <a:off x="1332" y="2042"/>
                <a:ext cx="1314" cy="11"/>
              </a:xfrm>
              <a:prstGeom prst="rect">
                <a:avLst/>
              </a:prstGeom>
              <a:solidFill>
                <a:srgbClr val="F0E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45" name="Freeform 301">
                <a:extLst>
                  <a:ext uri="{FF2B5EF4-FFF2-40B4-BE49-F238E27FC236}">
                    <a16:creationId xmlns:a16="http://schemas.microsoft.com/office/drawing/2014/main" id="{BE8CD5F5-385E-B416-9DBB-AAAB70911FE3}"/>
                  </a:ext>
                </a:extLst>
              </p:cNvPr>
              <p:cNvSpPr/>
              <p:nvPr/>
            </p:nvSpPr>
            <p:spPr bwMode="auto">
              <a:xfrm>
                <a:off x="1332" y="2042"/>
                <a:ext cx="1314" cy="11"/>
              </a:xfrm>
              <a:custGeom>
                <a:gdLst>
                  <a:gd name="T0" fmla="*/ 0 w 1314"/>
                  <a:gd name="T1" fmla="*/ 11 h 11"/>
                  <a:gd name="T2" fmla="*/ 1314 w 1314"/>
                  <a:gd name="T3" fmla="*/ 11 h 11"/>
                  <a:gd name="T4" fmla="*/ 1314 w 1314"/>
                  <a:gd name="T5" fmla="*/ 0 h 11"/>
                  <a:gd name="T6" fmla="*/ 0 w 1314"/>
                  <a:gd name="T7" fmla="*/ 0 h 11"/>
                </a:gdLst>
                <a:cxnLst>
                  <a:cxn ang="0">
                    <a:pos x="T0" y="T1"/>
                  </a:cxn>
                  <a:cxn ang="0">
                    <a:pos x="T2" y="T3"/>
                  </a:cxn>
                  <a:cxn ang="0">
                    <a:pos x="T4" y="T5"/>
                  </a:cxn>
                  <a:cxn ang="0">
                    <a:pos x="T6" y="T7"/>
                  </a:cxn>
                </a:cxnLst>
                <a:rect l="0" t="0" r="r" b="b"/>
                <a:pathLst>
                  <a:path w="1314" h="11">
                    <a:moveTo>
                      <a:pt x="0" y="11"/>
                    </a:moveTo>
                    <a:lnTo>
                      <a:pt x="1314" y="11"/>
                    </a:lnTo>
                    <a:lnTo>
                      <a:pt x="131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grpSp>
        <p:sp>
          <p:nvSpPr>
            <p:cNvPr id="247" name="Freeform 17">
              <a:extLst>
                <a:ext uri="{FF2B5EF4-FFF2-40B4-BE49-F238E27FC236}">
                  <a16:creationId xmlns:a16="http://schemas.microsoft.com/office/drawing/2014/main" id="{A96BDDB7-C171-F2DE-3FB8-6D2B12C707D5}"/>
                </a:ext>
              </a:extLst>
            </p:cNvPr>
            <p:cNvSpPr/>
            <p:nvPr/>
          </p:nvSpPr>
          <p:spPr bwMode="auto">
            <a:xfrm>
              <a:off x="6424240" y="1327930"/>
              <a:ext cx="796925" cy="1162050"/>
            </a:xfrm>
            <a:custGeom>
              <a:gdLst>
                <a:gd name="T0" fmla="*/ 189 w 292"/>
                <a:gd name="T1" fmla="*/ 426 h 426"/>
                <a:gd name="T2" fmla="*/ 140 w 292"/>
                <a:gd name="T3" fmla="*/ 35 h 426"/>
                <a:gd name="T4" fmla="*/ 44 w 292"/>
                <a:gd name="T5" fmla="*/ 21 h 426"/>
                <a:gd name="T6" fmla="*/ 40 w 292"/>
                <a:gd name="T7" fmla="*/ 139 h 426"/>
                <a:gd name="T8" fmla="*/ 189 w 292"/>
                <a:gd name="T9" fmla="*/ 426 h 426"/>
              </a:gdLst>
              <a:cxnLst>
                <a:cxn ang="0">
                  <a:pos x="T0" y="T1"/>
                </a:cxn>
                <a:cxn ang="0">
                  <a:pos x="T2" y="T3"/>
                </a:cxn>
                <a:cxn ang="0">
                  <a:pos x="T4" y="T5"/>
                </a:cxn>
                <a:cxn ang="0">
                  <a:pos x="T6" y="T7"/>
                </a:cxn>
                <a:cxn ang="0">
                  <a:pos x="T8" y="T9"/>
                </a:cxn>
              </a:cxnLst>
              <a:rect l="0" t="0" r="r" b="b"/>
              <a:pathLst>
                <a:path w="292" h="426">
                  <a:moveTo>
                    <a:pt x="189" y="426"/>
                  </a:moveTo>
                  <a:cubicBezTo>
                    <a:pt x="189" y="426"/>
                    <a:pt x="292" y="221"/>
                    <a:pt x="140" y="35"/>
                  </a:cubicBezTo>
                  <a:cubicBezTo>
                    <a:pt x="116" y="6"/>
                    <a:pt x="75" y="0"/>
                    <a:pt x="44" y="21"/>
                  </a:cubicBezTo>
                  <a:cubicBezTo>
                    <a:pt x="2" y="48"/>
                    <a:pt x="0" y="108"/>
                    <a:pt x="40" y="139"/>
                  </a:cubicBezTo>
                  <a:cubicBezTo>
                    <a:pt x="106" y="189"/>
                    <a:pt x="184" y="280"/>
                    <a:pt x="189" y="426"/>
                  </a:cubicBezTo>
                  <a:close/>
                </a:path>
              </a:pathLst>
            </a:custGeom>
            <a:solidFill>
              <a:srgbClr val="0093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48" name="Freeform 18">
              <a:extLst>
                <a:ext uri="{FF2B5EF4-FFF2-40B4-BE49-F238E27FC236}">
                  <a16:creationId xmlns:a16="http://schemas.microsoft.com/office/drawing/2014/main" id="{C2F01FEC-0A78-993D-3347-7CBF52517E18}"/>
                </a:ext>
              </a:extLst>
            </p:cNvPr>
            <p:cNvSpPr/>
            <p:nvPr/>
          </p:nvSpPr>
          <p:spPr bwMode="auto">
            <a:xfrm>
              <a:off x="6209928" y="1897842"/>
              <a:ext cx="604838" cy="547688"/>
            </a:xfrm>
            <a:custGeom>
              <a:gdLst>
                <a:gd name="T0" fmla="*/ 222 w 222"/>
                <a:gd name="T1" fmla="*/ 201 h 201"/>
                <a:gd name="T2" fmla="*/ 70 w 222"/>
                <a:gd name="T3" fmla="*/ 11 h 201"/>
                <a:gd name="T4" fmla="*/ 6 w 222"/>
                <a:gd name="T5" fmla="*/ 45 h 201"/>
                <a:gd name="T6" fmla="*/ 49 w 222"/>
                <a:gd name="T7" fmla="*/ 104 h 201"/>
                <a:gd name="T8" fmla="*/ 222 w 222"/>
                <a:gd name="T9" fmla="*/ 201 h 201"/>
              </a:gdLst>
              <a:cxnLst>
                <a:cxn ang="0">
                  <a:pos x="T0" y="T1"/>
                </a:cxn>
                <a:cxn ang="0">
                  <a:pos x="T2" y="T3"/>
                </a:cxn>
                <a:cxn ang="0">
                  <a:pos x="T4" y="T5"/>
                </a:cxn>
                <a:cxn ang="0">
                  <a:pos x="T6" y="T7"/>
                </a:cxn>
                <a:cxn ang="0">
                  <a:pos x="T8" y="T9"/>
                </a:cxn>
              </a:cxnLst>
              <a:rect l="0" t="0" r="r" b="b"/>
              <a:pathLst>
                <a:path w="221" h="201">
                  <a:moveTo>
                    <a:pt x="222" y="201"/>
                  </a:moveTo>
                  <a:cubicBezTo>
                    <a:pt x="222" y="201"/>
                    <a:pt x="206" y="64"/>
                    <a:pt x="70" y="11"/>
                  </a:cubicBezTo>
                  <a:cubicBezTo>
                    <a:pt x="43" y="0"/>
                    <a:pt x="12" y="16"/>
                    <a:pt x="6" y="45"/>
                  </a:cubicBezTo>
                  <a:cubicBezTo>
                    <a:pt x="0" y="74"/>
                    <a:pt x="20" y="101"/>
                    <a:pt x="49" y="104"/>
                  </a:cubicBezTo>
                  <a:cubicBezTo>
                    <a:pt x="92" y="107"/>
                    <a:pt x="154" y="127"/>
                    <a:pt x="222" y="201"/>
                  </a:cubicBezTo>
                  <a:close/>
                </a:path>
              </a:pathLst>
            </a:custGeom>
            <a:solidFill>
              <a:srgbClr val="006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49" name="Freeform 19">
              <a:extLst>
                <a:ext uri="{FF2B5EF4-FFF2-40B4-BE49-F238E27FC236}">
                  <a16:creationId xmlns:a16="http://schemas.microsoft.com/office/drawing/2014/main" id="{3869DB25-7979-CD4D-9FB4-F35C936DEAA9}"/>
                </a:ext>
              </a:extLst>
            </p:cNvPr>
            <p:cNvSpPr/>
            <p:nvPr/>
          </p:nvSpPr>
          <p:spPr bwMode="auto">
            <a:xfrm>
              <a:off x="7084640" y="1821642"/>
              <a:ext cx="238125" cy="509588"/>
            </a:xfrm>
            <a:custGeom>
              <a:gdLst>
                <a:gd name="T0" fmla="*/ 0 w 87"/>
                <a:gd name="T1" fmla="*/ 187 h 187"/>
                <a:gd name="T2" fmla="*/ 87 w 87"/>
                <a:gd name="T3" fmla="*/ 37 h 187"/>
                <a:gd name="T4" fmla="*/ 47 w 87"/>
                <a:gd name="T5" fmla="*/ 3 h 187"/>
                <a:gd name="T6" fmla="*/ 47 w 87"/>
                <a:gd name="T7" fmla="*/ 3 h 187"/>
                <a:gd name="T8" fmla="*/ 20 w 87"/>
                <a:gd name="T9" fmla="*/ 47 h 187"/>
                <a:gd name="T10" fmla="*/ 0 w 87"/>
                <a:gd name="T11" fmla="*/ 187 h 187"/>
              </a:gdLst>
              <a:cxnLst>
                <a:cxn ang="0">
                  <a:pos x="T0" y="T1"/>
                </a:cxn>
                <a:cxn ang="0">
                  <a:pos x="T2" y="T3"/>
                </a:cxn>
                <a:cxn ang="0">
                  <a:pos x="T4" y="T5"/>
                </a:cxn>
                <a:cxn ang="0">
                  <a:pos x="T6" y="T7"/>
                </a:cxn>
                <a:cxn ang="0">
                  <a:pos x="T8" y="T9"/>
                </a:cxn>
                <a:cxn ang="0">
                  <a:pos x="T10" y="T11"/>
                </a:cxn>
              </a:cxnLst>
              <a:rect l="0" t="0" r="r" b="b"/>
              <a:pathLst>
                <a:path w="87" h="187">
                  <a:moveTo>
                    <a:pt x="0" y="187"/>
                  </a:moveTo>
                  <a:cubicBezTo>
                    <a:pt x="0" y="187"/>
                    <a:pt x="86" y="141"/>
                    <a:pt x="87" y="37"/>
                  </a:cubicBezTo>
                  <a:cubicBezTo>
                    <a:pt x="87" y="16"/>
                    <a:pt x="68" y="0"/>
                    <a:pt x="47" y="3"/>
                  </a:cubicBezTo>
                  <a:cubicBezTo>
                    <a:pt x="47" y="3"/>
                    <a:pt x="47" y="3"/>
                    <a:pt x="47" y="3"/>
                  </a:cubicBezTo>
                  <a:cubicBezTo>
                    <a:pt x="27" y="6"/>
                    <a:pt x="14" y="27"/>
                    <a:pt x="20" y="47"/>
                  </a:cubicBezTo>
                  <a:cubicBezTo>
                    <a:pt x="29" y="76"/>
                    <a:pt x="31" y="123"/>
                    <a:pt x="0" y="187"/>
                  </a:cubicBezTo>
                  <a:close/>
                </a:path>
              </a:pathLst>
            </a:cu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63" name="Forma libre: forma 262">
              <a:extLst>
                <a:ext uri="{FF2B5EF4-FFF2-40B4-BE49-F238E27FC236}">
                  <a16:creationId xmlns:a16="http://schemas.microsoft.com/office/drawing/2014/main" id="{5008EAD0-8D00-12F6-3FE9-BA481C70D434}"/>
                </a:ext>
              </a:extLst>
            </p:cNvPr>
            <p:cNvSpPr/>
            <p:nvPr/>
          </p:nvSpPr>
          <p:spPr bwMode="auto">
            <a:xfrm>
              <a:off x="5917829" y="5164917"/>
              <a:ext cx="1396945" cy="1693082"/>
            </a:xfrm>
            <a:custGeom>
              <a:gdLst>
                <a:gd name="connsiteX0" fmla="*/ 561823 w 1396945"/>
                <a:gd name="connsiteY0" fmla="*/ 0 h 1693082"/>
                <a:gd name="connsiteX1" fmla="*/ 1071828 w 1396945"/>
                <a:gd name="connsiteY1" fmla="*/ 744694 h 1693082"/>
                <a:gd name="connsiteX2" fmla="*/ 1036373 w 1396945"/>
                <a:gd name="connsiteY2" fmla="*/ 919275 h 1693082"/>
                <a:gd name="connsiteX3" fmla="*/ 927281 w 1396945"/>
                <a:gd name="connsiteY3" fmla="*/ 992926 h 1693082"/>
                <a:gd name="connsiteX4" fmla="*/ 1299501 w 1396945"/>
                <a:gd name="connsiteY4" fmla="*/ 1547817 h 1693082"/>
                <a:gd name="connsiteX5" fmla="*/ 1396945 w 1396945"/>
                <a:gd name="connsiteY5" fmla="*/ 1693082 h 1693082"/>
                <a:gd name="connsiteX6" fmla="*/ 1143211 w 1396945"/>
                <a:gd name="connsiteY6" fmla="*/ 1693082 h 1693082"/>
                <a:gd name="connsiteX7" fmla="*/ 1129133 w 1396945"/>
                <a:gd name="connsiteY7" fmla="*/ 1671060 h 1693082"/>
                <a:gd name="connsiteX8" fmla="*/ 763643 w 1396945"/>
                <a:gd name="connsiteY8" fmla="*/ 1099310 h 1693082"/>
                <a:gd name="connsiteX9" fmla="*/ 651824 w 1396945"/>
                <a:gd name="connsiteY9" fmla="*/ 1172961 h 1693082"/>
                <a:gd name="connsiteX10" fmla="*/ 477277 w 1396945"/>
                <a:gd name="connsiteY10" fmla="*/ 1134772 h 1693082"/>
                <a:gd name="connsiteX11" fmla="*/ 0 w 1396945"/>
                <a:gd name="connsiteY11" fmla="*/ 368256 h 1693082"/>
                <a:gd name="connsiteX12" fmla="*/ 79092 w 1396945"/>
                <a:gd name="connsiteY12" fmla="*/ 316427 h 1693082"/>
                <a:gd name="connsiteX13" fmla="*/ 436368 w 1396945"/>
                <a:gd name="connsiteY13" fmla="*/ 859263 h 1693082"/>
                <a:gd name="connsiteX14" fmla="*/ 515459 w 1396945"/>
                <a:gd name="connsiteY14" fmla="*/ 810162 h 1693082"/>
                <a:gd name="connsiteX15" fmla="*/ 158183 w 1396945"/>
                <a:gd name="connsiteY15" fmla="*/ 264598 h 1693082"/>
                <a:gd name="connsiteX16" fmla="*/ 242730 w 1396945"/>
                <a:gd name="connsiteY16" fmla="*/ 210042 h 1693082"/>
                <a:gd name="connsiteX17" fmla="*/ 597278 w 1396945"/>
                <a:gd name="connsiteY17" fmla="*/ 752878 h 1693082"/>
                <a:gd name="connsiteX18" fmla="*/ 676370 w 1396945"/>
                <a:gd name="connsiteY18" fmla="*/ 703777 h 1693082"/>
                <a:gd name="connsiteX19" fmla="*/ 319094 w 1396945"/>
                <a:gd name="connsiteY19" fmla="*/ 158214 h 1693082"/>
                <a:gd name="connsiteX20" fmla="*/ 403640 w 1396945"/>
                <a:gd name="connsiteY20" fmla="*/ 103657 h 1693082"/>
                <a:gd name="connsiteX21" fmla="*/ 758189 w 1396945"/>
                <a:gd name="connsiteY21" fmla="*/ 649221 h 1693082"/>
                <a:gd name="connsiteX22" fmla="*/ 837280 w 1396945"/>
                <a:gd name="connsiteY22" fmla="*/ 597392 h 1693082"/>
                <a:gd name="connsiteX23" fmla="*/ 480004 w 1396945"/>
                <a:gd name="connsiteY23" fmla="*/ 51829 h 1693082"/>
                <a:gd name="connsiteX24" fmla="*/ 561823 w 1396945"/>
                <a:gd name="connsiteY24" fmla="*/ 0 h 169308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96945" h="1693081">
                  <a:moveTo>
                    <a:pt x="561823" y="0"/>
                  </a:moveTo>
                  <a:lnTo>
                    <a:pt x="1071828" y="744694"/>
                  </a:lnTo>
                  <a:cubicBezTo>
                    <a:pt x="1112737" y="801978"/>
                    <a:pt x="1096373" y="881085"/>
                    <a:pt x="1036373" y="919275"/>
                  </a:cubicBezTo>
                  <a:cubicBezTo>
                    <a:pt x="1036373" y="919275"/>
                    <a:pt x="1036373" y="919275"/>
                    <a:pt x="927281" y="992926"/>
                  </a:cubicBezTo>
                  <a:cubicBezTo>
                    <a:pt x="927281" y="992926"/>
                    <a:pt x="927281" y="992926"/>
                    <a:pt x="1299501" y="1547817"/>
                  </a:cubicBezTo>
                  <a:lnTo>
                    <a:pt x="1396945" y="1693082"/>
                  </a:lnTo>
                  <a:lnTo>
                    <a:pt x="1143211" y="1693082"/>
                  </a:lnTo>
                  <a:lnTo>
                    <a:pt x="1129133" y="1671060"/>
                  </a:lnTo>
                  <a:cubicBezTo>
                    <a:pt x="1023163" y="1505286"/>
                    <a:pt x="902054" y="1315831"/>
                    <a:pt x="763643" y="1099310"/>
                  </a:cubicBezTo>
                  <a:cubicBezTo>
                    <a:pt x="763643" y="1099310"/>
                    <a:pt x="763643" y="1099310"/>
                    <a:pt x="651824" y="1172961"/>
                  </a:cubicBezTo>
                  <a:cubicBezTo>
                    <a:pt x="594551" y="1211151"/>
                    <a:pt x="515459" y="1192056"/>
                    <a:pt x="477277" y="1134772"/>
                  </a:cubicBezTo>
                  <a:cubicBezTo>
                    <a:pt x="477277" y="1134772"/>
                    <a:pt x="477277" y="1134772"/>
                    <a:pt x="0" y="368256"/>
                  </a:cubicBezTo>
                  <a:cubicBezTo>
                    <a:pt x="0" y="368256"/>
                    <a:pt x="0" y="368256"/>
                    <a:pt x="79092" y="316427"/>
                  </a:cubicBezTo>
                  <a:cubicBezTo>
                    <a:pt x="79092" y="316427"/>
                    <a:pt x="79092" y="316427"/>
                    <a:pt x="436368" y="859263"/>
                  </a:cubicBezTo>
                  <a:cubicBezTo>
                    <a:pt x="436368" y="859263"/>
                    <a:pt x="436368" y="859263"/>
                    <a:pt x="515459" y="810162"/>
                  </a:cubicBezTo>
                  <a:cubicBezTo>
                    <a:pt x="515459" y="810162"/>
                    <a:pt x="515459" y="810162"/>
                    <a:pt x="158183" y="264598"/>
                  </a:cubicBezTo>
                  <a:cubicBezTo>
                    <a:pt x="158183" y="264598"/>
                    <a:pt x="158183" y="264598"/>
                    <a:pt x="242730" y="210042"/>
                  </a:cubicBezTo>
                  <a:cubicBezTo>
                    <a:pt x="242730" y="210042"/>
                    <a:pt x="242730" y="210042"/>
                    <a:pt x="597278" y="752878"/>
                  </a:cubicBezTo>
                  <a:cubicBezTo>
                    <a:pt x="597278" y="752878"/>
                    <a:pt x="597278" y="752878"/>
                    <a:pt x="676370" y="703777"/>
                  </a:cubicBezTo>
                  <a:cubicBezTo>
                    <a:pt x="676370" y="703777"/>
                    <a:pt x="676370" y="703777"/>
                    <a:pt x="319094" y="158214"/>
                  </a:cubicBezTo>
                  <a:cubicBezTo>
                    <a:pt x="319094" y="158214"/>
                    <a:pt x="319094" y="158214"/>
                    <a:pt x="403640" y="103657"/>
                  </a:cubicBezTo>
                  <a:cubicBezTo>
                    <a:pt x="403640" y="103657"/>
                    <a:pt x="403640" y="103657"/>
                    <a:pt x="758189" y="649221"/>
                  </a:cubicBezTo>
                  <a:cubicBezTo>
                    <a:pt x="758189" y="649221"/>
                    <a:pt x="758189" y="649221"/>
                    <a:pt x="837280" y="597392"/>
                  </a:cubicBezTo>
                  <a:cubicBezTo>
                    <a:pt x="837280" y="597392"/>
                    <a:pt x="837280" y="597392"/>
                    <a:pt x="480004" y="51829"/>
                  </a:cubicBezTo>
                  <a:cubicBezTo>
                    <a:pt x="480004" y="51829"/>
                    <a:pt x="480004" y="51829"/>
                    <a:pt x="561823" y="0"/>
                  </a:cubicBezTo>
                  <a:close/>
                </a:path>
              </a:pathLst>
            </a:custGeom>
            <a:solidFill>
              <a:srgbClr val="006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s-PE"/>
            </a:p>
          </p:txBody>
        </p:sp>
        <p:grpSp>
          <p:nvGrpSpPr>
            <p:cNvPr id="260" name="Grupo 259">
              <a:extLst>
                <a:ext uri="{FF2B5EF4-FFF2-40B4-BE49-F238E27FC236}">
                  <a16:creationId xmlns:a16="http://schemas.microsoft.com/office/drawing/2014/main" id="{0D83ACA8-9A87-7CA4-593A-DC1BC0E7507A}"/>
                </a:ext>
              </a:extLst>
            </p:cNvPr>
            <p:cNvGrpSpPr/>
            <p:nvPr/>
          </p:nvGrpSpPr>
          <p:grpSpPr>
            <a:xfrm>
              <a:off x="5214565" y="369080"/>
              <a:ext cx="2092325" cy="595313"/>
              <a:chOff x="6052765" y="369080"/>
              <a:chExt cx="2092325" cy="595313"/>
            </a:xfrm>
          </p:grpSpPr>
          <p:sp>
            <p:nvSpPr>
              <p:cNvPr id="252" name="Freeform 22">
                <a:extLst>
                  <a:ext uri="{FF2B5EF4-FFF2-40B4-BE49-F238E27FC236}">
                    <a16:creationId xmlns:a16="http://schemas.microsoft.com/office/drawing/2014/main" id="{A353F351-E2DF-A8C7-65E2-98EA17F32464}"/>
                  </a:ext>
                </a:extLst>
              </p:cNvPr>
              <p:cNvSpPr/>
              <p:nvPr/>
            </p:nvSpPr>
            <p:spPr bwMode="auto">
              <a:xfrm>
                <a:off x="6052765" y="369080"/>
                <a:ext cx="2092325" cy="595313"/>
              </a:xfrm>
              <a:custGeom>
                <a:gdLst>
                  <a:gd name="T0" fmla="*/ 0 w 767"/>
                  <a:gd name="T1" fmla="*/ 132 h 218"/>
                  <a:gd name="T2" fmla="*/ 403 w 767"/>
                  <a:gd name="T3" fmla="*/ 147 h 218"/>
                  <a:gd name="T4" fmla="*/ 419 w 767"/>
                  <a:gd name="T5" fmla="*/ 108 h 218"/>
                  <a:gd name="T6" fmla="*/ 750 w 767"/>
                  <a:gd name="T7" fmla="*/ 60 h 218"/>
                  <a:gd name="T8" fmla="*/ 762 w 767"/>
                  <a:gd name="T9" fmla="*/ 27 h 218"/>
                  <a:gd name="T10" fmla="*/ 740 w 767"/>
                  <a:gd name="T11" fmla="*/ 0 h 218"/>
                  <a:gd name="T12" fmla="*/ 0 w 767"/>
                  <a:gd name="T13" fmla="*/ 132 h 218"/>
                </a:gdLst>
                <a:cxnLst>
                  <a:cxn ang="0">
                    <a:pos x="T0" y="T1"/>
                  </a:cxn>
                  <a:cxn ang="0">
                    <a:pos x="T2" y="T3"/>
                  </a:cxn>
                  <a:cxn ang="0">
                    <a:pos x="T4" y="T5"/>
                  </a:cxn>
                  <a:cxn ang="0">
                    <a:pos x="T6" y="T7"/>
                  </a:cxn>
                  <a:cxn ang="0">
                    <a:pos x="T8" y="T9"/>
                  </a:cxn>
                  <a:cxn ang="0">
                    <a:pos x="T10" y="T11"/>
                  </a:cxn>
                  <a:cxn ang="0">
                    <a:pos x="T12" y="T13"/>
                  </a:cxn>
                </a:cxnLst>
                <a:rect l="0" t="0" r="r" b="b"/>
                <a:pathLst>
                  <a:path w="767" h="218">
                    <a:moveTo>
                      <a:pt x="0" y="132"/>
                    </a:moveTo>
                    <a:cubicBezTo>
                      <a:pt x="0" y="132"/>
                      <a:pt x="71" y="218"/>
                      <a:pt x="403" y="147"/>
                    </a:cubicBezTo>
                    <a:cubicBezTo>
                      <a:pt x="411" y="128"/>
                      <a:pt x="415" y="116"/>
                      <a:pt x="419" y="108"/>
                    </a:cubicBezTo>
                    <a:cubicBezTo>
                      <a:pt x="750" y="60"/>
                      <a:pt x="750" y="60"/>
                      <a:pt x="750" y="60"/>
                    </a:cubicBezTo>
                    <a:cubicBezTo>
                      <a:pt x="750" y="60"/>
                      <a:pt x="767" y="54"/>
                      <a:pt x="762" y="27"/>
                    </a:cubicBezTo>
                    <a:cubicBezTo>
                      <a:pt x="758" y="0"/>
                      <a:pt x="740" y="0"/>
                      <a:pt x="740" y="0"/>
                    </a:cubicBezTo>
                    <a:cubicBezTo>
                      <a:pt x="0" y="132"/>
                      <a:pt x="0" y="132"/>
                      <a:pt x="0" y="132"/>
                    </a:cubicBezTo>
                  </a:path>
                </a:pathLst>
              </a:custGeom>
              <a:solidFill>
                <a:srgbClr val="006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53" name="Freeform 23">
                <a:extLst>
                  <a:ext uri="{FF2B5EF4-FFF2-40B4-BE49-F238E27FC236}">
                    <a16:creationId xmlns:a16="http://schemas.microsoft.com/office/drawing/2014/main" id="{9DCFB358-1D7C-E647-7D25-11DEC5A9F807}"/>
                  </a:ext>
                </a:extLst>
              </p:cNvPr>
              <p:cNvSpPr/>
              <p:nvPr/>
            </p:nvSpPr>
            <p:spPr bwMode="auto">
              <a:xfrm>
                <a:off x="6117853" y="604030"/>
                <a:ext cx="1077913" cy="242888"/>
              </a:xfrm>
              <a:custGeom>
                <a:gdLst>
                  <a:gd name="T0" fmla="*/ 0 w 395"/>
                  <a:gd name="T1" fmla="*/ 63 h 89"/>
                  <a:gd name="T2" fmla="*/ 2 w 395"/>
                  <a:gd name="T3" fmla="*/ 64 h 89"/>
                  <a:gd name="T4" fmla="*/ 6 w 395"/>
                  <a:gd name="T5" fmla="*/ 66 h 89"/>
                  <a:gd name="T6" fmla="*/ 11 w 395"/>
                  <a:gd name="T7" fmla="*/ 68 h 89"/>
                  <a:gd name="T8" fmla="*/ 13 w 395"/>
                  <a:gd name="T9" fmla="*/ 69 h 89"/>
                  <a:gd name="T10" fmla="*/ 19 w 395"/>
                  <a:gd name="T11" fmla="*/ 71 h 89"/>
                  <a:gd name="T12" fmla="*/ 21 w 395"/>
                  <a:gd name="T13" fmla="*/ 72 h 89"/>
                  <a:gd name="T14" fmla="*/ 25 w 395"/>
                  <a:gd name="T15" fmla="*/ 73 h 89"/>
                  <a:gd name="T16" fmla="*/ 27 w 395"/>
                  <a:gd name="T17" fmla="*/ 74 h 89"/>
                  <a:gd name="T18" fmla="*/ 30 w 395"/>
                  <a:gd name="T19" fmla="*/ 74 h 89"/>
                  <a:gd name="T20" fmla="*/ 34 w 395"/>
                  <a:gd name="T21" fmla="*/ 76 h 89"/>
                  <a:gd name="T22" fmla="*/ 37 w 395"/>
                  <a:gd name="T23" fmla="*/ 76 h 89"/>
                  <a:gd name="T24" fmla="*/ 41 w 395"/>
                  <a:gd name="T25" fmla="*/ 77 h 89"/>
                  <a:gd name="T26" fmla="*/ 44 w 395"/>
                  <a:gd name="T27" fmla="*/ 78 h 89"/>
                  <a:gd name="T28" fmla="*/ 48 w 395"/>
                  <a:gd name="T29" fmla="*/ 79 h 89"/>
                  <a:gd name="T30" fmla="*/ 52 w 395"/>
                  <a:gd name="T31" fmla="*/ 80 h 89"/>
                  <a:gd name="T32" fmla="*/ 55 w 395"/>
                  <a:gd name="T33" fmla="*/ 81 h 89"/>
                  <a:gd name="T34" fmla="*/ 60 w 395"/>
                  <a:gd name="T35" fmla="*/ 82 h 89"/>
                  <a:gd name="T36" fmla="*/ 64 w 395"/>
                  <a:gd name="T37" fmla="*/ 82 h 89"/>
                  <a:gd name="T38" fmla="*/ 68 w 395"/>
                  <a:gd name="T39" fmla="*/ 83 h 89"/>
                  <a:gd name="T40" fmla="*/ 73 w 395"/>
                  <a:gd name="T41" fmla="*/ 84 h 89"/>
                  <a:gd name="T42" fmla="*/ 77 w 395"/>
                  <a:gd name="T43" fmla="*/ 84 h 89"/>
                  <a:gd name="T44" fmla="*/ 82 w 395"/>
                  <a:gd name="T45" fmla="*/ 85 h 89"/>
                  <a:gd name="T46" fmla="*/ 87 w 395"/>
                  <a:gd name="T47" fmla="*/ 86 h 89"/>
                  <a:gd name="T48" fmla="*/ 92 w 395"/>
                  <a:gd name="T49" fmla="*/ 86 h 89"/>
                  <a:gd name="T50" fmla="*/ 97 w 395"/>
                  <a:gd name="T51" fmla="*/ 87 h 89"/>
                  <a:gd name="T52" fmla="*/ 102 w 395"/>
                  <a:gd name="T53" fmla="*/ 87 h 89"/>
                  <a:gd name="T54" fmla="*/ 108 w 395"/>
                  <a:gd name="T55" fmla="*/ 88 h 89"/>
                  <a:gd name="T56" fmla="*/ 113 w 395"/>
                  <a:gd name="T57" fmla="*/ 88 h 89"/>
                  <a:gd name="T58" fmla="*/ 119 w 395"/>
                  <a:gd name="T59" fmla="*/ 88 h 89"/>
                  <a:gd name="T60" fmla="*/ 124 w 395"/>
                  <a:gd name="T61" fmla="*/ 89 h 89"/>
                  <a:gd name="T62" fmla="*/ 130 w 395"/>
                  <a:gd name="T63" fmla="*/ 89 h 89"/>
                  <a:gd name="T64" fmla="*/ 137 w 395"/>
                  <a:gd name="T65" fmla="*/ 89 h 89"/>
                  <a:gd name="T66" fmla="*/ 142 w 395"/>
                  <a:gd name="T67" fmla="*/ 89 h 89"/>
                  <a:gd name="T68" fmla="*/ 149 w 395"/>
                  <a:gd name="T69" fmla="*/ 89 h 89"/>
                  <a:gd name="T70" fmla="*/ 155 w 395"/>
                  <a:gd name="T71" fmla="*/ 89 h 89"/>
                  <a:gd name="T72" fmla="*/ 161 w 395"/>
                  <a:gd name="T73" fmla="*/ 89 h 89"/>
                  <a:gd name="T74" fmla="*/ 169 w 395"/>
                  <a:gd name="T75" fmla="*/ 89 h 89"/>
                  <a:gd name="T76" fmla="*/ 175 w 395"/>
                  <a:gd name="T77" fmla="*/ 89 h 89"/>
                  <a:gd name="T78" fmla="*/ 183 w 395"/>
                  <a:gd name="T79" fmla="*/ 88 h 89"/>
                  <a:gd name="T80" fmla="*/ 190 w 395"/>
                  <a:gd name="T81" fmla="*/ 88 h 89"/>
                  <a:gd name="T82" fmla="*/ 197 w 395"/>
                  <a:gd name="T83" fmla="*/ 88 h 89"/>
                  <a:gd name="T84" fmla="*/ 205 w 395"/>
                  <a:gd name="T85" fmla="*/ 87 h 89"/>
                  <a:gd name="T86" fmla="*/ 212 w 395"/>
                  <a:gd name="T87" fmla="*/ 87 h 89"/>
                  <a:gd name="T88" fmla="*/ 221 w 395"/>
                  <a:gd name="T89" fmla="*/ 86 h 89"/>
                  <a:gd name="T90" fmla="*/ 229 w 395"/>
                  <a:gd name="T91" fmla="*/ 85 h 89"/>
                  <a:gd name="T92" fmla="*/ 236 w 395"/>
                  <a:gd name="T93" fmla="*/ 84 h 89"/>
                  <a:gd name="T94" fmla="*/ 245 w 395"/>
                  <a:gd name="T95" fmla="*/ 83 h 89"/>
                  <a:gd name="T96" fmla="*/ 253 w 395"/>
                  <a:gd name="T97" fmla="*/ 83 h 89"/>
                  <a:gd name="T98" fmla="*/ 263 w 395"/>
                  <a:gd name="T99" fmla="*/ 81 h 89"/>
                  <a:gd name="T100" fmla="*/ 271 w 395"/>
                  <a:gd name="T101" fmla="*/ 80 h 89"/>
                  <a:gd name="T102" fmla="*/ 279 w 395"/>
                  <a:gd name="T103" fmla="*/ 79 h 89"/>
                  <a:gd name="T104" fmla="*/ 290 w 395"/>
                  <a:gd name="T105" fmla="*/ 78 h 89"/>
                  <a:gd name="T106" fmla="*/ 299 w 395"/>
                  <a:gd name="T107" fmla="*/ 76 h 89"/>
                  <a:gd name="T108" fmla="*/ 309 w 395"/>
                  <a:gd name="T109" fmla="*/ 75 h 89"/>
                  <a:gd name="T110" fmla="*/ 318 w 395"/>
                  <a:gd name="T111" fmla="*/ 73 h 89"/>
                  <a:gd name="T112" fmla="*/ 327 w 395"/>
                  <a:gd name="T113" fmla="*/ 72 h 89"/>
                  <a:gd name="T114" fmla="*/ 339 w 395"/>
                  <a:gd name="T115" fmla="*/ 69 h 89"/>
                  <a:gd name="T116" fmla="*/ 348 w 395"/>
                  <a:gd name="T117" fmla="*/ 68 h 89"/>
                  <a:gd name="T118" fmla="*/ 359 w 395"/>
                  <a:gd name="T119" fmla="*/ 65 h 89"/>
                  <a:gd name="T120" fmla="*/ 370 w 395"/>
                  <a:gd name="T121" fmla="*/ 63 h 89"/>
                  <a:gd name="T122" fmla="*/ 395 w 395"/>
                  <a:gd name="T123" fmla="*/ 22 h 8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5" h="89">
                    <a:moveTo>
                      <a:pt x="391" y="0"/>
                    </a:moveTo>
                    <a:cubicBezTo>
                      <a:pt x="0" y="63"/>
                      <a:pt x="0" y="63"/>
                      <a:pt x="0" y="63"/>
                    </a:cubicBezTo>
                    <a:cubicBezTo>
                      <a:pt x="0" y="63"/>
                      <a:pt x="1" y="63"/>
                      <a:pt x="2" y="64"/>
                    </a:cubicBezTo>
                    <a:cubicBezTo>
                      <a:pt x="2" y="64"/>
                      <a:pt x="2" y="64"/>
                      <a:pt x="2" y="64"/>
                    </a:cubicBezTo>
                    <a:cubicBezTo>
                      <a:pt x="3" y="64"/>
                      <a:pt x="5" y="65"/>
                      <a:pt x="6" y="66"/>
                    </a:cubicBezTo>
                    <a:cubicBezTo>
                      <a:pt x="6" y="66"/>
                      <a:pt x="6" y="66"/>
                      <a:pt x="6" y="66"/>
                    </a:cubicBezTo>
                    <a:cubicBezTo>
                      <a:pt x="8" y="66"/>
                      <a:pt x="9" y="67"/>
                      <a:pt x="11" y="68"/>
                    </a:cubicBezTo>
                    <a:cubicBezTo>
                      <a:pt x="11" y="68"/>
                      <a:pt x="11" y="68"/>
                      <a:pt x="11" y="68"/>
                    </a:cubicBezTo>
                    <a:cubicBezTo>
                      <a:pt x="12" y="68"/>
                      <a:pt x="12" y="68"/>
                      <a:pt x="13" y="69"/>
                    </a:cubicBezTo>
                    <a:cubicBezTo>
                      <a:pt x="13" y="69"/>
                      <a:pt x="13" y="69"/>
                      <a:pt x="13" y="69"/>
                    </a:cubicBezTo>
                    <a:cubicBezTo>
                      <a:pt x="15" y="69"/>
                      <a:pt x="17" y="70"/>
                      <a:pt x="18" y="71"/>
                    </a:cubicBezTo>
                    <a:cubicBezTo>
                      <a:pt x="19" y="71"/>
                      <a:pt x="19" y="71"/>
                      <a:pt x="19" y="71"/>
                    </a:cubicBezTo>
                    <a:cubicBezTo>
                      <a:pt x="20" y="71"/>
                      <a:pt x="20" y="71"/>
                      <a:pt x="21" y="72"/>
                    </a:cubicBezTo>
                    <a:cubicBezTo>
                      <a:pt x="21" y="72"/>
                      <a:pt x="21" y="72"/>
                      <a:pt x="21" y="72"/>
                    </a:cubicBezTo>
                    <a:cubicBezTo>
                      <a:pt x="22" y="72"/>
                      <a:pt x="23" y="72"/>
                      <a:pt x="24" y="73"/>
                    </a:cubicBezTo>
                    <a:cubicBezTo>
                      <a:pt x="25" y="73"/>
                      <a:pt x="25" y="73"/>
                      <a:pt x="25" y="73"/>
                    </a:cubicBezTo>
                    <a:cubicBezTo>
                      <a:pt x="25" y="73"/>
                      <a:pt x="26" y="73"/>
                      <a:pt x="27" y="73"/>
                    </a:cubicBezTo>
                    <a:cubicBezTo>
                      <a:pt x="27" y="74"/>
                      <a:pt x="27" y="74"/>
                      <a:pt x="27" y="74"/>
                    </a:cubicBezTo>
                    <a:cubicBezTo>
                      <a:pt x="28" y="74"/>
                      <a:pt x="29" y="74"/>
                      <a:pt x="30" y="74"/>
                    </a:cubicBezTo>
                    <a:cubicBezTo>
                      <a:pt x="30" y="74"/>
                      <a:pt x="30" y="74"/>
                      <a:pt x="30" y="74"/>
                    </a:cubicBezTo>
                    <a:cubicBezTo>
                      <a:pt x="31" y="75"/>
                      <a:pt x="32" y="75"/>
                      <a:pt x="33" y="75"/>
                    </a:cubicBezTo>
                    <a:cubicBezTo>
                      <a:pt x="34" y="76"/>
                      <a:pt x="34" y="76"/>
                      <a:pt x="34" y="76"/>
                    </a:cubicBezTo>
                    <a:cubicBezTo>
                      <a:pt x="35" y="76"/>
                      <a:pt x="36" y="76"/>
                      <a:pt x="37" y="76"/>
                    </a:cubicBezTo>
                    <a:cubicBezTo>
                      <a:pt x="37" y="76"/>
                      <a:pt x="37" y="76"/>
                      <a:pt x="37" y="76"/>
                    </a:cubicBezTo>
                    <a:cubicBezTo>
                      <a:pt x="38" y="77"/>
                      <a:pt x="39" y="77"/>
                      <a:pt x="40" y="77"/>
                    </a:cubicBezTo>
                    <a:cubicBezTo>
                      <a:pt x="41" y="77"/>
                      <a:pt x="41" y="77"/>
                      <a:pt x="41" y="77"/>
                    </a:cubicBezTo>
                    <a:cubicBezTo>
                      <a:pt x="42" y="78"/>
                      <a:pt x="43" y="78"/>
                      <a:pt x="44" y="78"/>
                    </a:cubicBezTo>
                    <a:cubicBezTo>
                      <a:pt x="44" y="78"/>
                      <a:pt x="44" y="78"/>
                      <a:pt x="44" y="78"/>
                    </a:cubicBezTo>
                    <a:cubicBezTo>
                      <a:pt x="45" y="78"/>
                      <a:pt x="46" y="79"/>
                      <a:pt x="48" y="79"/>
                    </a:cubicBezTo>
                    <a:cubicBezTo>
                      <a:pt x="48" y="79"/>
                      <a:pt x="48" y="79"/>
                      <a:pt x="48" y="79"/>
                    </a:cubicBezTo>
                    <a:cubicBezTo>
                      <a:pt x="49" y="79"/>
                      <a:pt x="50" y="80"/>
                      <a:pt x="51" y="80"/>
                    </a:cubicBezTo>
                    <a:cubicBezTo>
                      <a:pt x="52" y="80"/>
                      <a:pt x="52" y="80"/>
                      <a:pt x="52" y="80"/>
                    </a:cubicBezTo>
                    <a:cubicBezTo>
                      <a:pt x="53" y="80"/>
                      <a:pt x="54" y="80"/>
                      <a:pt x="55" y="81"/>
                    </a:cubicBezTo>
                    <a:cubicBezTo>
                      <a:pt x="55" y="81"/>
                      <a:pt x="55" y="81"/>
                      <a:pt x="55" y="81"/>
                    </a:cubicBezTo>
                    <a:cubicBezTo>
                      <a:pt x="57" y="81"/>
                      <a:pt x="58" y="81"/>
                      <a:pt x="59" y="81"/>
                    </a:cubicBezTo>
                    <a:cubicBezTo>
                      <a:pt x="60" y="82"/>
                      <a:pt x="60" y="82"/>
                      <a:pt x="60" y="82"/>
                    </a:cubicBezTo>
                    <a:cubicBezTo>
                      <a:pt x="61" y="82"/>
                      <a:pt x="62" y="82"/>
                      <a:pt x="63" y="82"/>
                    </a:cubicBezTo>
                    <a:cubicBezTo>
                      <a:pt x="64" y="82"/>
                      <a:pt x="64" y="82"/>
                      <a:pt x="64" y="82"/>
                    </a:cubicBezTo>
                    <a:cubicBezTo>
                      <a:pt x="65" y="83"/>
                      <a:pt x="66" y="83"/>
                      <a:pt x="68" y="83"/>
                    </a:cubicBezTo>
                    <a:cubicBezTo>
                      <a:pt x="68" y="83"/>
                      <a:pt x="68" y="83"/>
                      <a:pt x="68" y="83"/>
                    </a:cubicBezTo>
                    <a:cubicBezTo>
                      <a:pt x="69" y="83"/>
                      <a:pt x="71" y="83"/>
                      <a:pt x="72" y="84"/>
                    </a:cubicBezTo>
                    <a:cubicBezTo>
                      <a:pt x="72" y="84"/>
                      <a:pt x="72" y="84"/>
                      <a:pt x="73" y="84"/>
                    </a:cubicBezTo>
                    <a:cubicBezTo>
                      <a:pt x="74" y="84"/>
                      <a:pt x="75" y="84"/>
                      <a:pt x="76" y="84"/>
                    </a:cubicBezTo>
                    <a:cubicBezTo>
                      <a:pt x="77" y="84"/>
                      <a:pt x="77" y="84"/>
                      <a:pt x="77" y="84"/>
                    </a:cubicBezTo>
                    <a:cubicBezTo>
                      <a:pt x="78" y="85"/>
                      <a:pt x="80" y="85"/>
                      <a:pt x="81" y="85"/>
                    </a:cubicBezTo>
                    <a:cubicBezTo>
                      <a:pt x="82" y="85"/>
                      <a:pt x="82" y="85"/>
                      <a:pt x="82" y="85"/>
                    </a:cubicBezTo>
                    <a:cubicBezTo>
                      <a:pt x="83" y="85"/>
                      <a:pt x="84" y="85"/>
                      <a:pt x="86" y="86"/>
                    </a:cubicBezTo>
                    <a:cubicBezTo>
                      <a:pt x="86" y="86"/>
                      <a:pt x="86" y="86"/>
                      <a:pt x="87" y="86"/>
                    </a:cubicBezTo>
                    <a:cubicBezTo>
                      <a:pt x="88" y="86"/>
                      <a:pt x="90" y="86"/>
                      <a:pt x="91" y="86"/>
                    </a:cubicBezTo>
                    <a:cubicBezTo>
                      <a:pt x="92" y="86"/>
                      <a:pt x="92" y="86"/>
                      <a:pt x="92" y="86"/>
                    </a:cubicBezTo>
                    <a:cubicBezTo>
                      <a:pt x="93" y="86"/>
                      <a:pt x="94" y="86"/>
                      <a:pt x="96" y="87"/>
                    </a:cubicBezTo>
                    <a:cubicBezTo>
                      <a:pt x="96" y="87"/>
                      <a:pt x="96" y="87"/>
                      <a:pt x="97" y="87"/>
                    </a:cubicBezTo>
                    <a:cubicBezTo>
                      <a:pt x="98" y="87"/>
                      <a:pt x="100" y="87"/>
                      <a:pt x="101" y="87"/>
                    </a:cubicBezTo>
                    <a:cubicBezTo>
                      <a:pt x="102" y="87"/>
                      <a:pt x="102" y="87"/>
                      <a:pt x="102" y="87"/>
                    </a:cubicBezTo>
                    <a:cubicBezTo>
                      <a:pt x="103" y="87"/>
                      <a:pt x="105" y="87"/>
                      <a:pt x="106" y="88"/>
                    </a:cubicBezTo>
                    <a:cubicBezTo>
                      <a:pt x="107" y="88"/>
                      <a:pt x="107" y="88"/>
                      <a:pt x="108" y="88"/>
                    </a:cubicBezTo>
                    <a:cubicBezTo>
                      <a:pt x="109" y="88"/>
                      <a:pt x="110" y="88"/>
                      <a:pt x="111" y="88"/>
                    </a:cubicBezTo>
                    <a:cubicBezTo>
                      <a:pt x="112" y="88"/>
                      <a:pt x="112" y="88"/>
                      <a:pt x="113" y="88"/>
                    </a:cubicBezTo>
                    <a:cubicBezTo>
                      <a:pt x="114" y="88"/>
                      <a:pt x="116" y="88"/>
                      <a:pt x="118" y="88"/>
                    </a:cubicBezTo>
                    <a:cubicBezTo>
                      <a:pt x="119" y="88"/>
                      <a:pt x="119" y="88"/>
                      <a:pt x="119" y="88"/>
                    </a:cubicBezTo>
                    <a:cubicBezTo>
                      <a:pt x="120" y="88"/>
                      <a:pt x="121" y="88"/>
                      <a:pt x="123" y="89"/>
                    </a:cubicBezTo>
                    <a:cubicBezTo>
                      <a:pt x="123" y="89"/>
                      <a:pt x="124" y="89"/>
                      <a:pt x="124" y="89"/>
                    </a:cubicBezTo>
                    <a:cubicBezTo>
                      <a:pt x="126" y="89"/>
                      <a:pt x="127" y="89"/>
                      <a:pt x="129" y="89"/>
                    </a:cubicBezTo>
                    <a:cubicBezTo>
                      <a:pt x="130" y="89"/>
                      <a:pt x="130" y="89"/>
                      <a:pt x="130" y="89"/>
                    </a:cubicBezTo>
                    <a:cubicBezTo>
                      <a:pt x="131" y="89"/>
                      <a:pt x="133" y="89"/>
                      <a:pt x="135" y="89"/>
                    </a:cubicBezTo>
                    <a:cubicBezTo>
                      <a:pt x="135" y="89"/>
                      <a:pt x="136" y="89"/>
                      <a:pt x="137" y="89"/>
                    </a:cubicBezTo>
                    <a:cubicBezTo>
                      <a:pt x="138" y="89"/>
                      <a:pt x="139" y="89"/>
                      <a:pt x="141" y="89"/>
                    </a:cubicBezTo>
                    <a:cubicBezTo>
                      <a:pt x="141" y="89"/>
                      <a:pt x="142" y="89"/>
                      <a:pt x="142" y="89"/>
                    </a:cubicBezTo>
                    <a:cubicBezTo>
                      <a:pt x="144" y="89"/>
                      <a:pt x="146" y="89"/>
                      <a:pt x="148" y="89"/>
                    </a:cubicBezTo>
                    <a:cubicBezTo>
                      <a:pt x="148" y="89"/>
                      <a:pt x="149" y="89"/>
                      <a:pt x="149" y="89"/>
                    </a:cubicBezTo>
                    <a:cubicBezTo>
                      <a:pt x="150" y="89"/>
                      <a:pt x="152" y="89"/>
                      <a:pt x="154" y="89"/>
                    </a:cubicBezTo>
                    <a:cubicBezTo>
                      <a:pt x="154" y="89"/>
                      <a:pt x="155" y="89"/>
                      <a:pt x="155" y="89"/>
                    </a:cubicBezTo>
                    <a:cubicBezTo>
                      <a:pt x="157" y="89"/>
                      <a:pt x="159" y="89"/>
                      <a:pt x="161" y="89"/>
                    </a:cubicBezTo>
                    <a:cubicBezTo>
                      <a:pt x="161" y="89"/>
                      <a:pt x="161" y="89"/>
                      <a:pt x="161" y="89"/>
                    </a:cubicBezTo>
                    <a:cubicBezTo>
                      <a:pt x="163" y="89"/>
                      <a:pt x="165" y="89"/>
                      <a:pt x="167" y="89"/>
                    </a:cubicBezTo>
                    <a:cubicBezTo>
                      <a:pt x="168" y="89"/>
                      <a:pt x="168" y="89"/>
                      <a:pt x="169" y="89"/>
                    </a:cubicBezTo>
                    <a:cubicBezTo>
                      <a:pt x="171" y="89"/>
                      <a:pt x="172" y="89"/>
                      <a:pt x="174" y="89"/>
                    </a:cubicBezTo>
                    <a:cubicBezTo>
                      <a:pt x="174" y="89"/>
                      <a:pt x="175" y="89"/>
                      <a:pt x="175" y="89"/>
                    </a:cubicBezTo>
                    <a:cubicBezTo>
                      <a:pt x="177" y="89"/>
                      <a:pt x="179" y="89"/>
                      <a:pt x="182" y="88"/>
                    </a:cubicBezTo>
                    <a:cubicBezTo>
                      <a:pt x="182" y="88"/>
                      <a:pt x="182" y="88"/>
                      <a:pt x="183" y="88"/>
                    </a:cubicBezTo>
                    <a:cubicBezTo>
                      <a:pt x="185" y="88"/>
                      <a:pt x="186" y="88"/>
                      <a:pt x="188" y="88"/>
                    </a:cubicBezTo>
                    <a:cubicBezTo>
                      <a:pt x="189" y="88"/>
                      <a:pt x="189" y="88"/>
                      <a:pt x="190" y="88"/>
                    </a:cubicBezTo>
                    <a:cubicBezTo>
                      <a:pt x="192" y="88"/>
                      <a:pt x="194" y="88"/>
                      <a:pt x="196" y="88"/>
                    </a:cubicBezTo>
                    <a:cubicBezTo>
                      <a:pt x="197" y="88"/>
                      <a:pt x="197" y="88"/>
                      <a:pt x="197" y="88"/>
                    </a:cubicBezTo>
                    <a:cubicBezTo>
                      <a:pt x="199" y="88"/>
                      <a:pt x="201" y="87"/>
                      <a:pt x="203" y="87"/>
                    </a:cubicBezTo>
                    <a:cubicBezTo>
                      <a:pt x="204" y="87"/>
                      <a:pt x="205" y="87"/>
                      <a:pt x="205" y="87"/>
                    </a:cubicBezTo>
                    <a:cubicBezTo>
                      <a:pt x="207" y="87"/>
                      <a:pt x="209" y="87"/>
                      <a:pt x="211" y="87"/>
                    </a:cubicBezTo>
                    <a:cubicBezTo>
                      <a:pt x="211" y="87"/>
                      <a:pt x="212" y="87"/>
                      <a:pt x="212" y="87"/>
                    </a:cubicBezTo>
                    <a:cubicBezTo>
                      <a:pt x="215" y="86"/>
                      <a:pt x="217" y="86"/>
                      <a:pt x="219" y="86"/>
                    </a:cubicBezTo>
                    <a:cubicBezTo>
                      <a:pt x="220" y="86"/>
                      <a:pt x="220" y="86"/>
                      <a:pt x="221" y="86"/>
                    </a:cubicBezTo>
                    <a:cubicBezTo>
                      <a:pt x="223" y="86"/>
                      <a:pt x="225" y="86"/>
                      <a:pt x="227" y="85"/>
                    </a:cubicBezTo>
                    <a:cubicBezTo>
                      <a:pt x="227" y="85"/>
                      <a:pt x="228" y="85"/>
                      <a:pt x="229" y="85"/>
                    </a:cubicBezTo>
                    <a:cubicBezTo>
                      <a:pt x="231" y="85"/>
                      <a:pt x="233" y="85"/>
                      <a:pt x="235" y="85"/>
                    </a:cubicBezTo>
                    <a:cubicBezTo>
                      <a:pt x="236" y="84"/>
                      <a:pt x="236" y="84"/>
                      <a:pt x="236" y="84"/>
                    </a:cubicBezTo>
                    <a:cubicBezTo>
                      <a:pt x="238" y="84"/>
                      <a:pt x="241" y="84"/>
                      <a:pt x="243" y="84"/>
                    </a:cubicBezTo>
                    <a:cubicBezTo>
                      <a:pt x="244" y="84"/>
                      <a:pt x="245" y="84"/>
                      <a:pt x="245" y="83"/>
                    </a:cubicBezTo>
                    <a:cubicBezTo>
                      <a:pt x="247" y="83"/>
                      <a:pt x="249" y="83"/>
                      <a:pt x="251" y="83"/>
                    </a:cubicBezTo>
                    <a:cubicBezTo>
                      <a:pt x="252" y="83"/>
                      <a:pt x="253" y="83"/>
                      <a:pt x="253" y="83"/>
                    </a:cubicBezTo>
                    <a:cubicBezTo>
                      <a:pt x="256" y="82"/>
                      <a:pt x="258" y="82"/>
                      <a:pt x="261" y="82"/>
                    </a:cubicBezTo>
                    <a:cubicBezTo>
                      <a:pt x="262" y="82"/>
                      <a:pt x="262" y="82"/>
                      <a:pt x="263" y="81"/>
                    </a:cubicBezTo>
                    <a:cubicBezTo>
                      <a:pt x="265" y="81"/>
                      <a:pt x="267" y="81"/>
                      <a:pt x="269" y="81"/>
                    </a:cubicBezTo>
                    <a:cubicBezTo>
                      <a:pt x="270" y="81"/>
                      <a:pt x="271" y="80"/>
                      <a:pt x="271" y="80"/>
                    </a:cubicBezTo>
                    <a:cubicBezTo>
                      <a:pt x="274" y="80"/>
                      <a:pt x="276" y="80"/>
                      <a:pt x="279" y="79"/>
                    </a:cubicBezTo>
                    <a:cubicBezTo>
                      <a:pt x="279" y="79"/>
                      <a:pt x="279" y="79"/>
                      <a:pt x="279" y="79"/>
                    </a:cubicBezTo>
                    <a:cubicBezTo>
                      <a:pt x="282" y="79"/>
                      <a:pt x="285" y="78"/>
                      <a:pt x="288" y="78"/>
                    </a:cubicBezTo>
                    <a:cubicBezTo>
                      <a:pt x="288" y="78"/>
                      <a:pt x="289" y="78"/>
                      <a:pt x="290" y="78"/>
                    </a:cubicBezTo>
                    <a:cubicBezTo>
                      <a:pt x="292" y="77"/>
                      <a:pt x="294" y="77"/>
                      <a:pt x="296" y="77"/>
                    </a:cubicBezTo>
                    <a:cubicBezTo>
                      <a:pt x="297" y="77"/>
                      <a:pt x="298" y="76"/>
                      <a:pt x="299" y="76"/>
                    </a:cubicBezTo>
                    <a:cubicBezTo>
                      <a:pt x="301" y="76"/>
                      <a:pt x="304" y="75"/>
                      <a:pt x="307" y="75"/>
                    </a:cubicBezTo>
                    <a:cubicBezTo>
                      <a:pt x="308" y="75"/>
                      <a:pt x="308" y="75"/>
                      <a:pt x="309" y="75"/>
                    </a:cubicBezTo>
                    <a:cubicBezTo>
                      <a:pt x="311" y="74"/>
                      <a:pt x="313" y="74"/>
                      <a:pt x="316" y="74"/>
                    </a:cubicBezTo>
                    <a:cubicBezTo>
                      <a:pt x="317" y="73"/>
                      <a:pt x="317" y="73"/>
                      <a:pt x="318" y="73"/>
                    </a:cubicBezTo>
                    <a:cubicBezTo>
                      <a:pt x="321" y="73"/>
                      <a:pt x="324" y="72"/>
                      <a:pt x="327" y="72"/>
                    </a:cubicBezTo>
                    <a:cubicBezTo>
                      <a:pt x="327" y="72"/>
                      <a:pt x="327" y="72"/>
                      <a:pt x="327" y="72"/>
                    </a:cubicBezTo>
                    <a:cubicBezTo>
                      <a:pt x="330" y="71"/>
                      <a:pt x="333" y="71"/>
                      <a:pt x="336" y="70"/>
                    </a:cubicBezTo>
                    <a:cubicBezTo>
                      <a:pt x="337" y="70"/>
                      <a:pt x="338" y="70"/>
                      <a:pt x="339" y="69"/>
                    </a:cubicBezTo>
                    <a:cubicBezTo>
                      <a:pt x="341" y="69"/>
                      <a:pt x="344" y="69"/>
                      <a:pt x="346" y="68"/>
                    </a:cubicBezTo>
                    <a:cubicBezTo>
                      <a:pt x="347" y="68"/>
                      <a:pt x="347" y="68"/>
                      <a:pt x="348" y="68"/>
                    </a:cubicBezTo>
                    <a:cubicBezTo>
                      <a:pt x="351" y="67"/>
                      <a:pt x="354" y="67"/>
                      <a:pt x="357" y="66"/>
                    </a:cubicBezTo>
                    <a:cubicBezTo>
                      <a:pt x="358" y="66"/>
                      <a:pt x="359" y="66"/>
                      <a:pt x="359" y="65"/>
                    </a:cubicBezTo>
                    <a:cubicBezTo>
                      <a:pt x="362" y="65"/>
                      <a:pt x="364" y="64"/>
                      <a:pt x="367" y="64"/>
                    </a:cubicBezTo>
                    <a:cubicBezTo>
                      <a:pt x="368" y="64"/>
                      <a:pt x="369" y="64"/>
                      <a:pt x="370" y="63"/>
                    </a:cubicBezTo>
                    <a:cubicBezTo>
                      <a:pt x="373" y="63"/>
                      <a:pt x="376" y="62"/>
                      <a:pt x="379" y="61"/>
                    </a:cubicBezTo>
                    <a:cubicBezTo>
                      <a:pt x="387" y="42"/>
                      <a:pt x="391" y="30"/>
                      <a:pt x="395" y="22"/>
                    </a:cubicBezTo>
                    <a:lnTo>
                      <a:pt x="391" y="0"/>
                    </a:lnTo>
                    <a:close/>
                  </a:path>
                </a:pathLst>
              </a:custGeom>
              <a:solidFill>
                <a:srgbClr val="006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54" name="Freeform 24">
                <a:extLst>
                  <a:ext uri="{FF2B5EF4-FFF2-40B4-BE49-F238E27FC236}">
                    <a16:creationId xmlns:a16="http://schemas.microsoft.com/office/drawing/2014/main" id="{0D1F2064-2E55-D227-84BC-CCA62607B29F}"/>
                  </a:ext>
                </a:extLst>
              </p:cNvPr>
              <p:cNvSpPr/>
              <p:nvPr/>
            </p:nvSpPr>
            <p:spPr bwMode="auto">
              <a:xfrm>
                <a:off x="7291015" y="465917"/>
                <a:ext cx="815975" cy="152400"/>
              </a:xfrm>
              <a:custGeom>
                <a:gdLst>
                  <a:gd name="T0" fmla="*/ 278 w 299"/>
                  <a:gd name="T1" fmla="*/ 0 h 56"/>
                  <a:gd name="T2" fmla="*/ 274 w 299"/>
                  <a:gd name="T3" fmla="*/ 0 h 56"/>
                  <a:gd name="T4" fmla="*/ 21 w 299"/>
                  <a:gd name="T5" fmla="*/ 41 h 56"/>
                  <a:gd name="T6" fmla="*/ 14 w 299"/>
                  <a:gd name="T7" fmla="*/ 56 h 56"/>
                  <a:gd name="T8" fmla="*/ 20 w 299"/>
                  <a:gd name="T9" fmla="*/ 55 h 56"/>
                  <a:gd name="T10" fmla="*/ 277 w 299"/>
                  <a:gd name="T11" fmla="*/ 19 h 56"/>
                  <a:gd name="T12" fmla="*/ 278 w 299"/>
                  <a:gd name="T13" fmla="*/ 0 h 56"/>
                </a:gdLst>
                <a:cxnLst>
                  <a:cxn ang="0">
                    <a:pos x="T0" y="T1"/>
                  </a:cxn>
                  <a:cxn ang="0">
                    <a:pos x="T2" y="T3"/>
                  </a:cxn>
                  <a:cxn ang="0">
                    <a:pos x="T4" y="T5"/>
                  </a:cxn>
                  <a:cxn ang="0">
                    <a:pos x="T6" y="T7"/>
                  </a:cxn>
                  <a:cxn ang="0">
                    <a:pos x="T8" y="T9"/>
                  </a:cxn>
                  <a:cxn ang="0">
                    <a:pos x="T10" y="T11"/>
                  </a:cxn>
                  <a:cxn ang="0">
                    <a:pos x="T12" y="T13"/>
                  </a:cxn>
                </a:cxnLst>
                <a:rect l="0" t="0" r="r" b="b"/>
                <a:pathLst>
                  <a:path w="299" h="56">
                    <a:moveTo>
                      <a:pt x="278" y="0"/>
                    </a:moveTo>
                    <a:cubicBezTo>
                      <a:pt x="276" y="0"/>
                      <a:pt x="275" y="0"/>
                      <a:pt x="274" y="0"/>
                    </a:cubicBezTo>
                    <a:cubicBezTo>
                      <a:pt x="256" y="3"/>
                      <a:pt x="40" y="36"/>
                      <a:pt x="21" y="41"/>
                    </a:cubicBezTo>
                    <a:cubicBezTo>
                      <a:pt x="3" y="46"/>
                      <a:pt x="0" y="56"/>
                      <a:pt x="14" y="56"/>
                    </a:cubicBezTo>
                    <a:cubicBezTo>
                      <a:pt x="16" y="56"/>
                      <a:pt x="18" y="56"/>
                      <a:pt x="20" y="55"/>
                    </a:cubicBezTo>
                    <a:cubicBezTo>
                      <a:pt x="20" y="55"/>
                      <a:pt x="252" y="24"/>
                      <a:pt x="277" y="19"/>
                    </a:cubicBezTo>
                    <a:cubicBezTo>
                      <a:pt x="299" y="14"/>
                      <a:pt x="293" y="0"/>
                      <a:pt x="278" y="0"/>
                    </a:cubicBezTo>
                  </a:path>
                </a:pathLst>
              </a:custGeom>
              <a:solidFill>
                <a:srgbClr val="0047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grpSp>
        <p:grpSp>
          <p:nvGrpSpPr>
            <p:cNvPr id="261" name="Grupo 260">
              <a:extLst>
                <a:ext uri="{FF2B5EF4-FFF2-40B4-BE49-F238E27FC236}">
                  <a16:creationId xmlns:a16="http://schemas.microsoft.com/office/drawing/2014/main" id="{34197B2B-FBDC-D4FD-C17A-D3F43390FB74}"/>
                </a:ext>
              </a:extLst>
            </p:cNvPr>
            <p:cNvGrpSpPr/>
            <p:nvPr/>
          </p:nvGrpSpPr>
          <p:grpSpPr>
            <a:xfrm>
              <a:off x="-275010" y="-235758"/>
              <a:ext cx="1992313" cy="1620838"/>
              <a:chOff x="220290" y="-235758"/>
              <a:chExt cx="1992313" cy="1620838"/>
            </a:xfrm>
          </p:grpSpPr>
          <p:sp>
            <p:nvSpPr>
              <p:cNvPr id="255" name="Freeform 25">
                <a:extLst>
                  <a:ext uri="{FF2B5EF4-FFF2-40B4-BE49-F238E27FC236}">
                    <a16:creationId xmlns:a16="http://schemas.microsoft.com/office/drawing/2014/main" id="{5EDF9CBD-D3CE-C83B-9E76-475ED03686CD}"/>
                  </a:ext>
                </a:extLst>
              </p:cNvPr>
              <p:cNvSpPr/>
              <p:nvPr/>
            </p:nvSpPr>
            <p:spPr bwMode="auto">
              <a:xfrm>
                <a:off x="220290" y="-235758"/>
                <a:ext cx="1992313" cy="1620838"/>
              </a:xfrm>
              <a:custGeom>
                <a:gdLst>
                  <a:gd name="T0" fmla="*/ 529 w 730"/>
                  <a:gd name="T1" fmla="*/ 272 h 594"/>
                  <a:gd name="T2" fmla="*/ 529 w 730"/>
                  <a:gd name="T3" fmla="*/ 272 h 594"/>
                  <a:gd name="T4" fmla="*/ 338 w 730"/>
                  <a:gd name="T5" fmla="*/ 186 h 594"/>
                  <a:gd name="T6" fmla="*/ 29 w 730"/>
                  <a:gd name="T7" fmla="*/ 5 h 594"/>
                  <a:gd name="T8" fmla="*/ 5 w 730"/>
                  <a:gd name="T9" fmla="*/ 15 h 594"/>
                  <a:gd name="T10" fmla="*/ 5 w 730"/>
                  <a:gd name="T11" fmla="*/ 15 h 594"/>
                  <a:gd name="T12" fmla="*/ 1 w 730"/>
                  <a:gd name="T13" fmla="*/ 41 h 594"/>
                  <a:gd name="T14" fmla="*/ 257 w 730"/>
                  <a:gd name="T15" fmla="*/ 292 h 594"/>
                  <a:gd name="T16" fmla="*/ 390 w 730"/>
                  <a:gd name="T17" fmla="*/ 454 h 594"/>
                  <a:gd name="T18" fmla="*/ 390 w 730"/>
                  <a:gd name="T19" fmla="*/ 454 h 594"/>
                  <a:gd name="T20" fmla="*/ 452 w 730"/>
                  <a:gd name="T21" fmla="*/ 519 h 594"/>
                  <a:gd name="T22" fmla="*/ 687 w 730"/>
                  <a:gd name="T23" fmla="*/ 538 h 594"/>
                  <a:gd name="T24" fmla="*/ 607 w 730"/>
                  <a:gd name="T25" fmla="*/ 316 h 594"/>
                  <a:gd name="T26" fmla="*/ 529 w 730"/>
                  <a:gd name="T27" fmla="*/ 272 h 59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0" h="594">
                    <a:moveTo>
                      <a:pt x="529" y="272"/>
                    </a:moveTo>
                    <a:cubicBezTo>
                      <a:pt x="529" y="272"/>
                      <a:pt x="529" y="272"/>
                      <a:pt x="529" y="272"/>
                    </a:cubicBezTo>
                    <a:cubicBezTo>
                      <a:pt x="529" y="272"/>
                      <a:pt x="447" y="244"/>
                      <a:pt x="338" y="186"/>
                    </a:cubicBezTo>
                    <a:cubicBezTo>
                      <a:pt x="210" y="118"/>
                      <a:pt x="50" y="0"/>
                      <a:pt x="29" y="5"/>
                    </a:cubicBezTo>
                    <a:cubicBezTo>
                      <a:pt x="7" y="10"/>
                      <a:pt x="5" y="15"/>
                      <a:pt x="5" y="15"/>
                    </a:cubicBezTo>
                    <a:cubicBezTo>
                      <a:pt x="5" y="15"/>
                      <a:pt x="5" y="15"/>
                      <a:pt x="5" y="15"/>
                    </a:cubicBezTo>
                    <a:cubicBezTo>
                      <a:pt x="5" y="15"/>
                      <a:pt x="0" y="18"/>
                      <a:pt x="1" y="41"/>
                    </a:cubicBezTo>
                    <a:cubicBezTo>
                      <a:pt x="2" y="63"/>
                      <a:pt x="158" y="187"/>
                      <a:pt x="257" y="292"/>
                    </a:cubicBezTo>
                    <a:cubicBezTo>
                      <a:pt x="341" y="382"/>
                      <a:pt x="390" y="454"/>
                      <a:pt x="390" y="454"/>
                    </a:cubicBezTo>
                    <a:cubicBezTo>
                      <a:pt x="390" y="454"/>
                      <a:pt x="390" y="454"/>
                      <a:pt x="390" y="454"/>
                    </a:cubicBezTo>
                    <a:cubicBezTo>
                      <a:pt x="406" y="477"/>
                      <a:pt x="427" y="499"/>
                      <a:pt x="452" y="519"/>
                    </a:cubicBezTo>
                    <a:cubicBezTo>
                      <a:pt x="539" y="585"/>
                      <a:pt x="644" y="594"/>
                      <a:pt x="687" y="538"/>
                    </a:cubicBezTo>
                    <a:cubicBezTo>
                      <a:pt x="730" y="482"/>
                      <a:pt x="695" y="382"/>
                      <a:pt x="607" y="316"/>
                    </a:cubicBezTo>
                    <a:cubicBezTo>
                      <a:pt x="582" y="296"/>
                      <a:pt x="555" y="282"/>
                      <a:pt x="529" y="272"/>
                    </a:cubicBezTo>
                  </a:path>
                </a:pathLst>
              </a:custGeom>
              <a:solidFill>
                <a:srgbClr val="006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56" name="Freeform 26">
                <a:extLst>
                  <a:ext uri="{FF2B5EF4-FFF2-40B4-BE49-F238E27FC236}">
                    <a16:creationId xmlns:a16="http://schemas.microsoft.com/office/drawing/2014/main" id="{B204A671-2E86-1576-D261-4E18E7AC062B}"/>
                  </a:ext>
                </a:extLst>
              </p:cNvPr>
              <p:cNvSpPr>
                <a:spLocks noEditPoints="1"/>
              </p:cNvSpPr>
              <p:nvPr/>
            </p:nvSpPr>
            <p:spPr bwMode="auto">
              <a:xfrm>
                <a:off x="2095128" y="1229505"/>
                <a:ext cx="1588" cy="1588"/>
              </a:xfrm>
              <a:custGeom>
                <a:gdLst>
                  <a:gd name="T0" fmla="*/ 1 w 1"/>
                  <a:gd name="T1" fmla="*/ 1 h 1"/>
                  <a:gd name="T2" fmla="*/ 0 w 1"/>
                  <a:gd name="T3" fmla="*/ 1 h 1"/>
                  <a:gd name="T4" fmla="*/ 1 w 1"/>
                  <a:gd name="T5" fmla="*/ 1 h 1"/>
                  <a:gd name="T6" fmla="*/ 1 w 1"/>
                  <a:gd name="T7" fmla="*/ 0 h 1"/>
                  <a:gd name="T8" fmla="*/ 1 w 1"/>
                  <a:gd name="T9" fmla="*/ 1 h 1"/>
                  <a:gd name="T10" fmla="*/ 1 w 1"/>
                  <a:gd name="T11" fmla="*/ 0 h 1"/>
                  <a:gd name="T12" fmla="*/ 1 w 1"/>
                  <a:gd name="T13" fmla="*/ 0 h 1"/>
                  <a:gd name="T14" fmla="*/ 1 w 1"/>
                  <a:gd name="T15" fmla="*/ 0 h 1"/>
                  <a:gd name="T16" fmla="*/ 1 w 1"/>
                  <a:gd name="T17" fmla="*/ 0 h 1"/>
                  <a:gd name="T18" fmla="*/ 1 w 1"/>
                  <a:gd name="T19" fmla="*/ 0 h 1"/>
                  <a:gd name="T20" fmla="*/ 1 w 1"/>
                  <a:gd name="T21" fmla="*/ 0 h 1"/>
                  <a:gd name="T22" fmla="*/ 1 w 1"/>
                  <a:gd name="T23" fmla="*/ 0 h 1"/>
                  <a:gd name="T24" fmla="*/ 1 w 1"/>
                  <a:gd name="T25" fmla="*/ 0 h 1"/>
                  <a:gd name="T26" fmla="*/ 1 w 1"/>
                  <a:gd name="T27" fmla="*/ 0 h 1"/>
                  <a:gd name="T28" fmla="*/ 1 w 1"/>
                  <a:gd name="T29" fmla="*/ 0 h 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 h="1">
                    <a:moveTo>
                      <a:pt x="1" y="1"/>
                    </a:moveTo>
                    <a:cubicBezTo>
                      <a:pt x="1" y="1"/>
                      <a:pt x="0" y="1"/>
                      <a:pt x="0" y="1"/>
                    </a:cubicBezTo>
                    <a:cubicBezTo>
                      <a:pt x="0" y="1"/>
                      <a:pt x="1" y="1"/>
                      <a:pt x="1" y="1"/>
                    </a:cubicBezTo>
                    <a:moveTo>
                      <a:pt x="1" y="0"/>
                    </a:moveTo>
                    <a:cubicBezTo>
                      <a:pt x="1" y="0"/>
                      <a:pt x="1" y="0"/>
                      <a:pt x="1" y="1"/>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57" name="Freeform 27">
                <a:extLst>
                  <a:ext uri="{FF2B5EF4-FFF2-40B4-BE49-F238E27FC236}">
                    <a16:creationId xmlns:a16="http://schemas.microsoft.com/office/drawing/2014/main" id="{933B2604-09F4-59BB-3819-D87E96FDF01C}"/>
                  </a:ext>
                </a:extLst>
              </p:cNvPr>
              <p:cNvSpPr/>
              <p:nvPr/>
            </p:nvSpPr>
            <p:spPr bwMode="auto">
              <a:xfrm>
                <a:off x="518740" y="173817"/>
                <a:ext cx="1638300" cy="1158875"/>
              </a:xfrm>
              <a:custGeom>
                <a:gdLst>
                  <a:gd name="T0" fmla="*/ 54 w 601"/>
                  <a:gd name="T1" fmla="*/ 0 h 425"/>
                  <a:gd name="T2" fmla="*/ 0 w 601"/>
                  <a:gd name="T3" fmla="*/ 0 h 425"/>
                  <a:gd name="T4" fmla="*/ 148 w 601"/>
                  <a:gd name="T5" fmla="*/ 142 h 425"/>
                  <a:gd name="T6" fmla="*/ 281 w 601"/>
                  <a:gd name="T7" fmla="*/ 304 h 425"/>
                  <a:gd name="T8" fmla="*/ 281 w 601"/>
                  <a:gd name="T9" fmla="*/ 304 h 425"/>
                  <a:gd name="T10" fmla="*/ 343 w 601"/>
                  <a:gd name="T11" fmla="*/ 369 h 425"/>
                  <a:gd name="T12" fmla="*/ 492 w 601"/>
                  <a:gd name="T13" fmla="*/ 425 h 425"/>
                  <a:gd name="T14" fmla="*/ 578 w 601"/>
                  <a:gd name="T15" fmla="*/ 388 h 425"/>
                  <a:gd name="T16" fmla="*/ 578 w 601"/>
                  <a:gd name="T17" fmla="*/ 388 h 425"/>
                  <a:gd name="T18" fmla="*/ 579 w 601"/>
                  <a:gd name="T19" fmla="*/ 388 h 425"/>
                  <a:gd name="T20" fmla="*/ 579 w 601"/>
                  <a:gd name="T21" fmla="*/ 388 h 425"/>
                  <a:gd name="T22" fmla="*/ 579 w 601"/>
                  <a:gd name="T23" fmla="*/ 387 h 425"/>
                  <a:gd name="T24" fmla="*/ 579 w 601"/>
                  <a:gd name="T25" fmla="*/ 387 h 425"/>
                  <a:gd name="T26" fmla="*/ 579 w 601"/>
                  <a:gd name="T27" fmla="*/ 387 h 425"/>
                  <a:gd name="T28" fmla="*/ 579 w 601"/>
                  <a:gd name="T29" fmla="*/ 387 h 425"/>
                  <a:gd name="T30" fmla="*/ 579 w 601"/>
                  <a:gd name="T31" fmla="*/ 387 h 425"/>
                  <a:gd name="T32" fmla="*/ 579 w 601"/>
                  <a:gd name="T33" fmla="*/ 387 h 425"/>
                  <a:gd name="T34" fmla="*/ 579 w 601"/>
                  <a:gd name="T35" fmla="*/ 387 h 425"/>
                  <a:gd name="T36" fmla="*/ 587 w 601"/>
                  <a:gd name="T37" fmla="*/ 282 h 425"/>
                  <a:gd name="T38" fmla="*/ 551 w 601"/>
                  <a:gd name="T39" fmla="*/ 339 h 425"/>
                  <a:gd name="T40" fmla="*/ 488 w 601"/>
                  <a:gd name="T41" fmla="*/ 376 h 425"/>
                  <a:gd name="T42" fmla="*/ 291 w 601"/>
                  <a:gd name="T43" fmla="*/ 263 h 425"/>
                  <a:gd name="T44" fmla="*/ 54 w 601"/>
                  <a:gd name="T45" fmla="*/ 0 h 4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1" h="425">
                    <a:moveTo>
                      <a:pt x="54" y="0"/>
                    </a:moveTo>
                    <a:cubicBezTo>
                      <a:pt x="0" y="0"/>
                      <a:pt x="0" y="0"/>
                      <a:pt x="0" y="0"/>
                    </a:cubicBezTo>
                    <a:cubicBezTo>
                      <a:pt x="48" y="44"/>
                      <a:pt x="103" y="95"/>
                      <a:pt x="148" y="142"/>
                    </a:cubicBezTo>
                    <a:cubicBezTo>
                      <a:pt x="232" y="232"/>
                      <a:pt x="281" y="304"/>
                      <a:pt x="281" y="304"/>
                    </a:cubicBezTo>
                    <a:cubicBezTo>
                      <a:pt x="281" y="304"/>
                      <a:pt x="281" y="304"/>
                      <a:pt x="281" y="304"/>
                    </a:cubicBezTo>
                    <a:cubicBezTo>
                      <a:pt x="297" y="327"/>
                      <a:pt x="318" y="349"/>
                      <a:pt x="343" y="369"/>
                    </a:cubicBezTo>
                    <a:cubicBezTo>
                      <a:pt x="391" y="406"/>
                      <a:pt x="446" y="425"/>
                      <a:pt x="492" y="425"/>
                    </a:cubicBezTo>
                    <a:cubicBezTo>
                      <a:pt x="528" y="425"/>
                      <a:pt x="559" y="413"/>
                      <a:pt x="578" y="388"/>
                    </a:cubicBezTo>
                    <a:cubicBezTo>
                      <a:pt x="578" y="388"/>
                      <a:pt x="578" y="388"/>
                      <a:pt x="578" y="388"/>
                    </a:cubicBezTo>
                    <a:cubicBezTo>
                      <a:pt x="578" y="388"/>
                      <a:pt x="579" y="388"/>
                      <a:pt x="579" y="388"/>
                    </a:cubicBezTo>
                    <a:cubicBezTo>
                      <a:pt x="579" y="388"/>
                      <a:pt x="579" y="388"/>
                      <a:pt x="579" y="388"/>
                    </a:cubicBezTo>
                    <a:cubicBezTo>
                      <a:pt x="579" y="387"/>
                      <a:pt x="579" y="387"/>
                      <a:pt x="579" y="387"/>
                    </a:cubicBezTo>
                    <a:cubicBezTo>
                      <a:pt x="579" y="387"/>
                      <a:pt x="579" y="387"/>
                      <a:pt x="579" y="387"/>
                    </a:cubicBezTo>
                    <a:cubicBezTo>
                      <a:pt x="579" y="387"/>
                      <a:pt x="579" y="387"/>
                      <a:pt x="579" y="387"/>
                    </a:cubicBezTo>
                    <a:cubicBezTo>
                      <a:pt x="579" y="387"/>
                      <a:pt x="579" y="387"/>
                      <a:pt x="579" y="387"/>
                    </a:cubicBezTo>
                    <a:cubicBezTo>
                      <a:pt x="579" y="387"/>
                      <a:pt x="579" y="387"/>
                      <a:pt x="579" y="387"/>
                    </a:cubicBezTo>
                    <a:cubicBezTo>
                      <a:pt x="579" y="387"/>
                      <a:pt x="579" y="387"/>
                      <a:pt x="579" y="387"/>
                    </a:cubicBezTo>
                    <a:cubicBezTo>
                      <a:pt x="579" y="387"/>
                      <a:pt x="579" y="387"/>
                      <a:pt x="579" y="387"/>
                    </a:cubicBezTo>
                    <a:cubicBezTo>
                      <a:pt x="600" y="359"/>
                      <a:pt x="601" y="321"/>
                      <a:pt x="587" y="282"/>
                    </a:cubicBezTo>
                    <a:cubicBezTo>
                      <a:pt x="573" y="283"/>
                      <a:pt x="558" y="298"/>
                      <a:pt x="551" y="339"/>
                    </a:cubicBezTo>
                    <a:cubicBezTo>
                      <a:pt x="547" y="365"/>
                      <a:pt x="522" y="376"/>
                      <a:pt x="488" y="376"/>
                    </a:cubicBezTo>
                    <a:cubicBezTo>
                      <a:pt x="422" y="376"/>
                      <a:pt x="325" y="333"/>
                      <a:pt x="291" y="263"/>
                    </a:cubicBezTo>
                    <a:cubicBezTo>
                      <a:pt x="248" y="177"/>
                      <a:pt x="149" y="79"/>
                      <a:pt x="54" y="0"/>
                    </a:cubicBezTo>
                  </a:path>
                </a:pathLst>
              </a:custGeom>
              <a:solidFill>
                <a:srgbClr val="0047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58" name="Freeform 28">
                <a:extLst>
                  <a:ext uri="{FF2B5EF4-FFF2-40B4-BE49-F238E27FC236}">
                    <a16:creationId xmlns:a16="http://schemas.microsoft.com/office/drawing/2014/main" id="{D6D8B78D-5F03-7C9C-B340-56A87840F503}"/>
                  </a:ext>
                </a:extLst>
              </p:cNvPr>
              <p:cNvSpPr/>
              <p:nvPr/>
            </p:nvSpPr>
            <p:spPr bwMode="auto">
              <a:xfrm>
                <a:off x="1175965" y="470680"/>
                <a:ext cx="981075" cy="865188"/>
              </a:xfrm>
              <a:custGeom>
                <a:gdLst>
                  <a:gd name="T0" fmla="*/ 249 w 360"/>
                  <a:gd name="T1" fmla="*/ 67 h 317"/>
                  <a:gd name="T2" fmla="*/ 321 w 360"/>
                  <a:gd name="T3" fmla="*/ 266 h 317"/>
                  <a:gd name="T4" fmla="*/ 110 w 360"/>
                  <a:gd name="T5" fmla="*/ 249 h 317"/>
                  <a:gd name="T6" fmla="*/ 39 w 360"/>
                  <a:gd name="T7" fmla="*/ 50 h 317"/>
                  <a:gd name="T8" fmla="*/ 249 w 360"/>
                  <a:gd name="T9" fmla="*/ 67 h 317"/>
                </a:gdLst>
                <a:cxnLst>
                  <a:cxn ang="0">
                    <a:pos x="T0" y="T1"/>
                  </a:cxn>
                  <a:cxn ang="0">
                    <a:pos x="T2" y="T3"/>
                  </a:cxn>
                  <a:cxn ang="0">
                    <a:pos x="T4" y="T5"/>
                  </a:cxn>
                  <a:cxn ang="0">
                    <a:pos x="T6" y="T7"/>
                  </a:cxn>
                  <a:cxn ang="0">
                    <a:pos x="T8" y="T9"/>
                  </a:cxn>
                </a:cxnLst>
                <a:rect l="0" t="0" r="r" b="b"/>
                <a:pathLst>
                  <a:path w="360" h="317">
                    <a:moveTo>
                      <a:pt x="249" y="67"/>
                    </a:moveTo>
                    <a:cubicBezTo>
                      <a:pt x="328" y="127"/>
                      <a:pt x="360" y="216"/>
                      <a:pt x="321" y="266"/>
                    </a:cubicBezTo>
                    <a:cubicBezTo>
                      <a:pt x="283" y="317"/>
                      <a:pt x="188" y="309"/>
                      <a:pt x="110" y="249"/>
                    </a:cubicBezTo>
                    <a:cubicBezTo>
                      <a:pt x="32" y="189"/>
                      <a:pt x="0" y="100"/>
                      <a:pt x="39" y="50"/>
                    </a:cubicBezTo>
                    <a:cubicBezTo>
                      <a:pt x="77" y="0"/>
                      <a:pt x="171" y="8"/>
                      <a:pt x="249" y="67"/>
                    </a:cubicBezTo>
                    <a:close/>
                  </a:path>
                </a:pathLst>
              </a:custGeom>
              <a:solidFill>
                <a:srgbClr val="EAE7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59" name="Freeform 29">
                <a:extLst>
                  <a:ext uri="{FF2B5EF4-FFF2-40B4-BE49-F238E27FC236}">
                    <a16:creationId xmlns:a16="http://schemas.microsoft.com/office/drawing/2014/main" id="{B27C6A93-8668-DBF7-01DF-666EFE1FA023}"/>
                  </a:ext>
                </a:extLst>
              </p:cNvPr>
              <p:cNvSpPr/>
              <p:nvPr/>
            </p:nvSpPr>
            <p:spPr bwMode="auto">
              <a:xfrm>
                <a:off x="1325190" y="599267"/>
                <a:ext cx="703263" cy="622300"/>
              </a:xfrm>
              <a:custGeom>
                <a:gdLst>
                  <a:gd name="T0" fmla="*/ 179 w 258"/>
                  <a:gd name="T1" fmla="*/ 49 h 228"/>
                  <a:gd name="T2" fmla="*/ 230 w 258"/>
                  <a:gd name="T3" fmla="*/ 192 h 228"/>
                  <a:gd name="T4" fmla="*/ 79 w 258"/>
                  <a:gd name="T5" fmla="*/ 179 h 228"/>
                  <a:gd name="T6" fmla="*/ 27 w 258"/>
                  <a:gd name="T7" fmla="*/ 36 h 228"/>
                  <a:gd name="T8" fmla="*/ 179 w 258"/>
                  <a:gd name="T9" fmla="*/ 49 h 228"/>
                </a:gdLst>
                <a:cxnLst>
                  <a:cxn ang="0">
                    <a:pos x="T0" y="T1"/>
                  </a:cxn>
                  <a:cxn ang="0">
                    <a:pos x="T2" y="T3"/>
                  </a:cxn>
                  <a:cxn ang="0">
                    <a:pos x="T4" y="T5"/>
                  </a:cxn>
                  <a:cxn ang="0">
                    <a:pos x="T6" y="T7"/>
                  </a:cxn>
                  <a:cxn ang="0">
                    <a:pos x="T8" y="T9"/>
                  </a:cxn>
                </a:cxnLst>
                <a:rect l="0" t="0" r="r" b="b"/>
                <a:pathLst>
                  <a:path w="258" h="228">
                    <a:moveTo>
                      <a:pt x="179" y="49"/>
                    </a:moveTo>
                    <a:cubicBezTo>
                      <a:pt x="235" y="92"/>
                      <a:pt x="258" y="156"/>
                      <a:pt x="230" y="192"/>
                    </a:cubicBezTo>
                    <a:cubicBezTo>
                      <a:pt x="202" y="228"/>
                      <a:pt x="135" y="222"/>
                      <a:pt x="79" y="179"/>
                    </a:cubicBezTo>
                    <a:cubicBezTo>
                      <a:pt x="23" y="136"/>
                      <a:pt x="0" y="72"/>
                      <a:pt x="27" y="36"/>
                    </a:cubicBezTo>
                    <a:cubicBezTo>
                      <a:pt x="55" y="0"/>
                      <a:pt x="123" y="6"/>
                      <a:pt x="179" y="49"/>
                    </a:cubicBezTo>
                    <a:close/>
                  </a:path>
                </a:pathLst>
              </a:custGeom>
              <a:solidFill>
                <a:srgbClr val="FFFE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grpSp>
        <p:grpSp>
          <p:nvGrpSpPr>
            <p:cNvPr id="264" name="Group 32">
              <a:extLst>
                <a:ext uri="{FF2B5EF4-FFF2-40B4-BE49-F238E27FC236}">
                  <a16:creationId xmlns:a16="http://schemas.microsoft.com/office/drawing/2014/main" id="{FAC7FCF1-E961-EC04-EC7F-EF0FCC36FAF5}"/>
                </a:ext>
              </a:extLst>
            </p:cNvPr>
            <p:cNvGrpSpPr>
              <a:grpSpLocks noChangeAspect="1"/>
            </p:cNvGrpSpPr>
            <p:nvPr/>
          </p:nvGrpSpPr>
          <p:grpSpPr>
            <a:xfrm>
              <a:off x="249222" y="421501"/>
              <a:ext cx="6820420" cy="5864104"/>
              <a:chOff x="1212" y="0"/>
              <a:chExt cx="5242" cy="4507"/>
            </a:xfrm>
          </p:grpSpPr>
          <p:sp>
            <p:nvSpPr>
              <p:cNvPr id="265" name="Oval 33">
                <a:extLst>
                  <a:ext uri="{FF2B5EF4-FFF2-40B4-BE49-F238E27FC236}">
                    <a16:creationId xmlns:a16="http://schemas.microsoft.com/office/drawing/2014/main" id="{D0973210-4DD0-4CC4-F9F0-6BC9F01CA5DE}"/>
                  </a:ext>
                </a:extLst>
              </p:cNvPr>
              <p:cNvSpPr>
                <a:spLocks noChangeArrowheads="1"/>
              </p:cNvSpPr>
              <p:nvPr/>
            </p:nvSpPr>
            <p:spPr bwMode="auto">
              <a:xfrm>
                <a:off x="2688" y="80"/>
                <a:ext cx="60" cy="291"/>
              </a:xfrm>
              <a:prstGeom prst="ellipse">
                <a:avLst/>
              </a:pr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66" name="Oval 34">
                <a:extLst>
                  <a:ext uri="{FF2B5EF4-FFF2-40B4-BE49-F238E27FC236}">
                    <a16:creationId xmlns:a16="http://schemas.microsoft.com/office/drawing/2014/main" id="{6B709092-9E1D-5F79-A302-065A84391851}"/>
                  </a:ext>
                </a:extLst>
              </p:cNvPr>
              <p:cNvSpPr>
                <a:spLocks noChangeArrowheads="1"/>
              </p:cNvSpPr>
              <p:nvPr/>
            </p:nvSpPr>
            <p:spPr bwMode="auto">
              <a:xfrm>
                <a:off x="2571" y="197"/>
                <a:ext cx="292" cy="59"/>
              </a:xfrm>
              <a:prstGeom prst="ellipse">
                <a:avLst/>
              </a:pr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67" name="Oval 35">
                <a:extLst>
                  <a:ext uri="{FF2B5EF4-FFF2-40B4-BE49-F238E27FC236}">
                    <a16:creationId xmlns:a16="http://schemas.microsoft.com/office/drawing/2014/main" id="{7BA6104A-B1AA-8285-13B8-8F3ACDBEC34F}"/>
                  </a:ext>
                </a:extLst>
              </p:cNvPr>
              <p:cNvSpPr>
                <a:spLocks noChangeArrowheads="1"/>
              </p:cNvSpPr>
              <p:nvPr/>
            </p:nvSpPr>
            <p:spPr bwMode="auto">
              <a:xfrm>
                <a:off x="2688" y="80"/>
                <a:ext cx="60" cy="291"/>
              </a:xfrm>
              <a:prstGeom prst="ellipse">
                <a:avLst/>
              </a:pr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68" name="Oval 36">
                <a:extLst>
                  <a:ext uri="{FF2B5EF4-FFF2-40B4-BE49-F238E27FC236}">
                    <a16:creationId xmlns:a16="http://schemas.microsoft.com/office/drawing/2014/main" id="{2B313C8C-2FD4-954F-33CE-E7FCC775070B}"/>
                  </a:ext>
                </a:extLst>
              </p:cNvPr>
              <p:cNvSpPr>
                <a:spLocks noChangeArrowheads="1"/>
              </p:cNvSpPr>
              <p:nvPr/>
            </p:nvSpPr>
            <p:spPr bwMode="auto">
              <a:xfrm>
                <a:off x="2571" y="197"/>
                <a:ext cx="292" cy="59"/>
              </a:xfrm>
              <a:prstGeom prst="ellipse">
                <a:avLst/>
              </a:pr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69" name="Oval 37">
                <a:extLst>
                  <a:ext uri="{FF2B5EF4-FFF2-40B4-BE49-F238E27FC236}">
                    <a16:creationId xmlns:a16="http://schemas.microsoft.com/office/drawing/2014/main" id="{151C6981-3FF4-B66F-5B29-D6A1DCA31C27}"/>
                  </a:ext>
                </a:extLst>
              </p:cNvPr>
              <p:cNvSpPr>
                <a:spLocks noChangeArrowheads="1"/>
              </p:cNvSpPr>
              <p:nvPr/>
            </p:nvSpPr>
            <p:spPr bwMode="auto">
              <a:xfrm>
                <a:off x="6300" y="2847"/>
                <a:ext cx="51" cy="257"/>
              </a:xfrm>
              <a:prstGeom prst="ellipse">
                <a:avLst/>
              </a:prstGeom>
              <a:solidFill>
                <a:srgbClr val="006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70" name="Oval 38">
                <a:extLst>
                  <a:ext uri="{FF2B5EF4-FFF2-40B4-BE49-F238E27FC236}">
                    <a16:creationId xmlns:a16="http://schemas.microsoft.com/office/drawing/2014/main" id="{9406813F-FBE1-D6ED-A622-38D46A9DBDEB}"/>
                  </a:ext>
                </a:extLst>
              </p:cNvPr>
              <p:cNvSpPr>
                <a:spLocks noChangeArrowheads="1"/>
              </p:cNvSpPr>
              <p:nvPr/>
            </p:nvSpPr>
            <p:spPr bwMode="auto">
              <a:xfrm>
                <a:off x="6198" y="2948"/>
                <a:ext cx="256" cy="53"/>
              </a:xfrm>
              <a:prstGeom prst="ellipse">
                <a:avLst/>
              </a:prstGeom>
              <a:solidFill>
                <a:srgbClr val="006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71" name="Oval 39">
                <a:extLst>
                  <a:ext uri="{FF2B5EF4-FFF2-40B4-BE49-F238E27FC236}">
                    <a16:creationId xmlns:a16="http://schemas.microsoft.com/office/drawing/2014/main" id="{BA6247B2-3110-8B44-D59A-1BF6151305F2}"/>
                  </a:ext>
                </a:extLst>
              </p:cNvPr>
              <p:cNvSpPr>
                <a:spLocks noChangeArrowheads="1"/>
              </p:cNvSpPr>
              <p:nvPr/>
            </p:nvSpPr>
            <p:spPr bwMode="auto">
              <a:xfrm>
                <a:off x="1456" y="2847"/>
                <a:ext cx="53" cy="257"/>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72" name="Oval 40">
                <a:extLst>
                  <a:ext uri="{FF2B5EF4-FFF2-40B4-BE49-F238E27FC236}">
                    <a16:creationId xmlns:a16="http://schemas.microsoft.com/office/drawing/2014/main" id="{1FB9D438-4358-AC98-1A23-C51F2D9F74CD}"/>
                  </a:ext>
                </a:extLst>
              </p:cNvPr>
              <p:cNvSpPr>
                <a:spLocks noChangeArrowheads="1"/>
              </p:cNvSpPr>
              <p:nvPr/>
            </p:nvSpPr>
            <p:spPr bwMode="auto">
              <a:xfrm>
                <a:off x="1355" y="2948"/>
                <a:ext cx="256" cy="53"/>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73" name="Oval 41">
                <a:extLst>
                  <a:ext uri="{FF2B5EF4-FFF2-40B4-BE49-F238E27FC236}">
                    <a16:creationId xmlns:a16="http://schemas.microsoft.com/office/drawing/2014/main" id="{3BA1C18D-E7AE-81A0-C63C-C9E342E31FFB}"/>
                  </a:ext>
                </a:extLst>
              </p:cNvPr>
              <p:cNvSpPr>
                <a:spLocks noChangeArrowheads="1"/>
              </p:cNvSpPr>
              <p:nvPr/>
            </p:nvSpPr>
            <p:spPr bwMode="auto">
              <a:xfrm>
                <a:off x="5258" y="1485"/>
                <a:ext cx="47" cy="226"/>
              </a:xfrm>
              <a:prstGeom prst="ellipse">
                <a:avLst/>
              </a:pr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74" name="Oval 42">
                <a:extLst>
                  <a:ext uri="{FF2B5EF4-FFF2-40B4-BE49-F238E27FC236}">
                    <a16:creationId xmlns:a16="http://schemas.microsoft.com/office/drawing/2014/main" id="{C6D6062D-10C7-60BC-EED6-757574725DC7}"/>
                  </a:ext>
                </a:extLst>
              </p:cNvPr>
              <p:cNvSpPr>
                <a:spLocks noChangeArrowheads="1"/>
              </p:cNvSpPr>
              <p:nvPr/>
            </p:nvSpPr>
            <p:spPr bwMode="auto">
              <a:xfrm>
                <a:off x="5168" y="1573"/>
                <a:ext cx="226" cy="48"/>
              </a:xfrm>
              <a:prstGeom prst="ellipse">
                <a:avLst/>
              </a:pr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75" name="Freeform 43">
                <a:extLst>
                  <a:ext uri="{FF2B5EF4-FFF2-40B4-BE49-F238E27FC236}">
                    <a16:creationId xmlns:a16="http://schemas.microsoft.com/office/drawing/2014/main" id="{02B1F0F7-7554-2470-6537-70A6DC348ADB}"/>
                  </a:ext>
                </a:extLst>
              </p:cNvPr>
              <p:cNvSpPr/>
              <p:nvPr/>
            </p:nvSpPr>
            <p:spPr bwMode="auto">
              <a:xfrm>
                <a:off x="2276" y="759"/>
                <a:ext cx="193" cy="209"/>
              </a:xfrm>
              <a:custGeom>
                <a:gdLst>
                  <a:gd name="T0" fmla="*/ 193 w 193"/>
                  <a:gd name="T1" fmla="*/ 84 h 209"/>
                  <a:gd name="T2" fmla="*/ 109 w 193"/>
                  <a:gd name="T3" fmla="*/ 148 h 209"/>
                  <a:gd name="T4" fmla="*/ 23 w 193"/>
                  <a:gd name="T5" fmla="*/ 209 h 209"/>
                  <a:gd name="T6" fmla="*/ 12 w 193"/>
                  <a:gd name="T7" fmla="*/ 105 h 209"/>
                  <a:gd name="T8" fmla="*/ 0 w 193"/>
                  <a:gd name="T9" fmla="*/ 0 h 209"/>
                  <a:gd name="T10" fmla="*/ 96 w 193"/>
                  <a:gd name="T11" fmla="*/ 43 h 209"/>
                  <a:gd name="T12" fmla="*/ 193 w 193"/>
                  <a:gd name="T13" fmla="*/ 84 h 209"/>
                </a:gdLst>
                <a:cxnLst>
                  <a:cxn ang="0">
                    <a:pos x="T0" y="T1"/>
                  </a:cxn>
                  <a:cxn ang="0">
                    <a:pos x="T2" y="T3"/>
                  </a:cxn>
                  <a:cxn ang="0">
                    <a:pos x="T4" y="T5"/>
                  </a:cxn>
                  <a:cxn ang="0">
                    <a:pos x="T6" y="T7"/>
                  </a:cxn>
                  <a:cxn ang="0">
                    <a:pos x="T8" y="T9"/>
                  </a:cxn>
                  <a:cxn ang="0">
                    <a:pos x="T10" y="T11"/>
                  </a:cxn>
                  <a:cxn ang="0">
                    <a:pos x="T12" y="T13"/>
                  </a:cxn>
                </a:cxnLst>
                <a:rect l="0" t="0" r="r" b="b"/>
                <a:pathLst>
                  <a:path w="193" h="209">
                    <a:moveTo>
                      <a:pt x="193" y="84"/>
                    </a:moveTo>
                    <a:lnTo>
                      <a:pt x="109" y="148"/>
                    </a:lnTo>
                    <a:lnTo>
                      <a:pt x="23" y="209"/>
                    </a:lnTo>
                    <a:lnTo>
                      <a:pt x="12" y="105"/>
                    </a:lnTo>
                    <a:lnTo>
                      <a:pt x="0" y="0"/>
                    </a:lnTo>
                    <a:lnTo>
                      <a:pt x="96" y="43"/>
                    </a:lnTo>
                    <a:lnTo>
                      <a:pt x="193" y="84"/>
                    </a:lnTo>
                    <a:close/>
                  </a:path>
                </a:pathLst>
              </a:custGeom>
              <a:solidFill>
                <a:srgbClr val="006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76" name="Freeform 44">
                <a:extLst>
                  <a:ext uri="{FF2B5EF4-FFF2-40B4-BE49-F238E27FC236}">
                    <a16:creationId xmlns:a16="http://schemas.microsoft.com/office/drawing/2014/main" id="{AC22F684-20EF-6A6D-D23B-82223C7D2789}"/>
                  </a:ext>
                </a:extLst>
              </p:cNvPr>
              <p:cNvSpPr/>
              <p:nvPr/>
            </p:nvSpPr>
            <p:spPr bwMode="auto">
              <a:xfrm>
                <a:off x="4501" y="0"/>
                <a:ext cx="99" cy="105"/>
              </a:xfrm>
              <a:custGeom>
                <a:gdLst>
                  <a:gd name="T0" fmla="*/ 99 w 99"/>
                  <a:gd name="T1" fmla="*/ 105 h 105"/>
                  <a:gd name="T2" fmla="*/ 50 w 99"/>
                  <a:gd name="T3" fmla="*/ 84 h 105"/>
                  <a:gd name="T4" fmla="*/ 0 w 99"/>
                  <a:gd name="T5" fmla="*/ 66 h 105"/>
                  <a:gd name="T6" fmla="*/ 44 w 99"/>
                  <a:gd name="T7" fmla="*/ 33 h 105"/>
                  <a:gd name="T8" fmla="*/ 85 w 99"/>
                  <a:gd name="T9" fmla="*/ 0 h 105"/>
                  <a:gd name="T10" fmla="*/ 93 w 99"/>
                  <a:gd name="T11" fmla="*/ 51 h 105"/>
                  <a:gd name="T12" fmla="*/ 99 w 99"/>
                  <a:gd name="T13" fmla="*/ 105 h 105"/>
                </a:gdLst>
                <a:cxnLst>
                  <a:cxn ang="0">
                    <a:pos x="T0" y="T1"/>
                  </a:cxn>
                  <a:cxn ang="0">
                    <a:pos x="T2" y="T3"/>
                  </a:cxn>
                  <a:cxn ang="0">
                    <a:pos x="T4" y="T5"/>
                  </a:cxn>
                  <a:cxn ang="0">
                    <a:pos x="T6" y="T7"/>
                  </a:cxn>
                  <a:cxn ang="0">
                    <a:pos x="T8" y="T9"/>
                  </a:cxn>
                  <a:cxn ang="0">
                    <a:pos x="T10" y="T11"/>
                  </a:cxn>
                  <a:cxn ang="0">
                    <a:pos x="T12" y="T13"/>
                  </a:cxn>
                </a:cxnLst>
                <a:rect l="0" t="0" r="r" b="b"/>
                <a:pathLst>
                  <a:path w="99" h="105">
                    <a:moveTo>
                      <a:pt x="99" y="105"/>
                    </a:moveTo>
                    <a:lnTo>
                      <a:pt x="50" y="84"/>
                    </a:lnTo>
                    <a:lnTo>
                      <a:pt x="0" y="66"/>
                    </a:lnTo>
                    <a:lnTo>
                      <a:pt x="44" y="33"/>
                    </a:lnTo>
                    <a:lnTo>
                      <a:pt x="85" y="0"/>
                    </a:lnTo>
                    <a:lnTo>
                      <a:pt x="93" y="51"/>
                    </a:lnTo>
                    <a:lnTo>
                      <a:pt x="99" y="105"/>
                    </a:lnTo>
                    <a:close/>
                  </a:path>
                </a:pathLst>
              </a:cu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77" name="Freeform 45">
                <a:extLst>
                  <a:ext uri="{FF2B5EF4-FFF2-40B4-BE49-F238E27FC236}">
                    <a16:creationId xmlns:a16="http://schemas.microsoft.com/office/drawing/2014/main" id="{205690A1-27AD-AC75-F310-98A8CFF918E2}"/>
                  </a:ext>
                </a:extLst>
              </p:cNvPr>
              <p:cNvSpPr/>
              <p:nvPr/>
            </p:nvSpPr>
            <p:spPr bwMode="auto">
              <a:xfrm>
                <a:off x="5213" y="3879"/>
                <a:ext cx="211" cy="191"/>
              </a:xfrm>
              <a:custGeom>
                <a:gdLst>
                  <a:gd name="T0" fmla="*/ 211 w 211"/>
                  <a:gd name="T1" fmla="*/ 0 h 191"/>
                  <a:gd name="T2" fmla="*/ 166 w 211"/>
                  <a:gd name="T3" fmla="*/ 96 h 191"/>
                  <a:gd name="T4" fmla="*/ 121 w 211"/>
                  <a:gd name="T5" fmla="*/ 191 h 191"/>
                  <a:gd name="T6" fmla="*/ 62 w 211"/>
                  <a:gd name="T7" fmla="*/ 105 h 191"/>
                  <a:gd name="T8" fmla="*/ 0 w 211"/>
                  <a:gd name="T9" fmla="*/ 18 h 191"/>
                  <a:gd name="T10" fmla="*/ 107 w 211"/>
                  <a:gd name="T11" fmla="*/ 8 h 191"/>
                  <a:gd name="T12" fmla="*/ 211 w 211"/>
                  <a:gd name="T13" fmla="*/ 0 h 191"/>
                </a:gdLst>
                <a:cxnLst>
                  <a:cxn ang="0">
                    <a:pos x="T0" y="T1"/>
                  </a:cxn>
                  <a:cxn ang="0">
                    <a:pos x="T2" y="T3"/>
                  </a:cxn>
                  <a:cxn ang="0">
                    <a:pos x="T4" y="T5"/>
                  </a:cxn>
                  <a:cxn ang="0">
                    <a:pos x="T6" y="T7"/>
                  </a:cxn>
                  <a:cxn ang="0">
                    <a:pos x="T8" y="T9"/>
                  </a:cxn>
                  <a:cxn ang="0">
                    <a:pos x="T10" y="T11"/>
                  </a:cxn>
                  <a:cxn ang="0">
                    <a:pos x="T12" y="T13"/>
                  </a:cxn>
                </a:cxnLst>
                <a:rect l="0" t="0" r="r" b="b"/>
                <a:pathLst>
                  <a:path w="211" h="191">
                    <a:moveTo>
                      <a:pt x="211" y="0"/>
                    </a:moveTo>
                    <a:lnTo>
                      <a:pt x="166" y="96"/>
                    </a:lnTo>
                    <a:lnTo>
                      <a:pt x="121" y="191"/>
                    </a:lnTo>
                    <a:lnTo>
                      <a:pt x="62" y="105"/>
                    </a:lnTo>
                    <a:lnTo>
                      <a:pt x="0" y="18"/>
                    </a:lnTo>
                    <a:lnTo>
                      <a:pt x="107" y="8"/>
                    </a:lnTo>
                    <a:lnTo>
                      <a:pt x="211" y="0"/>
                    </a:lnTo>
                    <a:close/>
                  </a:path>
                </a:pathLst>
              </a:cu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78" name="Oval 46">
                <a:extLst>
                  <a:ext uri="{FF2B5EF4-FFF2-40B4-BE49-F238E27FC236}">
                    <a16:creationId xmlns:a16="http://schemas.microsoft.com/office/drawing/2014/main" id="{AA96C6E2-AEC2-7B0F-BEA4-689B34C20DCD}"/>
                  </a:ext>
                </a:extLst>
              </p:cNvPr>
              <p:cNvSpPr>
                <a:spLocks noChangeArrowheads="1"/>
              </p:cNvSpPr>
              <p:nvPr/>
            </p:nvSpPr>
            <p:spPr bwMode="auto">
              <a:xfrm>
                <a:off x="1230" y="888"/>
                <a:ext cx="150" cy="150"/>
              </a:xfrm>
              <a:prstGeom prst="ellipse">
                <a:avLst/>
              </a:prstGeom>
              <a:solidFill>
                <a:srgbClr val="006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79" name="Oval 47">
                <a:extLst>
                  <a:ext uri="{FF2B5EF4-FFF2-40B4-BE49-F238E27FC236}">
                    <a16:creationId xmlns:a16="http://schemas.microsoft.com/office/drawing/2014/main" id="{046D9934-0D57-8099-3C5E-D04FEA0B5456}"/>
                  </a:ext>
                </a:extLst>
              </p:cNvPr>
              <p:cNvSpPr>
                <a:spLocks noChangeArrowheads="1"/>
              </p:cNvSpPr>
              <p:nvPr/>
            </p:nvSpPr>
            <p:spPr bwMode="auto">
              <a:xfrm>
                <a:off x="5878" y="3237"/>
                <a:ext cx="149" cy="150"/>
              </a:xfrm>
              <a:prstGeom prst="ellipse">
                <a:avLst/>
              </a:prstGeom>
              <a:solidFill>
                <a:srgbClr val="006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80" name="Oval 48">
                <a:extLst>
                  <a:ext uri="{FF2B5EF4-FFF2-40B4-BE49-F238E27FC236}">
                    <a16:creationId xmlns:a16="http://schemas.microsoft.com/office/drawing/2014/main" id="{C8A17543-74C2-6DA1-F896-CA783CA5AFE4}"/>
                  </a:ext>
                </a:extLst>
              </p:cNvPr>
              <p:cNvSpPr>
                <a:spLocks noChangeArrowheads="1"/>
              </p:cNvSpPr>
              <p:nvPr/>
            </p:nvSpPr>
            <p:spPr bwMode="auto">
              <a:xfrm>
                <a:off x="1884" y="3200"/>
                <a:ext cx="113" cy="113"/>
              </a:xfrm>
              <a:prstGeom prst="ellipse">
                <a:avLst/>
              </a:prstGeom>
              <a:solidFill>
                <a:srgbClr val="F0E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81" name="Freeform 49">
                <a:extLst>
                  <a:ext uri="{FF2B5EF4-FFF2-40B4-BE49-F238E27FC236}">
                    <a16:creationId xmlns:a16="http://schemas.microsoft.com/office/drawing/2014/main" id="{5772E13C-6EC1-D7BD-0BAE-7C1CF1799D2F}"/>
                  </a:ext>
                </a:extLst>
              </p:cNvPr>
              <p:cNvSpPr/>
              <p:nvPr/>
            </p:nvSpPr>
            <p:spPr bwMode="auto">
              <a:xfrm>
                <a:off x="1212" y="3422"/>
                <a:ext cx="1124" cy="1085"/>
              </a:xfrm>
              <a:custGeom>
                <a:gdLst>
                  <a:gd name="T0" fmla="*/ 512 w 548"/>
                  <a:gd name="T1" fmla="*/ 256 h 529"/>
                  <a:gd name="T2" fmla="*/ 443 w 548"/>
                  <a:gd name="T3" fmla="*/ 187 h 529"/>
                  <a:gd name="T4" fmla="*/ 325 w 548"/>
                  <a:gd name="T5" fmla="*/ 84 h 529"/>
                  <a:gd name="T6" fmla="*/ 248 w 548"/>
                  <a:gd name="T7" fmla="*/ 24 h 529"/>
                  <a:gd name="T8" fmla="*/ 167 w 548"/>
                  <a:gd name="T9" fmla="*/ 382 h 529"/>
                  <a:gd name="T10" fmla="*/ 512 w 548"/>
                  <a:gd name="T11" fmla="*/ 256 h 529"/>
                </a:gdLst>
                <a:cxnLst>
                  <a:cxn ang="0">
                    <a:pos x="T0" y="T1"/>
                  </a:cxn>
                  <a:cxn ang="0">
                    <a:pos x="T2" y="T3"/>
                  </a:cxn>
                  <a:cxn ang="0">
                    <a:pos x="T4" y="T5"/>
                  </a:cxn>
                  <a:cxn ang="0">
                    <a:pos x="T6" y="T7"/>
                  </a:cxn>
                  <a:cxn ang="0">
                    <a:pos x="T8" y="T9"/>
                  </a:cxn>
                  <a:cxn ang="0">
                    <a:pos x="T10" y="T11"/>
                  </a:cxn>
                </a:cxnLst>
                <a:rect l="0" t="0" r="r" b="b"/>
                <a:pathLst>
                  <a:path w="548" h="529">
                    <a:moveTo>
                      <a:pt x="512" y="256"/>
                    </a:moveTo>
                    <a:cubicBezTo>
                      <a:pt x="498" y="220"/>
                      <a:pt x="471" y="199"/>
                      <a:pt x="443" y="187"/>
                    </a:cubicBezTo>
                    <a:cubicBezTo>
                      <a:pt x="394" y="165"/>
                      <a:pt x="353" y="130"/>
                      <a:pt x="325" y="84"/>
                    </a:cubicBezTo>
                    <a:cubicBezTo>
                      <a:pt x="309" y="58"/>
                      <a:pt x="285" y="33"/>
                      <a:pt x="248" y="24"/>
                    </a:cubicBezTo>
                    <a:cubicBezTo>
                      <a:pt x="152" y="0"/>
                      <a:pt x="0" y="235"/>
                      <a:pt x="167" y="382"/>
                    </a:cubicBezTo>
                    <a:cubicBezTo>
                      <a:pt x="335" y="529"/>
                      <a:pt x="548" y="348"/>
                      <a:pt x="512" y="256"/>
                    </a:cubicBezTo>
                    <a:close/>
                  </a:path>
                </a:pathLst>
              </a:custGeom>
              <a:solidFill>
                <a:srgbClr val="D85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82" name="Freeform 50">
                <a:extLst>
                  <a:ext uri="{FF2B5EF4-FFF2-40B4-BE49-F238E27FC236}">
                    <a16:creationId xmlns:a16="http://schemas.microsoft.com/office/drawing/2014/main" id="{8D85C305-1851-9FFC-FDCB-A33A4C637CBC}"/>
                  </a:ext>
                </a:extLst>
              </p:cNvPr>
              <p:cNvSpPr/>
              <p:nvPr/>
            </p:nvSpPr>
            <p:spPr bwMode="auto">
              <a:xfrm>
                <a:off x="1671" y="3842"/>
                <a:ext cx="502" cy="412"/>
              </a:xfrm>
              <a:custGeom>
                <a:gdLst>
                  <a:gd name="T0" fmla="*/ 148 w 245"/>
                  <a:gd name="T1" fmla="*/ 23 h 201"/>
                  <a:gd name="T2" fmla="*/ 13 w 245"/>
                  <a:gd name="T3" fmla="*/ 152 h 201"/>
                  <a:gd name="T4" fmla="*/ 12 w 245"/>
                  <a:gd name="T5" fmla="*/ 181 h 201"/>
                  <a:gd name="T6" fmla="*/ 202 w 245"/>
                  <a:gd name="T7" fmla="*/ 127 h 201"/>
                  <a:gd name="T8" fmla="*/ 192 w 245"/>
                  <a:gd name="T9" fmla="*/ 9 h 201"/>
                  <a:gd name="T10" fmla="*/ 148 w 245"/>
                  <a:gd name="T11" fmla="*/ 23 h 201"/>
                </a:gdLst>
                <a:cxnLst>
                  <a:cxn ang="0">
                    <a:pos x="T0" y="T1"/>
                  </a:cxn>
                  <a:cxn ang="0">
                    <a:pos x="T2" y="T3"/>
                  </a:cxn>
                  <a:cxn ang="0">
                    <a:pos x="T4" y="T5"/>
                  </a:cxn>
                  <a:cxn ang="0">
                    <a:pos x="T6" y="T7"/>
                  </a:cxn>
                  <a:cxn ang="0">
                    <a:pos x="T8" y="T9"/>
                  </a:cxn>
                  <a:cxn ang="0">
                    <a:pos x="T10" y="T11"/>
                  </a:cxn>
                </a:cxnLst>
                <a:rect l="0" t="0" r="r" b="b"/>
                <a:pathLst>
                  <a:path w="245" h="201">
                    <a:moveTo>
                      <a:pt x="148" y="23"/>
                    </a:moveTo>
                    <a:cubicBezTo>
                      <a:pt x="130" y="58"/>
                      <a:pt x="89" y="122"/>
                      <a:pt x="13" y="152"/>
                    </a:cubicBezTo>
                    <a:cubicBezTo>
                      <a:pt x="1" y="157"/>
                      <a:pt x="0" y="175"/>
                      <a:pt x="12" y="181"/>
                    </a:cubicBezTo>
                    <a:cubicBezTo>
                      <a:pt x="61" y="201"/>
                      <a:pt x="133" y="193"/>
                      <a:pt x="202" y="127"/>
                    </a:cubicBezTo>
                    <a:cubicBezTo>
                      <a:pt x="245" y="80"/>
                      <a:pt x="231" y="31"/>
                      <a:pt x="192" y="9"/>
                    </a:cubicBezTo>
                    <a:cubicBezTo>
                      <a:pt x="177" y="0"/>
                      <a:pt x="156" y="6"/>
                      <a:pt x="148" y="23"/>
                    </a:cubicBezTo>
                    <a:close/>
                  </a:path>
                </a:pathLst>
              </a:custGeom>
              <a:solidFill>
                <a:srgbClr val="7729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83" name="Freeform 51">
                <a:extLst>
                  <a:ext uri="{FF2B5EF4-FFF2-40B4-BE49-F238E27FC236}">
                    <a16:creationId xmlns:a16="http://schemas.microsoft.com/office/drawing/2014/main" id="{52007618-A133-69D1-8023-00A5E1B2CF95}"/>
                  </a:ext>
                </a:extLst>
              </p:cNvPr>
              <p:cNvSpPr/>
              <p:nvPr/>
            </p:nvSpPr>
            <p:spPr bwMode="auto">
              <a:xfrm>
                <a:off x="2018" y="3914"/>
                <a:ext cx="73" cy="53"/>
              </a:xfrm>
              <a:custGeom>
                <a:gdLst>
                  <a:gd name="T0" fmla="*/ 19 w 36"/>
                  <a:gd name="T1" fmla="*/ 25 h 26"/>
                  <a:gd name="T2" fmla="*/ 1 w 36"/>
                  <a:gd name="T3" fmla="*/ 15 h 26"/>
                  <a:gd name="T4" fmla="*/ 17 w 36"/>
                  <a:gd name="T5" fmla="*/ 1 h 26"/>
                  <a:gd name="T6" fmla="*/ 35 w 36"/>
                  <a:gd name="T7" fmla="*/ 11 h 26"/>
                  <a:gd name="T8" fmla="*/ 19 w 36"/>
                  <a:gd name="T9" fmla="*/ 25 h 26"/>
                </a:gdLst>
                <a:cxnLst>
                  <a:cxn ang="0">
                    <a:pos x="T0" y="T1"/>
                  </a:cxn>
                  <a:cxn ang="0">
                    <a:pos x="T2" y="T3"/>
                  </a:cxn>
                  <a:cxn ang="0">
                    <a:pos x="T4" y="T5"/>
                  </a:cxn>
                  <a:cxn ang="0">
                    <a:pos x="T6" y="T7"/>
                  </a:cxn>
                  <a:cxn ang="0">
                    <a:pos x="T8" y="T9"/>
                  </a:cxn>
                </a:cxnLst>
                <a:rect l="0" t="0" r="r" b="b"/>
                <a:pathLst>
                  <a:path w="36" h="26">
                    <a:moveTo>
                      <a:pt x="19" y="25"/>
                    </a:moveTo>
                    <a:cubicBezTo>
                      <a:pt x="10" y="26"/>
                      <a:pt x="2" y="21"/>
                      <a:pt x="1" y="15"/>
                    </a:cubicBezTo>
                    <a:cubicBezTo>
                      <a:pt x="0" y="8"/>
                      <a:pt x="7" y="2"/>
                      <a:pt x="17" y="1"/>
                    </a:cubicBezTo>
                    <a:cubicBezTo>
                      <a:pt x="26" y="0"/>
                      <a:pt x="34" y="4"/>
                      <a:pt x="35" y="11"/>
                    </a:cubicBezTo>
                    <a:cubicBezTo>
                      <a:pt x="36" y="17"/>
                      <a:pt x="29" y="24"/>
                      <a:pt x="19" y="25"/>
                    </a:cubicBezTo>
                    <a:close/>
                  </a:path>
                </a:pathLst>
              </a:custGeom>
              <a:solidFill>
                <a:srgbClr val="FFF6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84" name="Freeform 52">
                <a:extLst>
                  <a:ext uri="{FF2B5EF4-FFF2-40B4-BE49-F238E27FC236}">
                    <a16:creationId xmlns:a16="http://schemas.microsoft.com/office/drawing/2014/main" id="{25B0F6C3-B00B-B056-F8F6-56A616A21D46}"/>
                  </a:ext>
                </a:extLst>
              </p:cNvPr>
              <p:cNvSpPr/>
              <p:nvPr/>
            </p:nvSpPr>
            <p:spPr bwMode="auto">
              <a:xfrm>
                <a:off x="1964" y="4004"/>
                <a:ext cx="76" cy="60"/>
              </a:xfrm>
              <a:custGeom>
                <a:gdLst>
                  <a:gd name="T0" fmla="*/ 14 w 37"/>
                  <a:gd name="T1" fmla="*/ 26 h 29"/>
                  <a:gd name="T2" fmla="*/ 3 w 37"/>
                  <a:gd name="T3" fmla="*/ 8 h 29"/>
                  <a:gd name="T4" fmla="*/ 23 w 37"/>
                  <a:gd name="T5" fmla="*/ 4 h 29"/>
                  <a:gd name="T6" fmla="*/ 34 w 37"/>
                  <a:gd name="T7" fmla="*/ 21 h 29"/>
                  <a:gd name="T8" fmla="*/ 14 w 37"/>
                  <a:gd name="T9" fmla="*/ 26 h 29"/>
                </a:gdLst>
                <a:cxnLst>
                  <a:cxn ang="0">
                    <a:pos x="T0" y="T1"/>
                  </a:cxn>
                  <a:cxn ang="0">
                    <a:pos x="T2" y="T3"/>
                  </a:cxn>
                  <a:cxn ang="0">
                    <a:pos x="T4" y="T5"/>
                  </a:cxn>
                  <a:cxn ang="0">
                    <a:pos x="T6" y="T7"/>
                  </a:cxn>
                  <a:cxn ang="0">
                    <a:pos x="T8" y="T9"/>
                  </a:cxn>
                </a:cxnLst>
                <a:rect l="0" t="0" r="r" b="b"/>
                <a:pathLst>
                  <a:path w="37" h="28">
                    <a:moveTo>
                      <a:pt x="14" y="26"/>
                    </a:moveTo>
                    <a:cubicBezTo>
                      <a:pt x="5" y="22"/>
                      <a:pt x="0" y="14"/>
                      <a:pt x="3" y="8"/>
                    </a:cubicBezTo>
                    <a:cubicBezTo>
                      <a:pt x="5" y="2"/>
                      <a:pt x="14" y="0"/>
                      <a:pt x="23" y="4"/>
                    </a:cubicBezTo>
                    <a:cubicBezTo>
                      <a:pt x="32" y="7"/>
                      <a:pt x="37" y="15"/>
                      <a:pt x="34" y="21"/>
                    </a:cubicBezTo>
                    <a:cubicBezTo>
                      <a:pt x="31" y="27"/>
                      <a:pt x="22" y="29"/>
                      <a:pt x="14" y="26"/>
                    </a:cubicBezTo>
                    <a:close/>
                  </a:path>
                </a:pathLst>
              </a:custGeom>
              <a:solidFill>
                <a:srgbClr val="FFF6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85" name="Freeform 53">
                <a:extLst>
                  <a:ext uri="{FF2B5EF4-FFF2-40B4-BE49-F238E27FC236}">
                    <a16:creationId xmlns:a16="http://schemas.microsoft.com/office/drawing/2014/main" id="{65D59AFD-B016-AD87-3804-8B966AE33782}"/>
                  </a:ext>
                </a:extLst>
              </p:cNvPr>
              <p:cNvSpPr/>
              <p:nvPr/>
            </p:nvSpPr>
            <p:spPr bwMode="auto">
              <a:xfrm>
                <a:off x="1897" y="4074"/>
                <a:ext cx="65" cy="68"/>
              </a:xfrm>
              <a:custGeom>
                <a:gdLst>
                  <a:gd name="T0" fmla="*/ 7 w 32"/>
                  <a:gd name="T1" fmla="*/ 25 h 33"/>
                  <a:gd name="T2" fmla="*/ 4 w 32"/>
                  <a:gd name="T3" fmla="*/ 4 h 33"/>
                  <a:gd name="T4" fmla="*/ 25 w 32"/>
                  <a:gd name="T5" fmla="*/ 8 h 33"/>
                  <a:gd name="T6" fmla="*/ 28 w 32"/>
                  <a:gd name="T7" fmla="*/ 29 h 33"/>
                  <a:gd name="T8" fmla="*/ 7 w 32"/>
                  <a:gd name="T9" fmla="*/ 25 h 33"/>
                </a:gdLst>
                <a:cxnLst>
                  <a:cxn ang="0">
                    <a:pos x="T0" y="T1"/>
                  </a:cxn>
                  <a:cxn ang="0">
                    <a:pos x="T2" y="T3"/>
                  </a:cxn>
                  <a:cxn ang="0">
                    <a:pos x="T4" y="T5"/>
                  </a:cxn>
                  <a:cxn ang="0">
                    <a:pos x="T6" y="T7"/>
                  </a:cxn>
                  <a:cxn ang="0">
                    <a:pos x="T8" y="T9"/>
                  </a:cxn>
                </a:cxnLst>
                <a:rect l="0" t="0" r="r" b="b"/>
                <a:pathLst>
                  <a:path w="32" h="33">
                    <a:moveTo>
                      <a:pt x="7" y="25"/>
                    </a:moveTo>
                    <a:cubicBezTo>
                      <a:pt x="1" y="18"/>
                      <a:pt x="0" y="9"/>
                      <a:pt x="4" y="4"/>
                    </a:cubicBezTo>
                    <a:cubicBezTo>
                      <a:pt x="9" y="0"/>
                      <a:pt x="18" y="1"/>
                      <a:pt x="25" y="8"/>
                    </a:cubicBezTo>
                    <a:cubicBezTo>
                      <a:pt x="31" y="15"/>
                      <a:pt x="32" y="24"/>
                      <a:pt x="28" y="29"/>
                    </a:cubicBezTo>
                    <a:cubicBezTo>
                      <a:pt x="23" y="33"/>
                      <a:pt x="14" y="32"/>
                      <a:pt x="7" y="25"/>
                    </a:cubicBezTo>
                    <a:close/>
                  </a:path>
                </a:pathLst>
              </a:custGeom>
              <a:solidFill>
                <a:srgbClr val="FFF6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86" name="Freeform 54">
                <a:extLst>
                  <a:ext uri="{FF2B5EF4-FFF2-40B4-BE49-F238E27FC236}">
                    <a16:creationId xmlns:a16="http://schemas.microsoft.com/office/drawing/2014/main" id="{00BC4478-C2E1-2E16-9812-D62A0B73A295}"/>
                  </a:ext>
                </a:extLst>
              </p:cNvPr>
              <p:cNvSpPr/>
              <p:nvPr/>
            </p:nvSpPr>
            <p:spPr bwMode="auto">
              <a:xfrm>
                <a:off x="1806" y="4125"/>
                <a:ext cx="62" cy="74"/>
              </a:xfrm>
              <a:custGeom>
                <a:gdLst>
                  <a:gd name="T0" fmla="*/ 5 w 30"/>
                  <a:gd name="T1" fmla="*/ 25 h 36"/>
                  <a:gd name="T2" fmla="*/ 6 w 30"/>
                  <a:gd name="T3" fmla="*/ 4 h 36"/>
                  <a:gd name="T4" fmla="*/ 25 w 30"/>
                  <a:gd name="T5" fmla="*/ 12 h 36"/>
                  <a:gd name="T6" fmla="*/ 24 w 30"/>
                  <a:gd name="T7" fmla="*/ 33 h 36"/>
                  <a:gd name="T8" fmla="*/ 5 w 30"/>
                  <a:gd name="T9" fmla="*/ 25 h 36"/>
                </a:gdLst>
                <a:cxnLst>
                  <a:cxn ang="0">
                    <a:pos x="T0" y="T1"/>
                  </a:cxn>
                  <a:cxn ang="0">
                    <a:pos x="T2" y="T3"/>
                  </a:cxn>
                  <a:cxn ang="0">
                    <a:pos x="T4" y="T5"/>
                  </a:cxn>
                  <a:cxn ang="0">
                    <a:pos x="T6" y="T7"/>
                  </a:cxn>
                  <a:cxn ang="0">
                    <a:pos x="T8" y="T9"/>
                  </a:cxn>
                </a:cxnLst>
                <a:rect l="0" t="0" r="r" b="b"/>
                <a:pathLst>
                  <a:path w="30" h="36">
                    <a:moveTo>
                      <a:pt x="5" y="25"/>
                    </a:moveTo>
                    <a:cubicBezTo>
                      <a:pt x="0" y="17"/>
                      <a:pt x="1" y="7"/>
                      <a:pt x="6" y="4"/>
                    </a:cubicBezTo>
                    <a:cubicBezTo>
                      <a:pt x="12" y="0"/>
                      <a:pt x="20" y="4"/>
                      <a:pt x="25" y="12"/>
                    </a:cubicBezTo>
                    <a:cubicBezTo>
                      <a:pt x="30" y="20"/>
                      <a:pt x="30" y="29"/>
                      <a:pt x="24" y="33"/>
                    </a:cubicBezTo>
                    <a:cubicBezTo>
                      <a:pt x="19" y="36"/>
                      <a:pt x="10" y="33"/>
                      <a:pt x="5" y="25"/>
                    </a:cubicBezTo>
                    <a:close/>
                  </a:path>
                </a:pathLst>
              </a:custGeom>
              <a:solidFill>
                <a:srgbClr val="FFF6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87" name="Freeform 55">
                <a:extLst>
                  <a:ext uri="{FF2B5EF4-FFF2-40B4-BE49-F238E27FC236}">
                    <a16:creationId xmlns:a16="http://schemas.microsoft.com/office/drawing/2014/main" id="{2654A842-6EF9-0D0C-1864-39FAE295DF68}"/>
                  </a:ext>
                </a:extLst>
              </p:cNvPr>
              <p:cNvSpPr/>
              <p:nvPr/>
            </p:nvSpPr>
            <p:spPr bwMode="auto">
              <a:xfrm>
                <a:off x="1632" y="3899"/>
                <a:ext cx="299" cy="247"/>
              </a:xfrm>
              <a:custGeom>
                <a:gdLst>
                  <a:gd name="T0" fmla="*/ 146 w 146"/>
                  <a:gd name="T1" fmla="*/ 0 h 120"/>
                  <a:gd name="T2" fmla="*/ 60 w 146"/>
                  <a:gd name="T3" fmla="*/ 95 h 120"/>
                  <a:gd name="T4" fmla="*/ 146 w 146"/>
                  <a:gd name="T5" fmla="*/ 0 h 120"/>
                </a:gdLst>
                <a:cxnLst>
                  <a:cxn ang="0">
                    <a:pos x="T0" y="T1"/>
                  </a:cxn>
                  <a:cxn ang="0">
                    <a:pos x="T2" y="T3"/>
                  </a:cxn>
                  <a:cxn ang="0">
                    <a:pos x="T4" y="T5"/>
                  </a:cxn>
                </a:cxnLst>
                <a:rect l="0" t="0" r="r" b="b"/>
                <a:pathLst>
                  <a:path w="146" h="120">
                    <a:moveTo>
                      <a:pt x="146" y="0"/>
                    </a:moveTo>
                    <a:cubicBezTo>
                      <a:pt x="146" y="0"/>
                      <a:pt x="121" y="69"/>
                      <a:pt x="60" y="95"/>
                    </a:cubicBezTo>
                    <a:cubicBezTo>
                      <a:pt x="0" y="120"/>
                      <a:pt x="114" y="56"/>
                      <a:pt x="146" y="0"/>
                    </a:cubicBezTo>
                    <a:close/>
                  </a:path>
                </a:pathLst>
              </a:custGeom>
              <a:solidFill>
                <a:srgbClr val="7729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88" name="Freeform 56">
                <a:extLst>
                  <a:ext uri="{FF2B5EF4-FFF2-40B4-BE49-F238E27FC236}">
                    <a16:creationId xmlns:a16="http://schemas.microsoft.com/office/drawing/2014/main" id="{1DA5BD41-38FB-E589-8A7B-1DA8D85382BA}"/>
                  </a:ext>
                </a:extLst>
              </p:cNvPr>
              <p:cNvSpPr/>
              <p:nvPr/>
            </p:nvSpPr>
            <p:spPr bwMode="auto">
              <a:xfrm>
                <a:off x="1472" y="3565"/>
                <a:ext cx="382" cy="525"/>
              </a:xfrm>
              <a:custGeom>
                <a:gdLst>
                  <a:gd name="T0" fmla="*/ 167 w 186"/>
                  <a:gd name="T1" fmla="*/ 89 h 256"/>
                  <a:gd name="T2" fmla="*/ 56 w 186"/>
                  <a:gd name="T3" fmla="*/ 240 h 256"/>
                  <a:gd name="T4" fmla="*/ 28 w 186"/>
                  <a:gd name="T5" fmla="*/ 244 h 256"/>
                  <a:gd name="T6" fmla="*/ 56 w 186"/>
                  <a:gd name="T7" fmla="*/ 50 h 256"/>
                  <a:gd name="T8" fmla="*/ 175 w 186"/>
                  <a:gd name="T9" fmla="*/ 43 h 256"/>
                  <a:gd name="T10" fmla="*/ 167 w 186"/>
                  <a:gd name="T11" fmla="*/ 89 h 256"/>
                </a:gdLst>
                <a:cxnLst>
                  <a:cxn ang="0">
                    <a:pos x="T0" y="T1"/>
                  </a:cxn>
                  <a:cxn ang="0">
                    <a:pos x="T2" y="T3"/>
                  </a:cxn>
                  <a:cxn ang="0">
                    <a:pos x="T4" y="T5"/>
                  </a:cxn>
                  <a:cxn ang="0">
                    <a:pos x="T6" y="T7"/>
                  </a:cxn>
                  <a:cxn ang="0">
                    <a:pos x="T8" y="T9"/>
                  </a:cxn>
                  <a:cxn ang="0">
                    <a:pos x="T10" y="T11"/>
                  </a:cxn>
                </a:cxnLst>
                <a:rect l="0" t="0" r="r" b="b"/>
                <a:pathLst>
                  <a:path w="186" h="256">
                    <a:moveTo>
                      <a:pt x="167" y="89"/>
                    </a:moveTo>
                    <a:cubicBezTo>
                      <a:pt x="134" y="111"/>
                      <a:pt x="76" y="160"/>
                      <a:pt x="56" y="240"/>
                    </a:cubicBezTo>
                    <a:cubicBezTo>
                      <a:pt x="52" y="253"/>
                      <a:pt x="35" y="256"/>
                      <a:pt x="28" y="244"/>
                    </a:cubicBezTo>
                    <a:cubicBezTo>
                      <a:pt x="1" y="199"/>
                      <a:pt x="0" y="127"/>
                      <a:pt x="56" y="50"/>
                    </a:cubicBezTo>
                    <a:cubicBezTo>
                      <a:pt x="98" y="0"/>
                      <a:pt x="148" y="8"/>
                      <a:pt x="175" y="43"/>
                    </a:cubicBezTo>
                    <a:cubicBezTo>
                      <a:pt x="186" y="58"/>
                      <a:pt x="182" y="79"/>
                      <a:pt x="167" y="89"/>
                    </a:cubicBezTo>
                    <a:close/>
                  </a:path>
                </a:pathLst>
              </a:custGeom>
              <a:solidFill>
                <a:srgbClr val="7729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89" name="Freeform 57">
                <a:extLst>
                  <a:ext uri="{FF2B5EF4-FFF2-40B4-BE49-F238E27FC236}">
                    <a16:creationId xmlns:a16="http://schemas.microsoft.com/office/drawing/2014/main" id="{C4607331-4B46-3A1C-1FB9-DAF9C9AB1584}"/>
                  </a:ext>
                </a:extLst>
              </p:cNvPr>
              <p:cNvSpPr/>
              <p:nvPr/>
            </p:nvSpPr>
            <p:spPr bwMode="auto">
              <a:xfrm>
                <a:off x="1728" y="3639"/>
                <a:ext cx="50" cy="72"/>
              </a:xfrm>
              <a:custGeom>
                <a:gdLst>
                  <a:gd name="T0" fmla="*/ 0 w 24"/>
                  <a:gd name="T1" fmla="*/ 18 h 35"/>
                  <a:gd name="T2" fmla="*/ 12 w 24"/>
                  <a:gd name="T3" fmla="*/ 35 h 35"/>
                  <a:gd name="T4" fmla="*/ 24 w 24"/>
                  <a:gd name="T5" fmla="*/ 17 h 35"/>
                  <a:gd name="T6" fmla="*/ 12 w 24"/>
                  <a:gd name="T7" fmla="*/ 1 h 35"/>
                  <a:gd name="T8" fmla="*/ 0 w 24"/>
                  <a:gd name="T9" fmla="*/ 18 h 35"/>
                </a:gdLst>
                <a:cxnLst>
                  <a:cxn ang="0">
                    <a:pos x="T0" y="T1"/>
                  </a:cxn>
                  <a:cxn ang="0">
                    <a:pos x="T2" y="T3"/>
                  </a:cxn>
                  <a:cxn ang="0">
                    <a:pos x="T4" y="T5"/>
                  </a:cxn>
                  <a:cxn ang="0">
                    <a:pos x="T6" y="T7"/>
                  </a:cxn>
                  <a:cxn ang="0">
                    <a:pos x="T8" y="T9"/>
                  </a:cxn>
                </a:cxnLst>
                <a:rect l="0" t="0" r="r" b="b"/>
                <a:pathLst>
                  <a:path w="24" h="35">
                    <a:moveTo>
                      <a:pt x="0" y="18"/>
                    </a:moveTo>
                    <a:cubicBezTo>
                      <a:pt x="0" y="27"/>
                      <a:pt x="6" y="35"/>
                      <a:pt x="12" y="35"/>
                    </a:cubicBezTo>
                    <a:cubicBezTo>
                      <a:pt x="19" y="35"/>
                      <a:pt x="24" y="27"/>
                      <a:pt x="24" y="17"/>
                    </a:cubicBezTo>
                    <a:cubicBezTo>
                      <a:pt x="24" y="8"/>
                      <a:pt x="18" y="0"/>
                      <a:pt x="12" y="1"/>
                    </a:cubicBezTo>
                    <a:cubicBezTo>
                      <a:pt x="5" y="1"/>
                      <a:pt x="0" y="9"/>
                      <a:pt x="0" y="18"/>
                    </a:cubicBezTo>
                    <a:close/>
                  </a:path>
                </a:pathLst>
              </a:custGeom>
              <a:solidFill>
                <a:srgbClr val="FFF6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90" name="Freeform 58">
                <a:extLst>
                  <a:ext uri="{FF2B5EF4-FFF2-40B4-BE49-F238E27FC236}">
                    <a16:creationId xmlns:a16="http://schemas.microsoft.com/office/drawing/2014/main" id="{B8F1CD10-0EB0-70E2-1173-068AE62B6F67}"/>
                  </a:ext>
                </a:extLst>
              </p:cNvPr>
              <p:cNvSpPr/>
              <p:nvPr/>
            </p:nvSpPr>
            <p:spPr bwMode="auto">
              <a:xfrm>
                <a:off x="1636" y="3703"/>
                <a:ext cx="62" cy="73"/>
              </a:xfrm>
              <a:custGeom>
                <a:gdLst>
                  <a:gd name="T0" fmla="*/ 4 w 30"/>
                  <a:gd name="T1" fmla="*/ 24 h 36"/>
                  <a:gd name="T2" fmla="*/ 23 w 30"/>
                  <a:gd name="T3" fmla="*/ 33 h 36"/>
                  <a:gd name="T4" fmla="*/ 25 w 30"/>
                  <a:gd name="T5" fmla="*/ 12 h 36"/>
                  <a:gd name="T6" fmla="*/ 6 w 30"/>
                  <a:gd name="T7" fmla="*/ 3 h 36"/>
                  <a:gd name="T8" fmla="*/ 4 w 30"/>
                  <a:gd name="T9" fmla="*/ 24 h 36"/>
                </a:gdLst>
                <a:cxnLst>
                  <a:cxn ang="0">
                    <a:pos x="T0" y="T1"/>
                  </a:cxn>
                  <a:cxn ang="0">
                    <a:pos x="T2" y="T3"/>
                  </a:cxn>
                  <a:cxn ang="0">
                    <a:pos x="T4" y="T5"/>
                  </a:cxn>
                  <a:cxn ang="0">
                    <a:pos x="T6" y="T7"/>
                  </a:cxn>
                  <a:cxn ang="0">
                    <a:pos x="T8" y="T9"/>
                  </a:cxn>
                </a:cxnLst>
                <a:rect l="0" t="0" r="r" b="b"/>
                <a:pathLst>
                  <a:path w="30" h="36">
                    <a:moveTo>
                      <a:pt x="4" y="24"/>
                    </a:moveTo>
                    <a:cubicBezTo>
                      <a:pt x="9" y="32"/>
                      <a:pt x="18" y="36"/>
                      <a:pt x="23" y="33"/>
                    </a:cubicBezTo>
                    <a:cubicBezTo>
                      <a:pt x="29" y="30"/>
                      <a:pt x="30" y="20"/>
                      <a:pt x="25" y="12"/>
                    </a:cubicBezTo>
                    <a:cubicBezTo>
                      <a:pt x="20" y="4"/>
                      <a:pt x="12" y="0"/>
                      <a:pt x="6" y="3"/>
                    </a:cubicBezTo>
                    <a:cubicBezTo>
                      <a:pt x="0" y="7"/>
                      <a:pt x="0" y="16"/>
                      <a:pt x="4" y="24"/>
                    </a:cubicBezTo>
                    <a:close/>
                  </a:path>
                </a:pathLst>
              </a:custGeom>
              <a:solidFill>
                <a:srgbClr val="FFF6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91" name="Freeform 59">
                <a:extLst>
                  <a:ext uri="{FF2B5EF4-FFF2-40B4-BE49-F238E27FC236}">
                    <a16:creationId xmlns:a16="http://schemas.microsoft.com/office/drawing/2014/main" id="{92AFBA4C-484D-52E3-38AA-784B388F2C8E}"/>
                  </a:ext>
                </a:extLst>
              </p:cNvPr>
              <p:cNvSpPr/>
              <p:nvPr/>
            </p:nvSpPr>
            <p:spPr bwMode="auto">
              <a:xfrm>
                <a:off x="1566" y="3791"/>
                <a:ext cx="74" cy="61"/>
              </a:xfrm>
              <a:custGeom>
                <a:gdLst>
                  <a:gd name="T0" fmla="*/ 11 w 36"/>
                  <a:gd name="T1" fmla="*/ 25 h 30"/>
                  <a:gd name="T2" fmla="*/ 32 w 36"/>
                  <a:gd name="T3" fmla="*/ 25 h 30"/>
                  <a:gd name="T4" fmla="*/ 25 w 36"/>
                  <a:gd name="T5" fmla="*/ 5 h 30"/>
                  <a:gd name="T6" fmla="*/ 4 w 36"/>
                  <a:gd name="T7" fmla="*/ 5 h 30"/>
                  <a:gd name="T8" fmla="*/ 11 w 36"/>
                  <a:gd name="T9" fmla="*/ 25 h 30"/>
                </a:gdLst>
                <a:cxnLst>
                  <a:cxn ang="0">
                    <a:pos x="T0" y="T1"/>
                  </a:cxn>
                  <a:cxn ang="0">
                    <a:pos x="T2" y="T3"/>
                  </a:cxn>
                  <a:cxn ang="0">
                    <a:pos x="T4" y="T5"/>
                  </a:cxn>
                  <a:cxn ang="0">
                    <a:pos x="T6" y="T7"/>
                  </a:cxn>
                  <a:cxn ang="0">
                    <a:pos x="T8" y="T9"/>
                  </a:cxn>
                </a:cxnLst>
                <a:rect l="0" t="0" r="r" b="b"/>
                <a:pathLst>
                  <a:path w="36" h="30">
                    <a:moveTo>
                      <a:pt x="11" y="25"/>
                    </a:moveTo>
                    <a:cubicBezTo>
                      <a:pt x="19" y="30"/>
                      <a:pt x="28" y="30"/>
                      <a:pt x="32" y="25"/>
                    </a:cubicBezTo>
                    <a:cubicBezTo>
                      <a:pt x="36" y="19"/>
                      <a:pt x="33" y="11"/>
                      <a:pt x="25" y="5"/>
                    </a:cubicBezTo>
                    <a:cubicBezTo>
                      <a:pt x="17" y="0"/>
                      <a:pt x="8" y="0"/>
                      <a:pt x="4" y="5"/>
                    </a:cubicBezTo>
                    <a:cubicBezTo>
                      <a:pt x="0" y="10"/>
                      <a:pt x="3" y="19"/>
                      <a:pt x="11" y="25"/>
                    </a:cubicBezTo>
                    <a:close/>
                  </a:path>
                </a:pathLst>
              </a:custGeom>
              <a:solidFill>
                <a:srgbClr val="FFF6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92" name="Freeform 60">
                <a:extLst>
                  <a:ext uri="{FF2B5EF4-FFF2-40B4-BE49-F238E27FC236}">
                    <a16:creationId xmlns:a16="http://schemas.microsoft.com/office/drawing/2014/main" id="{C2CCE5D9-F526-B125-967B-CDC8B45C2C1F}"/>
                  </a:ext>
                </a:extLst>
              </p:cNvPr>
              <p:cNvSpPr/>
              <p:nvPr/>
            </p:nvSpPr>
            <p:spPr bwMode="auto">
              <a:xfrm>
                <a:off x="1523" y="3889"/>
                <a:ext cx="74" cy="62"/>
              </a:xfrm>
              <a:custGeom>
                <a:gdLst>
                  <a:gd name="T0" fmla="*/ 13 w 36"/>
                  <a:gd name="T1" fmla="*/ 26 h 30"/>
                  <a:gd name="T2" fmla="*/ 34 w 36"/>
                  <a:gd name="T3" fmla="*/ 22 h 30"/>
                  <a:gd name="T4" fmla="*/ 23 w 36"/>
                  <a:gd name="T5" fmla="*/ 4 h 30"/>
                  <a:gd name="T6" fmla="*/ 3 w 36"/>
                  <a:gd name="T7" fmla="*/ 8 h 30"/>
                  <a:gd name="T8" fmla="*/ 13 w 36"/>
                  <a:gd name="T9" fmla="*/ 26 h 30"/>
                </a:gdLst>
                <a:cxnLst>
                  <a:cxn ang="0">
                    <a:pos x="T0" y="T1"/>
                  </a:cxn>
                  <a:cxn ang="0">
                    <a:pos x="T2" y="T3"/>
                  </a:cxn>
                  <a:cxn ang="0">
                    <a:pos x="T4" y="T5"/>
                  </a:cxn>
                  <a:cxn ang="0">
                    <a:pos x="T6" y="T7"/>
                  </a:cxn>
                  <a:cxn ang="0">
                    <a:pos x="T8" y="T9"/>
                  </a:cxn>
                </a:cxnLst>
                <a:rect l="0" t="0" r="r" b="b"/>
                <a:pathLst>
                  <a:path w="36" h="30">
                    <a:moveTo>
                      <a:pt x="13" y="26"/>
                    </a:moveTo>
                    <a:cubicBezTo>
                      <a:pt x="22" y="30"/>
                      <a:pt x="31" y="28"/>
                      <a:pt x="34" y="22"/>
                    </a:cubicBezTo>
                    <a:cubicBezTo>
                      <a:pt x="36" y="16"/>
                      <a:pt x="32" y="8"/>
                      <a:pt x="23" y="4"/>
                    </a:cubicBezTo>
                    <a:cubicBezTo>
                      <a:pt x="14" y="0"/>
                      <a:pt x="5" y="2"/>
                      <a:pt x="3" y="8"/>
                    </a:cubicBezTo>
                    <a:cubicBezTo>
                      <a:pt x="0" y="14"/>
                      <a:pt x="5" y="22"/>
                      <a:pt x="13" y="26"/>
                    </a:cubicBezTo>
                    <a:close/>
                  </a:path>
                </a:pathLst>
              </a:custGeom>
              <a:solidFill>
                <a:srgbClr val="FFF6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sp>
            <p:nvSpPr>
              <p:cNvPr id="293" name="Freeform 61">
                <a:extLst>
                  <a:ext uri="{FF2B5EF4-FFF2-40B4-BE49-F238E27FC236}">
                    <a16:creationId xmlns:a16="http://schemas.microsoft.com/office/drawing/2014/main" id="{CA42C756-5898-A6C1-8CBD-65848010C3E3}"/>
                  </a:ext>
                </a:extLst>
              </p:cNvPr>
              <p:cNvSpPr/>
              <p:nvPr/>
            </p:nvSpPr>
            <p:spPr bwMode="auto">
              <a:xfrm>
                <a:off x="1603" y="3793"/>
                <a:ext cx="207" cy="328"/>
              </a:xfrm>
              <a:custGeom>
                <a:gdLst>
                  <a:gd name="T0" fmla="*/ 101 w 101"/>
                  <a:gd name="T1" fmla="*/ 0 h 160"/>
                  <a:gd name="T2" fmla="*/ 18 w 101"/>
                  <a:gd name="T3" fmla="*/ 97 h 160"/>
                  <a:gd name="T4" fmla="*/ 101 w 101"/>
                  <a:gd name="T5" fmla="*/ 0 h 160"/>
                </a:gdLst>
                <a:cxnLst>
                  <a:cxn ang="0">
                    <a:pos x="T0" y="T1"/>
                  </a:cxn>
                  <a:cxn ang="0">
                    <a:pos x="T2" y="T3"/>
                  </a:cxn>
                  <a:cxn ang="0">
                    <a:pos x="T4" y="T5"/>
                  </a:cxn>
                </a:cxnLst>
                <a:rect l="0" t="0" r="r" b="b"/>
                <a:pathLst>
                  <a:path w="100" h="160">
                    <a:moveTo>
                      <a:pt x="101" y="0"/>
                    </a:moveTo>
                    <a:cubicBezTo>
                      <a:pt x="101" y="0"/>
                      <a:pt x="35" y="34"/>
                      <a:pt x="18" y="97"/>
                    </a:cubicBezTo>
                    <a:cubicBezTo>
                      <a:pt x="0" y="160"/>
                      <a:pt x="49" y="38"/>
                      <a:pt x="101" y="0"/>
                    </a:cubicBezTo>
                    <a:close/>
                  </a:path>
                </a:pathLst>
              </a:custGeom>
              <a:solidFill>
                <a:srgbClr val="7729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PE"/>
              </a:p>
            </p:txBody>
          </p:sp>
        </p:grpSp>
      </p:grpSp>
      <p:sp>
        <p:nvSpPr>
          <p:cNvPr id="2" name="Freeform 11">
            <a:extLst>
              <a:ext uri="{FF2B5EF4-FFF2-40B4-BE49-F238E27FC236}">
                <a16:creationId xmlns:a16="http://schemas.microsoft.com/office/drawing/2014/main" id="{892E5175-E945-8192-8FD2-F0ADBCCF5A74}"/>
              </a:ext>
            </a:extLst>
          </p:cNvPr>
          <p:cNvSpPr/>
          <p:nvPr/>
        </p:nvSpPr>
        <p:spPr>
          <a:xfrm>
            <a:off x="533400" y="2"/>
            <a:ext cx="5562600" cy="5587999"/>
          </a:xfrm>
          <a:custGeom>
            <a:gdLst>
              <a:gd name="connsiteX0" fmla="*/ 0 w 5562600"/>
              <a:gd name="connsiteY0" fmla="*/ 0 h 5587999"/>
              <a:gd name="connsiteX1" fmla="*/ 5562600 w 5562600"/>
              <a:gd name="connsiteY1" fmla="*/ 0 h 5587999"/>
              <a:gd name="connsiteX2" fmla="*/ 5562600 w 5562600"/>
              <a:gd name="connsiteY2" fmla="*/ 5118071 h 5587999"/>
              <a:gd name="connsiteX3" fmla="*/ 5092672 w 5562600"/>
              <a:gd name="connsiteY3" fmla="*/ 5587999 h 5587999"/>
              <a:gd name="connsiteX4" fmla="*/ 469928 w 5562600"/>
              <a:gd name="connsiteY4" fmla="*/ 5587999 h 5587999"/>
              <a:gd name="connsiteX5" fmla="*/ 0 w 5562600"/>
              <a:gd name="connsiteY5" fmla="*/ 5118071 h 5587999"/>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62600" h="5587999">
                <a:moveTo>
                  <a:pt x="0" y="0"/>
                </a:moveTo>
                <a:lnTo>
                  <a:pt x="5562600" y="0"/>
                </a:lnTo>
                <a:lnTo>
                  <a:pt x="5562600" y="5118071"/>
                </a:lnTo>
                <a:cubicBezTo>
                  <a:pt x="5562600" y="5377605"/>
                  <a:pt x="5352206" y="5587999"/>
                  <a:pt x="5092672" y="5587999"/>
                </a:cubicBezTo>
                <a:lnTo>
                  <a:pt x="469928" y="5587999"/>
                </a:lnTo>
                <a:cubicBezTo>
                  <a:pt x="210394" y="5587999"/>
                  <a:pt x="0" y="5377605"/>
                  <a:pt x="0" y="5118071"/>
                </a:cubicBezTo>
                <a:close/>
              </a:path>
            </a:pathLst>
          </a:custGeom>
          <a:gradFill flip="none" rotWithShape="1">
            <a:gsLst>
              <a:gs pos="0">
                <a:srgbClr val="00677F">
                  <a:alpha val="78000"/>
                </a:srgbClr>
              </a:gs>
              <a:gs pos="100000">
                <a:srgbClr val="00677F"/>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extBox 1">
            <a:extLst>
              <a:ext uri="{FF2B5EF4-FFF2-40B4-BE49-F238E27FC236}">
                <a16:creationId xmlns:a16="http://schemas.microsoft.com/office/drawing/2014/main" id="{3B4FC419-DA49-62EA-37A1-89CD72329048}"/>
              </a:ext>
            </a:extLst>
          </p:cNvPr>
          <p:cNvSpPr txBox="1"/>
          <p:nvPr/>
        </p:nvSpPr>
        <p:spPr>
          <a:xfrm>
            <a:off x="1108136" y="952518"/>
            <a:ext cx="4304666" cy="2708434"/>
          </a:xfrm>
          <a:prstGeom prst="rect">
            <a:avLst/>
          </a:prstGeom>
          <a:noFill/>
        </p:spPr>
        <p:txBody>
          <a:bodyPr wrap="square" lIns="0" tIns="0" rIns="0" bIns="0" rtlCol="0">
            <a:spAutoFit/>
          </a:bodyPr>
          <a:lstStyle/>
          <a:p>
            <a:r>
              <a:rPr lang="en-US" sz="8800" b="1">
                <a:solidFill>
                  <a:schemeClr val="bg1"/>
                </a:solidFill>
                <a:latin typeface="Segoe UI" panose="020b0502040204020203" pitchFamily="34" charset="0"/>
                <a:cs typeface="Segoe UI" panose="020b0502040204020203" pitchFamily="34" charset="0"/>
              </a:rPr>
              <a:t>Thank You</a:t>
            </a:r>
          </a:p>
        </p:txBody>
      </p:sp>
      <p:sp>
        <p:nvSpPr>
          <p:cNvPr id="4" name="TextBox 22">
            <a:extLst>
              <a:ext uri="{FF2B5EF4-FFF2-40B4-BE49-F238E27FC236}">
                <a16:creationId xmlns:a16="http://schemas.microsoft.com/office/drawing/2014/main" id="{C7834218-E9E4-96DB-32FD-4AB7A2C8C7BD}"/>
              </a:ext>
            </a:extLst>
          </p:cNvPr>
          <p:cNvSpPr txBox="1"/>
          <p:nvPr/>
        </p:nvSpPr>
        <p:spPr>
          <a:xfrm>
            <a:off x="1069446" y="3771526"/>
            <a:ext cx="4507692" cy="461665"/>
          </a:xfrm>
          <a:prstGeom prst="rect">
            <a:avLst/>
          </a:prstGeom>
          <a:noFill/>
        </p:spPr>
        <p:txBody>
          <a:bodyPr wrap="square" rtlCol="0">
            <a:spAutoFit/>
          </a:bodyPr>
          <a:lstStyle/>
          <a:p>
            <a:r>
              <a:rPr lang="en-US" altLang="ko-KR" sz="1200">
                <a:solidFill>
                  <a:schemeClr val="bg1"/>
                </a:solidFill>
                <a:cs typeface="Arial" panose="020b0604020202020204" pitchFamily="34" charset="0"/>
              </a:rPr>
              <a:t>Get a modern PowerPoint  Presentation that is beautifully designed. </a:t>
            </a:r>
            <a:r>
              <a:rPr lang="en-US" altLang="ko-KR" sz="1200">
                <a:solidFill>
                  <a:schemeClr val="bg1"/>
                </a:solidFill>
                <a:ea typeface="FZShuTi" pitchFamily="2" charset="-122"/>
                <a:cs typeface="Arial" panose="020b0604020202020204" pitchFamily="34" charset="0"/>
              </a:rPr>
              <a:t>I hope and I believe that this Template will your Time.</a:t>
            </a:r>
            <a:endParaRPr lang="en-US" altLang="ko-KR" sz="1200">
              <a:solidFill>
                <a:schemeClr val="bg1"/>
              </a:solidFill>
              <a:cs typeface="Arial" panose="020b0604020202020204" pitchFamily="34" charset="0"/>
            </a:endParaRPr>
          </a:p>
        </p:txBody>
      </p:sp>
      <p:sp>
        <p:nvSpPr>
          <p:cNvPr id="5" name="TextBox 59">
            <a:extLst>
              <a:ext uri="{FF2B5EF4-FFF2-40B4-BE49-F238E27FC236}">
                <a16:creationId xmlns:a16="http://schemas.microsoft.com/office/drawing/2014/main" id="{A8A332B4-E21F-9510-BB8D-860E0F6AE9CC}"/>
              </a:ext>
            </a:extLst>
          </p:cNvPr>
          <p:cNvSpPr txBox="1"/>
          <p:nvPr/>
        </p:nvSpPr>
        <p:spPr>
          <a:xfrm>
            <a:off x="1138231" y="6076056"/>
            <a:ext cx="3870231" cy="523220"/>
          </a:xfrm>
          <a:prstGeom prst="rect">
            <a:avLst/>
          </a:prstGeom>
          <a:noFill/>
          <a:ln cap="flat">
            <a:noFill/>
          </a:ln>
        </p:spPr>
        <p:txBody>
          <a:bodyPr vert="horz" wrap="square" lIns="91440" tIns="45720" rIns="91440" bIns="45720" anchor="ctr" anchorCtr="1" compatLnSpc="1">
            <a:spAutoFit/>
          </a:bodyPr>
          <a:lstStyle/>
          <a:p>
            <a:pPr marL="0" marR="0" lvl="0" indent="0" algn="just" defTabSz="914400" rtl="0" fontAlgn="auto" hangingPunct="1">
              <a:lnSpc>
                <a:spcPct val="100000"/>
              </a:lnSpc>
              <a:spcBef>
                <a:spcPct val="0"/>
              </a:spcBef>
              <a:spcAft>
                <a:spcPct val="0"/>
              </a:spcAft>
              <a:buNone/>
              <a:defRPr sz="1800" b="0" i="0" u="none" strike="noStrike" kern="0" cap="none" spc="0" baseline="0">
                <a:solidFill>
                  <a:srgbClr val="000000"/>
                </a:solidFill>
                <a:uFillTx/>
              </a:defRPr>
            </a:pPr>
            <a:r>
              <a:rPr lang="en-US" sz="2800" b="1" i="0" u="none" strike="noStrike" kern="0" cap="none" spc="600" baseline="0">
                <a:solidFill>
                  <a:schemeClr val="bg1"/>
                </a:solidFill>
                <a:uFillTx/>
                <a:latin typeface="Segoe UI" panose="020b0502040204020203" pitchFamily="34" charset="0"/>
                <a:ea typeface="Arial"/>
                <a:cs typeface="Segoe UI" panose="020b0502040204020203" pitchFamily="34" charset="0"/>
              </a:rPr>
              <a:t>SLIDESPPT.NET</a:t>
            </a:r>
          </a:p>
        </p:txBody>
      </p:sp>
      <p:sp>
        <p:nvSpPr>
          <p:cNvPr id="246" name="TextBox 59">
            <a:extLst>
              <a:ext uri="{FF2B5EF4-FFF2-40B4-BE49-F238E27FC236}">
                <a16:creationId xmlns:a16="http://schemas.microsoft.com/office/drawing/2014/main" id="{B377A480-2830-6E5B-39F1-3409813FF7D6}"/>
              </a:ext>
            </a:extLst>
          </p:cNvPr>
          <p:cNvSpPr txBox="1"/>
          <p:nvPr/>
        </p:nvSpPr>
        <p:spPr>
          <a:xfrm>
            <a:off x="3151944" y="5626157"/>
            <a:ext cx="2162551" cy="523220"/>
          </a:xfrm>
          <a:prstGeom prst="rect">
            <a:avLst/>
          </a:prstGeom>
          <a:noFill/>
          <a:ln cap="flat">
            <a:noFill/>
          </a:ln>
        </p:spPr>
        <p:txBody>
          <a:bodyPr vert="horz" wrap="square" lIns="91440" tIns="45720" rIns="91440" bIns="45720" anchor="ctr" anchorCtr="1" compatLnSpc="1">
            <a:spAutoFit/>
          </a:bodyPr>
          <a:lstStyle/>
          <a:p>
            <a:pPr marL="0" marR="0" lvl="0" indent="0" algn="ctr" defTabSz="914400" rtl="0" fontAlgn="auto" hangingPunct="1">
              <a:lnSpc>
                <a:spcPct val="100000"/>
              </a:lnSpc>
              <a:spcBef>
                <a:spcPct val="0"/>
              </a:spcBef>
              <a:spcAft>
                <a:spcPct val="0"/>
              </a:spcAft>
              <a:buNone/>
              <a:defRPr sz="1800" b="0" i="0" u="none" strike="noStrike" kern="0" cap="none" spc="0" baseline="0">
                <a:solidFill>
                  <a:srgbClr val="000000"/>
                </a:solidFill>
                <a:uFillTx/>
              </a:defRPr>
            </a:pPr>
            <a:r>
              <a:rPr lang="en-US" sz="2800" i="0" u="none" strike="noStrike" kern="0" cap="none" baseline="0">
                <a:solidFill>
                  <a:schemeClr val="bg1"/>
                </a:solidFill>
                <a:uFillTx/>
                <a:latin typeface="Segoe UI" panose="020b0502040204020203" pitchFamily="34" charset="0"/>
                <a:ea typeface="Arial"/>
                <a:cs typeface="Segoe UI" panose="020b0502040204020203" pitchFamily="34" charset="0"/>
              </a:rPr>
              <a:t>We are</a:t>
            </a:r>
          </a:p>
        </p:txBody>
      </p:sp>
    </p:spTree>
    <p:extLst>
      <p:ext uri="{BB962C8B-B14F-4D97-AF65-F5344CB8AC3E}">
        <p14:creationId xmlns:p14="http://schemas.microsoft.com/office/powerpoint/2010/main" val="1418243531"/>
      </p:ext>
    </p:extLst>
  </p:cSld>
  <p:clrMapOvr>
    <a:masterClrMapping/>
  </p:clrMapOvr>
  <p:transition/>
  <p:timing/>
</p:sld>
</file>

<file path=ppt/slides/slide19.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extBox 3">
            <a:extLst>
              <a:ext uri="{FF2B5EF4-FFF2-40B4-BE49-F238E27FC236}">
                <a16:creationId xmlns:a16="http://schemas.microsoft.com/office/drawing/2014/main" id="{992D45C8-619B-69B8-6332-002F6489E5F6}"/>
              </a:ext>
            </a:extLst>
          </p:cNvPr>
          <p:cNvSpPr txBox="1"/>
          <p:nvPr/>
        </p:nvSpPr>
        <p:spPr>
          <a:xfrm>
            <a:off x="2373774" y="479626"/>
            <a:ext cx="7444450" cy="76944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4400">
                <a:latin typeface="Roboto" panose="02000000000000000000" pitchFamily="2" charset="0"/>
                <a:ea typeface="Roboto" panose="02000000000000000000" pitchFamily="2" charset="0"/>
                <a:cs typeface="Roboto" panose="02000000000000000000" pitchFamily="2" charset="0"/>
              </a:rPr>
              <a:t>Instructions for use</a:t>
            </a:r>
            <a:endParaRPr lang="en-GB" sz="4400">
              <a:latin typeface="Roboto" panose="02000000000000000000" pitchFamily="2" charset="0"/>
              <a:ea typeface="Roboto" panose="02000000000000000000" pitchFamily="2" charset="0"/>
              <a:cs typeface="Roboto" panose="02000000000000000000" pitchFamily="2" charset="0"/>
            </a:endParaRPr>
          </a:p>
        </p:txBody>
      </p:sp>
      <p:sp>
        <p:nvSpPr>
          <p:cNvPr id="3" name="TextBox 5">
            <a:extLst>
              <a:ext uri="{FF2B5EF4-FFF2-40B4-BE49-F238E27FC236}">
                <a16:creationId xmlns:a16="http://schemas.microsoft.com/office/drawing/2014/main" id="{702CE583-FD22-1C42-1970-54A908175AD8}"/>
              </a:ext>
            </a:extLst>
          </p:cNvPr>
          <p:cNvSpPr txBox="1"/>
          <p:nvPr/>
        </p:nvSpPr>
        <p:spPr>
          <a:xfrm>
            <a:off x="3899058" y="2059915"/>
            <a:ext cx="4393881" cy="33855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a:latin typeface="Roboto" panose="02000000000000000000" pitchFamily="2" charset="0"/>
                <a:ea typeface="Roboto" panose="02000000000000000000" pitchFamily="2" charset="0"/>
                <a:cs typeface="Roboto" panose="02000000000000000000" pitchFamily="2" charset="0"/>
              </a:rPr>
              <a:t>What you are allowed to do :</a:t>
            </a:r>
            <a:endParaRPr lang="en-GB" sz="1600" b="1">
              <a:latin typeface="Roboto" panose="02000000000000000000" pitchFamily="2" charset="0"/>
              <a:ea typeface="Roboto" panose="02000000000000000000" pitchFamily="2" charset="0"/>
              <a:cs typeface="Roboto" panose="02000000000000000000" pitchFamily="2" charset="0"/>
            </a:endParaRPr>
          </a:p>
        </p:txBody>
      </p:sp>
      <p:sp>
        <p:nvSpPr>
          <p:cNvPr id="4" name="TextBox 6">
            <a:extLst>
              <a:ext uri="{FF2B5EF4-FFF2-40B4-BE49-F238E27FC236}">
                <a16:creationId xmlns:a16="http://schemas.microsoft.com/office/drawing/2014/main" id="{63C84B64-5E13-0C49-614F-F7CE0AEA4BE1}"/>
              </a:ext>
            </a:extLst>
          </p:cNvPr>
          <p:cNvSpPr txBox="1"/>
          <p:nvPr/>
        </p:nvSpPr>
        <p:spPr>
          <a:xfrm>
            <a:off x="2602424" y="2432240"/>
            <a:ext cx="6987150" cy="89255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en-US" sz="120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Use our templates for personal or educational presentations or printouts.</a:t>
            </a:r>
          </a:p>
          <a:p>
            <a:pPr algn="ctr">
              <a:lnSpc>
                <a:spcPct val="150000"/>
              </a:lnSpc>
            </a:pPr>
            <a:r>
              <a:rPr lang="en-US" sz="120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Edit and customize our templates for your own needs.</a:t>
            </a:r>
          </a:p>
          <a:p>
            <a:pPr algn="ctr">
              <a:lnSpc>
                <a:spcPct val="150000"/>
              </a:lnSpc>
            </a:pPr>
            <a:r>
              <a:rPr lang="en-US" sz="120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Link a page to a presentation template on your website or blog.</a:t>
            </a:r>
            <a:endParaRPr lang="en-GB" sz="1200">
              <a:solidFill>
                <a:schemeClr val="bg2">
                  <a:lumMod val="10000"/>
                </a:schemeClr>
              </a:solidFill>
              <a:latin typeface="Roboto" panose="02000000000000000000" pitchFamily="2" charset="0"/>
              <a:ea typeface="Roboto" panose="02000000000000000000" pitchFamily="2" charset="0"/>
              <a:cs typeface="Roboto" panose="02000000000000000000" pitchFamily="2" charset="0"/>
            </a:endParaRPr>
          </a:p>
        </p:txBody>
      </p:sp>
      <p:sp>
        <p:nvSpPr>
          <p:cNvPr id="5" name="TextBox 10">
            <a:extLst>
              <a:ext uri="{FF2B5EF4-FFF2-40B4-BE49-F238E27FC236}">
                <a16:creationId xmlns:a16="http://schemas.microsoft.com/office/drawing/2014/main" id="{E14631AA-1E1D-2967-E9CE-B71B6324F46C}"/>
              </a:ext>
            </a:extLst>
          </p:cNvPr>
          <p:cNvSpPr txBox="1"/>
          <p:nvPr/>
        </p:nvSpPr>
        <p:spPr>
          <a:xfrm>
            <a:off x="2602424" y="1353852"/>
            <a:ext cx="6987150" cy="58477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a:latin typeface="Roboto" panose="02000000000000000000" pitchFamily="2" charset="0"/>
                <a:ea typeface="Roboto" panose="02000000000000000000" pitchFamily="2" charset="0"/>
                <a:cs typeface="Roboto" panose="02000000000000000000" pitchFamily="2" charset="0"/>
              </a:rPr>
              <a:t>In order to use this template, you must credit Slidesppt by keeping the thank you slide.</a:t>
            </a:r>
            <a:endParaRPr lang="en-GB" sz="1600">
              <a:latin typeface="Roboto" panose="02000000000000000000" pitchFamily="2" charset="0"/>
              <a:ea typeface="Roboto" panose="02000000000000000000" pitchFamily="2" charset="0"/>
              <a:cs typeface="Roboto" panose="02000000000000000000" pitchFamily="2" charset="0"/>
            </a:endParaRPr>
          </a:p>
        </p:txBody>
      </p:sp>
      <p:sp>
        <p:nvSpPr>
          <p:cNvPr id="6" name="TextBox 11">
            <a:extLst>
              <a:ext uri="{FF2B5EF4-FFF2-40B4-BE49-F238E27FC236}">
                <a16:creationId xmlns:a16="http://schemas.microsoft.com/office/drawing/2014/main" id="{2677B34C-6F74-A89A-49DE-34235537EEBD}"/>
              </a:ext>
            </a:extLst>
          </p:cNvPr>
          <p:cNvSpPr txBox="1"/>
          <p:nvPr/>
        </p:nvSpPr>
        <p:spPr>
          <a:xfrm>
            <a:off x="3826642" y="3447764"/>
            <a:ext cx="4538711" cy="33855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a:latin typeface="Roboto" panose="02000000000000000000" pitchFamily="2" charset="0"/>
                <a:ea typeface="Roboto" panose="02000000000000000000" pitchFamily="2" charset="0"/>
                <a:cs typeface="Roboto" panose="02000000000000000000" pitchFamily="2" charset="0"/>
              </a:rPr>
              <a:t>What you are not allowed to do :</a:t>
            </a:r>
            <a:endParaRPr lang="en-GB" sz="1600" b="1">
              <a:latin typeface="Roboto" panose="02000000000000000000" pitchFamily="2" charset="0"/>
              <a:ea typeface="Roboto" panose="02000000000000000000" pitchFamily="2" charset="0"/>
              <a:cs typeface="Roboto" panose="02000000000000000000" pitchFamily="2" charset="0"/>
            </a:endParaRPr>
          </a:p>
        </p:txBody>
      </p:sp>
      <p:sp>
        <p:nvSpPr>
          <p:cNvPr id="7" name="TextBox 12">
            <a:extLst>
              <a:ext uri="{FF2B5EF4-FFF2-40B4-BE49-F238E27FC236}">
                <a16:creationId xmlns:a16="http://schemas.microsoft.com/office/drawing/2014/main" id="{409D0A4E-1A31-6E5A-BE13-C0A722472C36}"/>
              </a:ext>
            </a:extLst>
          </p:cNvPr>
          <p:cNvSpPr txBox="1"/>
          <p:nvPr/>
        </p:nvSpPr>
        <p:spPr>
          <a:xfrm>
            <a:off x="2602424" y="3730888"/>
            <a:ext cx="6987150" cy="116955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en-US" sz="120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Republish or redistribute our presentation templates, offline or online and even for free.</a:t>
            </a:r>
          </a:p>
          <a:p>
            <a:pPr algn="ctr">
              <a:lnSpc>
                <a:spcPct val="150000"/>
              </a:lnSpc>
            </a:pPr>
            <a:r>
              <a:rPr lang="en-US" sz="120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Offer Slidesppt templates (or a modified version of this Slidesppt Template) or include it in a database or any other product or service that offers downloadable images, icons or templates that may be subject to distribution or resale.</a:t>
            </a:r>
          </a:p>
        </p:txBody>
      </p:sp>
      <p:sp>
        <p:nvSpPr>
          <p:cNvPr id="8" name="TextBox 11">
            <a:extLst>
              <a:ext uri="{FF2B5EF4-FFF2-40B4-BE49-F238E27FC236}">
                <a16:creationId xmlns:a16="http://schemas.microsoft.com/office/drawing/2014/main" id="{9DBC07D3-29C1-C269-E7F3-359C74447CB1}"/>
              </a:ext>
            </a:extLst>
          </p:cNvPr>
          <p:cNvSpPr txBox="1"/>
          <p:nvPr/>
        </p:nvSpPr>
        <p:spPr>
          <a:xfrm>
            <a:off x="3826642" y="4967981"/>
            <a:ext cx="4538711" cy="33855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a:latin typeface="Roboto" panose="02000000000000000000" pitchFamily="2" charset="0"/>
                <a:ea typeface="Roboto" panose="02000000000000000000" pitchFamily="2" charset="0"/>
                <a:cs typeface="Roboto" panose="02000000000000000000" pitchFamily="2" charset="0"/>
              </a:rPr>
              <a:t>Useful links :</a:t>
            </a:r>
            <a:endParaRPr lang="en-GB" sz="1600" b="1">
              <a:latin typeface="Roboto" panose="02000000000000000000" pitchFamily="2" charset="0"/>
              <a:ea typeface="Roboto" panose="02000000000000000000" pitchFamily="2" charset="0"/>
              <a:cs typeface="Roboto" panose="02000000000000000000" pitchFamily="2" charset="0"/>
            </a:endParaRPr>
          </a:p>
        </p:txBody>
      </p:sp>
      <p:sp>
        <p:nvSpPr>
          <p:cNvPr id="9" name="TextBox 12">
            <a:extLst>
              <a:ext uri="{FF2B5EF4-FFF2-40B4-BE49-F238E27FC236}">
                <a16:creationId xmlns:a16="http://schemas.microsoft.com/office/drawing/2014/main" id="{CCD09EB1-D4A9-0490-AE7F-C0DDF8EF58DA}"/>
              </a:ext>
            </a:extLst>
          </p:cNvPr>
          <p:cNvSpPr txBox="1"/>
          <p:nvPr/>
        </p:nvSpPr>
        <p:spPr>
          <a:xfrm>
            <a:off x="1611822" y="5307153"/>
            <a:ext cx="8968350" cy="89255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en-US" sz="120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What you are allowed and not allowed to do: </a:t>
            </a:r>
            <a:r>
              <a:rPr lang="en-US" sz="1200">
                <a:solidFill>
                  <a:srgbClr val="0563C1"/>
                </a:solidFill>
                <a:latin typeface="Roboto" panose="02000000000000000000" pitchFamily="2" charset="0"/>
                <a:ea typeface="Roboto" panose="02000000000000000000" pitchFamily="2" charset="0"/>
                <a:cs typeface="Roboto" panose="02000000000000000000" pitchFamily="2" charset="0"/>
                <a:hlinkClick r:id="rId2">
                  <a:extLst>
                    <a:ext uri="{A12FA001-AC4F-418D-AE19-62706E023703}">
                      <ahyp:hlinkClr xmlns:ahyp="http://schemas.microsoft.com/office/drawing/2018/hyperlinkcolor" val="tx"/>
                    </a:ext>
                  </a:extLst>
                </a:hlinkClick>
              </a:rPr>
              <a:t>https://www.slidesppt.net/what-you-can-and-cannot-do-with-our-templates</a:t>
            </a:r>
            <a:r>
              <a:rPr lang="en-US" sz="1200">
                <a:solidFill>
                  <a:srgbClr val="0070C0"/>
                </a:solidFill>
                <a:latin typeface="Roboto" panose="02000000000000000000" pitchFamily="2" charset="0"/>
                <a:ea typeface="Roboto" panose="02000000000000000000" pitchFamily="2" charset="0"/>
                <a:cs typeface="Roboto" panose="02000000000000000000" pitchFamily="2" charset="0"/>
                <a:hlinkClick r:id="rId2">
                  <a:extLst>
                    <a:ext uri="{A12FA001-AC4F-418D-AE19-62706E023703}">
                      <ahyp:hlinkClr xmlns:ahyp="http://schemas.microsoft.com/office/drawing/2018/hyperlinkcolor" val="tx"/>
                    </a:ext>
                  </a:extLst>
                </a:hlinkClick>
              </a:rPr>
              <a:t>/</a:t>
            </a:r>
            <a:r>
              <a:rPr lang="en-US" sz="1200">
                <a:solidFill>
                  <a:srgbClr val="0070C0"/>
                </a:solidFill>
                <a:latin typeface="Roboto" panose="02000000000000000000" pitchFamily="2" charset="0"/>
                <a:ea typeface="Roboto" panose="02000000000000000000" pitchFamily="2" charset="0"/>
                <a:cs typeface="Roboto" panose="02000000000000000000" pitchFamily="2" charset="0"/>
              </a:rPr>
              <a:t>  </a:t>
            </a:r>
          </a:p>
          <a:p>
            <a:pPr algn="ctr">
              <a:lnSpc>
                <a:spcPct val="150000"/>
              </a:lnSpc>
            </a:pPr>
            <a:r>
              <a:rPr lang="en-US" sz="120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Frequently Asked Questions: </a:t>
            </a:r>
            <a:r>
              <a:rPr lang="en-US" sz="1200">
                <a:solidFill>
                  <a:srgbClr val="0563C1"/>
                </a:solidFill>
                <a:latin typeface="Roboto" panose="02000000000000000000" pitchFamily="2" charset="0"/>
                <a:ea typeface="Roboto" panose="02000000000000000000" pitchFamily="2" charset="0"/>
                <a:cs typeface="Roboto" panose="02000000000000000000" pitchFamily="2" charset="0"/>
                <a:hlinkClick r:id="rId3">
                  <a:extLst>
                    <a:ext uri="{A12FA001-AC4F-418D-AE19-62706E023703}">
                      <ahyp:hlinkClr xmlns:ahyp="http://schemas.microsoft.com/office/drawing/2018/hyperlinkcolor" val="tx"/>
                    </a:ext>
                  </a:extLst>
                </a:hlinkClick>
              </a:rPr>
              <a:t>https://www.slidesppt.net/frequently-asked-questions</a:t>
            </a:r>
            <a:r>
              <a:rPr lang="en-US" sz="1200">
                <a:solidFill>
                  <a:srgbClr val="0070C0"/>
                </a:solidFill>
                <a:latin typeface="Roboto" panose="02000000000000000000" pitchFamily="2" charset="0"/>
                <a:ea typeface="Roboto" panose="02000000000000000000" pitchFamily="2" charset="0"/>
                <a:cs typeface="Roboto" panose="02000000000000000000" pitchFamily="2" charset="0"/>
                <a:hlinkClick r:id="rId3">
                  <a:extLst>
                    <a:ext uri="{A12FA001-AC4F-418D-AE19-62706E023703}">
                      <ahyp:hlinkClr xmlns:ahyp="http://schemas.microsoft.com/office/drawing/2018/hyperlinkcolor" val="tx"/>
                    </a:ext>
                  </a:extLst>
                </a:hlinkClick>
              </a:rPr>
              <a:t>/</a:t>
            </a:r>
            <a:r>
              <a:rPr lang="en-US" sz="1200">
                <a:solidFill>
                  <a:srgbClr val="0070C0"/>
                </a:solidFill>
                <a:latin typeface="Roboto" panose="02000000000000000000" pitchFamily="2" charset="0"/>
                <a:ea typeface="Roboto" panose="02000000000000000000" pitchFamily="2" charset="0"/>
                <a:cs typeface="Roboto" panose="02000000000000000000" pitchFamily="2" charset="0"/>
              </a:rPr>
              <a:t>  </a:t>
            </a:r>
          </a:p>
          <a:p>
            <a:pPr algn="ctr">
              <a:lnSpc>
                <a:spcPct val="150000"/>
              </a:lnSpc>
            </a:pPr>
            <a:r>
              <a:rPr lang="en-US" sz="120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Tutorials and Tips: </a:t>
            </a:r>
            <a:r>
              <a:rPr lang="en-US" sz="1200">
                <a:solidFill>
                  <a:srgbClr val="0563C1"/>
                </a:solidFill>
                <a:latin typeface="Roboto" panose="02000000000000000000" pitchFamily="2" charset="0"/>
                <a:ea typeface="Roboto" panose="02000000000000000000" pitchFamily="2" charset="0"/>
                <a:cs typeface="Roboto" panose="02000000000000000000" pitchFamily="2" charset="0"/>
                <a:hlinkClick r:id="rId4">
                  <a:extLst>
                    <a:ext uri="{A12FA001-AC4F-418D-AE19-62706E023703}">
                      <ahyp:hlinkClr xmlns:ahyp="http://schemas.microsoft.com/office/drawing/2018/hyperlinkcolor" val="tx"/>
                    </a:ext>
                  </a:extLst>
                </a:hlinkClick>
              </a:rPr>
              <a:t>https://www.slidesppt.net/tutorials-and-tips</a:t>
            </a:r>
            <a:r>
              <a:rPr lang="en-US" sz="1200">
                <a:solidFill>
                  <a:srgbClr val="0070C0"/>
                </a:solidFill>
                <a:latin typeface="Roboto" panose="02000000000000000000" pitchFamily="2" charset="0"/>
                <a:ea typeface="Roboto" panose="02000000000000000000" pitchFamily="2" charset="0"/>
                <a:cs typeface="Roboto" panose="02000000000000000000" pitchFamily="2" charset="0"/>
                <a:hlinkClick r:id="rId4">
                  <a:extLst>
                    <a:ext uri="{A12FA001-AC4F-418D-AE19-62706E023703}">
                      <ahyp:hlinkClr xmlns:ahyp="http://schemas.microsoft.com/office/drawing/2018/hyperlinkcolor" val="tx"/>
                    </a:ext>
                  </a:extLst>
                </a:hlinkClick>
              </a:rPr>
              <a:t>/</a:t>
            </a:r>
            <a:r>
              <a:rPr lang="en-US" sz="1200">
                <a:solidFill>
                  <a:srgbClr val="0070C0"/>
                </a:solidFill>
                <a:latin typeface="Roboto" panose="02000000000000000000" pitchFamily="2" charset="0"/>
                <a:ea typeface="Roboto" panose="02000000000000000000" pitchFamily="2" charset="0"/>
                <a:cs typeface="Roboto" panose="02000000000000000000" pitchFamily="2" charset="0"/>
              </a:rPr>
              <a:t>  </a:t>
            </a:r>
          </a:p>
        </p:txBody>
      </p:sp>
      <p:sp>
        <p:nvSpPr>
          <p:cNvPr id="10" name="Rectángulo 9">
            <a:extLst>
              <a:ext uri="{FF2B5EF4-FFF2-40B4-BE49-F238E27FC236}">
                <a16:creationId xmlns:a16="http://schemas.microsoft.com/office/drawing/2014/main" id="{25833B87-4FD7-4676-8AF0-4CF8731D2123}"/>
              </a:ext>
            </a:extLst>
          </p:cNvPr>
          <p:cNvSpPr/>
          <p:nvPr/>
        </p:nvSpPr>
        <p:spPr>
          <a:xfrm>
            <a:off x="293273" y="272144"/>
            <a:ext cx="11605453" cy="6356034"/>
          </a:xfrm>
          <a:prstGeom prst="rect">
            <a:avLst/>
          </a:prstGeom>
          <a:noFill/>
          <a:ln w="57150">
            <a:solidFill>
              <a:srgbClr val="06DBE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ln>
                <a:solidFill>
                  <a:srgbClr val="7030A0"/>
                </a:solidFill>
              </a:ln>
            </a:endParaRPr>
          </a:p>
        </p:txBody>
      </p:sp>
    </p:spTree>
    <p:extLst>
      <p:ext uri="{BB962C8B-B14F-4D97-AF65-F5344CB8AC3E}">
        <p14:creationId xmlns:p14="http://schemas.microsoft.com/office/powerpoint/2010/main" val="769791629"/>
      </p:ext>
    </p:extLst>
  </p:cSld>
  <p:clrMapOvr>
    <a:masterClrMapping/>
  </p:clrMapOvr>
  <p:transition/>
  <p:timing/>
</p:sld>
</file>

<file path=ppt/slides/slide2.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grpSp>
        <p:nvGrpSpPr>
          <p:cNvPr id="43" name="Grupo 42">
            <a:extLst>
              <a:ext uri="{FF2B5EF4-FFF2-40B4-BE49-F238E27FC236}">
                <a16:creationId xmlns:a16="http://schemas.microsoft.com/office/drawing/2014/main" id="{2FCB4C66-9993-541B-0562-83ED45E463AC}"/>
              </a:ext>
            </a:extLst>
          </p:cNvPr>
          <p:cNvGrpSpPr/>
          <p:nvPr/>
        </p:nvGrpSpPr>
        <p:grpSpPr>
          <a:xfrm>
            <a:off x="-1108356" y="858955"/>
            <a:ext cx="5636487" cy="5852318"/>
            <a:chOff x="-1300461" y="116957"/>
            <a:chExt cx="6596805" cy="6596805"/>
          </a:xfrm>
        </p:grpSpPr>
        <p:sp>
          <p:nvSpPr>
            <p:cNvPr id="74" name="Forma libre: forma 73">
              <a:extLst>
                <a:ext uri="{FF2B5EF4-FFF2-40B4-BE49-F238E27FC236}">
                  <a16:creationId xmlns:a16="http://schemas.microsoft.com/office/drawing/2014/main" id="{D59B7410-B91E-B8E5-3692-420AF52CB93A}"/>
                </a:ext>
              </a:extLst>
            </p:cNvPr>
            <p:cNvSpPr/>
            <p:nvPr/>
          </p:nvSpPr>
          <p:spPr>
            <a:xfrm>
              <a:off x="0" y="514350"/>
              <a:ext cx="4833494" cy="5848350"/>
            </a:xfrm>
            <a:custGeom>
              <a:gdLst>
                <a:gd name="connsiteX0" fmla="*/ 1626172 w 4833494"/>
                <a:gd name="connsiteY0" fmla="*/ 0 h 5848350"/>
                <a:gd name="connsiteX1" fmla="*/ 4833494 w 4833494"/>
                <a:gd name="connsiteY1" fmla="*/ 2924175 h 5848350"/>
                <a:gd name="connsiteX2" fmla="*/ 1626172 w 4833494"/>
                <a:gd name="connsiteY2" fmla="*/ 5848350 h 5848350"/>
                <a:gd name="connsiteX3" fmla="*/ 97372 w 4833494"/>
                <a:gd name="connsiteY3" fmla="*/ 5495418 h 5848350"/>
                <a:gd name="connsiteX4" fmla="*/ 0 w 4833494"/>
                <a:gd name="connsiteY4" fmla="*/ 5441485 h 5848350"/>
                <a:gd name="connsiteX5" fmla="*/ 0 w 4833494"/>
                <a:gd name="connsiteY5" fmla="*/ 406865 h 5848350"/>
                <a:gd name="connsiteX6" fmla="*/ 97372 w 4833494"/>
                <a:gd name="connsiteY6" fmla="*/ 352932 h 5848350"/>
                <a:gd name="connsiteX7" fmla="*/ 1626172 w 4833494"/>
                <a:gd name="connsiteY7" fmla="*/ 0 h 584835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33494" h="5848350">
                  <a:moveTo>
                    <a:pt x="1626172" y="0"/>
                  </a:moveTo>
                  <a:cubicBezTo>
                    <a:pt x="3397527" y="0"/>
                    <a:pt x="4833494" y="1309198"/>
                    <a:pt x="4833494" y="2924175"/>
                  </a:cubicBezTo>
                  <a:cubicBezTo>
                    <a:pt x="4833494" y="4539152"/>
                    <a:pt x="3397527" y="5848350"/>
                    <a:pt x="1626172" y="5848350"/>
                  </a:cubicBezTo>
                  <a:cubicBezTo>
                    <a:pt x="1072624" y="5848350"/>
                    <a:pt x="551828" y="5720499"/>
                    <a:pt x="97372" y="5495418"/>
                  </a:cubicBezTo>
                  <a:lnTo>
                    <a:pt x="0" y="5441485"/>
                  </a:lnTo>
                  <a:lnTo>
                    <a:pt x="0" y="406865"/>
                  </a:lnTo>
                  <a:lnTo>
                    <a:pt x="97372" y="352932"/>
                  </a:lnTo>
                  <a:cubicBezTo>
                    <a:pt x="551828" y="127852"/>
                    <a:pt x="1072624" y="0"/>
                    <a:pt x="1626172" y="0"/>
                  </a:cubicBezTo>
                  <a:close/>
                </a:path>
              </a:pathLst>
            </a:custGeom>
            <a:solidFill>
              <a:srgbClr val="02BA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s-PE"/>
            </a:p>
          </p:txBody>
        </p:sp>
        <p:sp>
          <p:nvSpPr>
            <p:cNvPr id="75" name="Arc 9">
              <a:extLst>
                <a:ext uri="{FF2B5EF4-FFF2-40B4-BE49-F238E27FC236}">
                  <a16:creationId xmlns:a16="http://schemas.microsoft.com/office/drawing/2014/main" id="{438C55ED-FB24-B02D-136F-383DD6161C81}"/>
                </a:ext>
              </a:extLst>
            </p:cNvPr>
            <p:cNvSpPr/>
            <p:nvPr/>
          </p:nvSpPr>
          <p:spPr>
            <a:xfrm>
              <a:off x="-1300461" y="116957"/>
              <a:ext cx="6596805" cy="6596805"/>
            </a:xfrm>
            <a:prstGeom prst="arc">
              <a:avLst>
                <a:gd name="adj1" fmla="val 16200000"/>
                <a:gd name="adj2" fmla="val 5445836"/>
              </a:avLst>
            </a:prstGeom>
            <a:noFill/>
            <a:ln w="12700" cap="flat" cmpd="sng" algn="ctr">
              <a:solidFill>
                <a:srgbClr val="00ABF7"/>
              </a:solid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black"/>
                </a:solidFill>
                <a:effectLst/>
                <a:uLnTx/>
                <a:uFillTx/>
                <a:latin typeface="Arial"/>
                <a:cs typeface="+mn-cs"/>
              </a:endParaRPr>
            </a:p>
          </p:txBody>
        </p:sp>
      </p:grpSp>
      <p:grpSp>
        <p:nvGrpSpPr>
          <p:cNvPr id="44" name="Group 10">
            <a:extLst>
              <a:ext uri="{FF2B5EF4-FFF2-40B4-BE49-F238E27FC236}">
                <a16:creationId xmlns:a16="http://schemas.microsoft.com/office/drawing/2014/main" id="{AAC67A3D-A25B-1B70-931E-DC6CA3C724CD}"/>
              </a:ext>
            </a:extLst>
          </p:cNvPr>
          <p:cNvGrpSpPr/>
          <p:nvPr/>
        </p:nvGrpSpPr>
        <p:grpSpPr>
          <a:xfrm>
            <a:off x="5352818" y="2177438"/>
            <a:ext cx="5794001" cy="800219"/>
            <a:chOff x="4745820" y="1482096"/>
            <a:chExt cx="5794001" cy="800219"/>
          </a:xfrm>
        </p:grpSpPr>
        <p:grpSp>
          <p:nvGrpSpPr>
            <p:cNvPr id="68" name="Group 11">
              <a:extLst>
                <a:ext uri="{FF2B5EF4-FFF2-40B4-BE49-F238E27FC236}">
                  <a16:creationId xmlns:a16="http://schemas.microsoft.com/office/drawing/2014/main" id="{7012D06A-2BC0-7CE8-B1DD-22F6C81A099F}"/>
                </a:ext>
              </a:extLst>
            </p:cNvPr>
            <p:cNvGrpSpPr/>
            <p:nvPr/>
          </p:nvGrpSpPr>
          <p:grpSpPr>
            <a:xfrm>
              <a:off x="6032129" y="1482096"/>
              <a:ext cx="4507692" cy="800219"/>
              <a:chOff x="6557475" y="1411926"/>
              <a:chExt cx="4507692" cy="800219"/>
            </a:xfrm>
          </p:grpSpPr>
          <p:sp>
            <p:nvSpPr>
              <p:cNvPr id="72" name="TextBox 15">
                <a:extLst>
                  <a:ext uri="{FF2B5EF4-FFF2-40B4-BE49-F238E27FC236}">
                    <a16:creationId xmlns:a16="http://schemas.microsoft.com/office/drawing/2014/main" id="{D6CBD337-2D0D-6972-07E6-AD68EEC9660A}"/>
                  </a:ext>
                </a:extLst>
              </p:cNvPr>
              <p:cNvSpPr txBox="1"/>
              <p:nvPr/>
            </p:nvSpPr>
            <p:spPr>
              <a:xfrm>
                <a:off x="6557475" y="1750480"/>
                <a:ext cx="450769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377" eaLnBrk="1" fontAlgn="auto" latinLnBrk="0" hangingPunct="1">
                  <a:lnSpc>
                    <a:spcPct val="100000"/>
                  </a:lnSpc>
                  <a:spcBef>
                    <a:spcPct val="0"/>
                  </a:spcBef>
                  <a:spcAft>
                    <a:spcPct val="0"/>
                  </a:spcAft>
                  <a:buClrTx/>
                  <a:buSzTx/>
                  <a:buFontTx/>
                  <a:buNone/>
                  <a:defRPr/>
                </a:pPr>
                <a:r>
                  <a:rPr kumimoji="0" lang="en-US" altLang="ko-KR" sz="1200" b="0" i="0" u="none" strike="noStrike" kern="0" cap="none" spc="0" normalizeH="0" baseline="0" noProof="0">
                    <a:ln>
                      <a:noFill/>
                    </a:ln>
                    <a:solidFill>
                      <a:prstClr val="black">
                        <a:lumMod val="85000"/>
                        <a:lumOff val="15000"/>
                      </a:prstClr>
                    </a:solidFill>
                    <a:effectLst/>
                    <a:uLnTx/>
                    <a:uFillTx/>
                    <a:latin typeface="Arial"/>
                  </a:rPr>
                  <a:t>Get a modern PowerPoint  Presentation that is beautifully designed. </a:t>
                </a:r>
                <a:r>
                  <a:rPr kumimoji="0" lang="en-US" altLang="ko-KR" sz="1200" b="0" i="0" u="none" strike="noStrike" kern="0" cap="none" spc="0" normalizeH="0" baseline="0" noProof="0">
                    <a:ln>
                      <a:noFill/>
                    </a:ln>
                    <a:solidFill>
                      <a:prstClr val="black">
                        <a:lumMod val="85000"/>
                        <a:lumOff val="15000"/>
                      </a:prstClr>
                    </a:solidFill>
                    <a:effectLst/>
                    <a:uLnTx/>
                    <a:uFillTx/>
                    <a:latin typeface="Arial"/>
                    <a:ea typeface="FZShuTi" pitchFamily="2" charset="-122"/>
                  </a:rPr>
                  <a:t>I hope and I believe that this Template will your Time.</a:t>
                </a:r>
                <a:endParaRPr kumimoji="0" lang="en-US" altLang="ko-KR" sz="1200" b="0" i="0" u="none" strike="noStrike" kern="0" cap="none" spc="0" normalizeH="0" baseline="0" noProof="0">
                  <a:ln>
                    <a:noFill/>
                  </a:ln>
                  <a:solidFill>
                    <a:prstClr val="black">
                      <a:lumMod val="85000"/>
                      <a:lumOff val="15000"/>
                    </a:prstClr>
                  </a:solidFill>
                  <a:effectLst/>
                  <a:uLnTx/>
                  <a:uFillTx/>
                  <a:latin typeface="Arial"/>
                </a:endParaRPr>
              </a:p>
            </p:txBody>
          </p:sp>
          <p:sp>
            <p:nvSpPr>
              <p:cNvPr id="73" name="TextBox 16">
                <a:extLst>
                  <a:ext uri="{FF2B5EF4-FFF2-40B4-BE49-F238E27FC236}">
                    <a16:creationId xmlns:a16="http://schemas.microsoft.com/office/drawing/2014/main" id="{4A9D874F-0168-BC28-0CA9-B6FD953733DF}"/>
                  </a:ext>
                </a:extLst>
              </p:cNvPr>
              <p:cNvSpPr txBox="1"/>
              <p:nvPr/>
            </p:nvSpPr>
            <p:spPr>
              <a:xfrm>
                <a:off x="6557475" y="1411926"/>
                <a:ext cx="4507692" cy="369332"/>
              </a:xfrm>
              <a:prstGeom prst="rect">
                <a:avLst/>
              </a:prstGeom>
              <a:noFill/>
            </p:spPr>
            <p:txBody>
              <a:bodyPr wrap="square" lIns="108000" rIns="10800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377" eaLnBrk="1" fontAlgn="auto" latinLnBrk="0" hangingPunct="1">
                  <a:lnSpc>
                    <a:spcPct val="100000"/>
                  </a:lnSpc>
                  <a:spcBef>
                    <a:spcPct val="0"/>
                  </a:spcBef>
                  <a:spcAft>
                    <a:spcPct val="0"/>
                  </a:spcAft>
                  <a:buClrTx/>
                  <a:buSzTx/>
                  <a:buFontTx/>
                  <a:buNone/>
                  <a:defRPr/>
                </a:pPr>
                <a:r>
                  <a:rPr kumimoji="0" lang="en-US" altLang="ko-KR" sz="1800" b="1" i="0" u="none" strike="noStrike" kern="0" cap="none" spc="0" normalizeH="0" baseline="0" noProof="0">
                    <a:ln>
                      <a:noFill/>
                    </a:ln>
                    <a:solidFill>
                      <a:prstClr val="black">
                        <a:lumMod val="85000"/>
                        <a:lumOff val="15000"/>
                      </a:prstClr>
                    </a:solidFill>
                    <a:effectLst/>
                    <a:uLnTx/>
                    <a:uFillTx/>
                    <a:latin typeface="Arial"/>
                  </a:rPr>
                  <a:t>Contents</a:t>
                </a:r>
                <a:endParaRPr kumimoji="0" lang="ko-KR" altLang="en-US" sz="1800" b="1" i="0" u="none" strike="noStrike" kern="0" cap="none" spc="0" normalizeH="0" baseline="0" noProof="0">
                  <a:ln>
                    <a:noFill/>
                  </a:ln>
                  <a:solidFill>
                    <a:prstClr val="black">
                      <a:lumMod val="85000"/>
                      <a:lumOff val="15000"/>
                    </a:prstClr>
                  </a:solidFill>
                  <a:effectLst/>
                  <a:uLnTx/>
                  <a:uFillTx/>
                  <a:latin typeface="Arial"/>
                </a:endParaRPr>
              </a:p>
            </p:txBody>
          </p:sp>
        </p:grpSp>
        <p:grpSp>
          <p:nvGrpSpPr>
            <p:cNvPr id="69" name="Group 12">
              <a:extLst>
                <a:ext uri="{FF2B5EF4-FFF2-40B4-BE49-F238E27FC236}">
                  <a16:creationId xmlns:a16="http://schemas.microsoft.com/office/drawing/2014/main" id="{BE09D2AE-0540-F7EF-BCB7-65702360591E}"/>
                </a:ext>
              </a:extLst>
            </p:cNvPr>
            <p:cNvGrpSpPr/>
            <p:nvPr/>
          </p:nvGrpSpPr>
          <p:grpSpPr>
            <a:xfrm>
              <a:off x="4745820" y="1491808"/>
              <a:ext cx="958096" cy="780795"/>
              <a:chOff x="5324331" y="1449052"/>
              <a:chExt cx="958096" cy="780795"/>
            </a:xfrm>
          </p:grpSpPr>
          <p:sp>
            <p:nvSpPr>
              <p:cNvPr id="70" name="Oval 13">
                <a:extLst>
                  <a:ext uri="{FF2B5EF4-FFF2-40B4-BE49-F238E27FC236}">
                    <a16:creationId xmlns:a16="http://schemas.microsoft.com/office/drawing/2014/main" id="{447AE853-9BE5-8139-323A-C0B5A5AEFE3A}"/>
                  </a:ext>
                </a:extLst>
              </p:cNvPr>
              <p:cNvSpPr/>
              <p:nvPr/>
            </p:nvSpPr>
            <p:spPr>
              <a:xfrm>
                <a:off x="5412981" y="1449052"/>
                <a:ext cx="780795" cy="780795"/>
              </a:xfrm>
              <a:prstGeom prst="ellipse">
                <a:avLst/>
              </a:prstGeom>
              <a:solidFill>
                <a:srgbClr val="00677F"/>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black">
                      <a:lumMod val="85000"/>
                      <a:lumOff val="15000"/>
                    </a:prstClr>
                  </a:solidFill>
                  <a:effectLst/>
                  <a:uLnTx/>
                  <a:uFillTx/>
                  <a:latin typeface="Arial"/>
                  <a:cs typeface="+mn-cs"/>
                </a:endParaRPr>
              </a:p>
            </p:txBody>
          </p:sp>
          <p:sp>
            <p:nvSpPr>
              <p:cNvPr id="71" name="TextBox 14">
                <a:extLst>
                  <a:ext uri="{FF2B5EF4-FFF2-40B4-BE49-F238E27FC236}">
                    <a16:creationId xmlns:a16="http://schemas.microsoft.com/office/drawing/2014/main" id="{C742559A-6E37-911D-48AF-0F0339A17636}"/>
                  </a:ext>
                </a:extLst>
              </p:cNvPr>
              <p:cNvSpPr txBox="1"/>
              <p:nvPr/>
            </p:nvSpPr>
            <p:spPr>
              <a:xfrm>
                <a:off x="5324331" y="1516285"/>
                <a:ext cx="958096" cy="646331"/>
              </a:xfrm>
              <a:prstGeom prst="rect">
                <a:avLst/>
              </a:prstGeom>
              <a:noFill/>
            </p:spPr>
            <p:txBody>
              <a:bodyPr wrap="square" lIns="108000" rIns="10800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eaLnBrk="1" fontAlgn="auto" latinLnBrk="0" hangingPunct="1">
                  <a:lnSpc>
                    <a:spcPct val="100000"/>
                  </a:lnSpc>
                  <a:spcBef>
                    <a:spcPct val="0"/>
                  </a:spcBef>
                  <a:spcAft>
                    <a:spcPct val="0"/>
                  </a:spcAft>
                  <a:buClrTx/>
                  <a:buSzTx/>
                  <a:buFontTx/>
                  <a:buNone/>
                  <a:defRPr/>
                </a:pPr>
                <a:r>
                  <a:rPr kumimoji="0" lang="en-US" altLang="ko-KR" sz="3600" b="1" i="0" u="none" strike="noStrike" kern="0" cap="none" spc="0" normalizeH="0" baseline="0" noProof="0">
                    <a:ln>
                      <a:noFill/>
                    </a:ln>
                    <a:solidFill>
                      <a:prstClr val="white"/>
                    </a:solidFill>
                    <a:effectLst/>
                    <a:uLnTx/>
                    <a:uFillTx/>
                    <a:latin typeface="Arial"/>
                  </a:rPr>
                  <a:t>02</a:t>
                </a:r>
                <a:endParaRPr kumimoji="0" lang="ko-KR" altLang="en-US" sz="3600" b="1" i="0" u="none" strike="noStrike" kern="0" cap="none" spc="0" normalizeH="0" baseline="0" noProof="0">
                  <a:ln>
                    <a:noFill/>
                  </a:ln>
                  <a:solidFill>
                    <a:prstClr val="white"/>
                  </a:solidFill>
                  <a:effectLst/>
                  <a:uLnTx/>
                  <a:uFillTx/>
                  <a:latin typeface="Arial"/>
                </a:endParaRPr>
              </a:p>
            </p:txBody>
          </p:sp>
        </p:grpSp>
      </p:grpSp>
      <p:grpSp>
        <p:nvGrpSpPr>
          <p:cNvPr id="45" name="Group 17">
            <a:extLst>
              <a:ext uri="{FF2B5EF4-FFF2-40B4-BE49-F238E27FC236}">
                <a16:creationId xmlns:a16="http://schemas.microsoft.com/office/drawing/2014/main" id="{4F0E4474-6D07-1903-D683-5634A37CD217}"/>
              </a:ext>
            </a:extLst>
          </p:cNvPr>
          <p:cNvGrpSpPr/>
          <p:nvPr/>
        </p:nvGrpSpPr>
        <p:grpSpPr>
          <a:xfrm>
            <a:off x="5544204" y="3290438"/>
            <a:ext cx="5794001" cy="800219"/>
            <a:chOff x="4745820" y="1482096"/>
            <a:chExt cx="5794001" cy="800219"/>
          </a:xfrm>
        </p:grpSpPr>
        <p:grpSp>
          <p:nvGrpSpPr>
            <p:cNvPr id="62" name="Group 18">
              <a:extLst>
                <a:ext uri="{FF2B5EF4-FFF2-40B4-BE49-F238E27FC236}">
                  <a16:creationId xmlns:a16="http://schemas.microsoft.com/office/drawing/2014/main" id="{62A66EC7-CA83-13AE-8D8A-BE2E0CCA594B}"/>
                </a:ext>
              </a:extLst>
            </p:cNvPr>
            <p:cNvGrpSpPr/>
            <p:nvPr/>
          </p:nvGrpSpPr>
          <p:grpSpPr>
            <a:xfrm>
              <a:off x="6032129" y="1482096"/>
              <a:ext cx="4507692" cy="800219"/>
              <a:chOff x="6557475" y="1411926"/>
              <a:chExt cx="4507692" cy="800219"/>
            </a:xfrm>
          </p:grpSpPr>
          <p:sp>
            <p:nvSpPr>
              <p:cNvPr id="66" name="TextBox 22">
                <a:extLst>
                  <a:ext uri="{FF2B5EF4-FFF2-40B4-BE49-F238E27FC236}">
                    <a16:creationId xmlns:a16="http://schemas.microsoft.com/office/drawing/2014/main" id="{440D3CCA-E1A4-A223-EF91-B43FB40F35BF}"/>
                  </a:ext>
                </a:extLst>
              </p:cNvPr>
              <p:cNvSpPr txBox="1"/>
              <p:nvPr/>
            </p:nvSpPr>
            <p:spPr>
              <a:xfrm>
                <a:off x="6557475" y="1750480"/>
                <a:ext cx="450769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377" eaLnBrk="1" fontAlgn="auto" latinLnBrk="0" hangingPunct="1">
                  <a:lnSpc>
                    <a:spcPct val="100000"/>
                  </a:lnSpc>
                  <a:spcBef>
                    <a:spcPct val="0"/>
                  </a:spcBef>
                  <a:spcAft>
                    <a:spcPct val="0"/>
                  </a:spcAft>
                  <a:buClrTx/>
                  <a:buSzTx/>
                  <a:buFontTx/>
                  <a:buNone/>
                  <a:defRPr/>
                </a:pPr>
                <a:r>
                  <a:rPr kumimoji="0" lang="en-US" altLang="ko-KR" sz="1200" b="0" i="0" u="none" strike="noStrike" kern="0" cap="none" spc="0" normalizeH="0" baseline="0" noProof="0">
                    <a:ln>
                      <a:noFill/>
                    </a:ln>
                    <a:solidFill>
                      <a:prstClr val="black">
                        <a:lumMod val="85000"/>
                        <a:lumOff val="15000"/>
                      </a:prstClr>
                    </a:solidFill>
                    <a:effectLst/>
                    <a:uLnTx/>
                    <a:uFillTx/>
                    <a:latin typeface="Arial"/>
                  </a:rPr>
                  <a:t>Get a modern PowerPoint  Presentation that is beautifully designed. </a:t>
                </a:r>
                <a:r>
                  <a:rPr kumimoji="0" lang="en-US" altLang="ko-KR" sz="1200" b="0" i="0" u="none" strike="noStrike" kern="0" cap="none" spc="0" normalizeH="0" baseline="0" noProof="0">
                    <a:ln>
                      <a:noFill/>
                    </a:ln>
                    <a:solidFill>
                      <a:prstClr val="black">
                        <a:lumMod val="85000"/>
                        <a:lumOff val="15000"/>
                      </a:prstClr>
                    </a:solidFill>
                    <a:effectLst/>
                    <a:uLnTx/>
                    <a:uFillTx/>
                    <a:latin typeface="Arial"/>
                    <a:ea typeface="FZShuTi" pitchFamily="2" charset="-122"/>
                  </a:rPr>
                  <a:t>I hope and I believe that this Template will your Time.</a:t>
                </a:r>
                <a:endParaRPr kumimoji="0" lang="en-US" altLang="ko-KR" sz="1200" b="0" i="0" u="none" strike="noStrike" kern="0" cap="none" spc="0" normalizeH="0" baseline="0" noProof="0">
                  <a:ln>
                    <a:noFill/>
                  </a:ln>
                  <a:solidFill>
                    <a:prstClr val="black">
                      <a:lumMod val="85000"/>
                      <a:lumOff val="15000"/>
                    </a:prstClr>
                  </a:solidFill>
                  <a:effectLst/>
                  <a:uLnTx/>
                  <a:uFillTx/>
                  <a:latin typeface="Arial"/>
                </a:endParaRPr>
              </a:p>
            </p:txBody>
          </p:sp>
          <p:sp>
            <p:nvSpPr>
              <p:cNvPr id="67" name="TextBox 23">
                <a:extLst>
                  <a:ext uri="{FF2B5EF4-FFF2-40B4-BE49-F238E27FC236}">
                    <a16:creationId xmlns:a16="http://schemas.microsoft.com/office/drawing/2014/main" id="{8E526305-2423-0590-DDF7-E19AF4D865A1}"/>
                  </a:ext>
                </a:extLst>
              </p:cNvPr>
              <p:cNvSpPr txBox="1"/>
              <p:nvPr/>
            </p:nvSpPr>
            <p:spPr>
              <a:xfrm>
                <a:off x="6557475" y="1411926"/>
                <a:ext cx="4507692" cy="369332"/>
              </a:xfrm>
              <a:prstGeom prst="rect">
                <a:avLst/>
              </a:prstGeom>
              <a:noFill/>
            </p:spPr>
            <p:txBody>
              <a:bodyPr wrap="square" lIns="108000" rIns="10800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377" eaLnBrk="1" fontAlgn="auto" latinLnBrk="0" hangingPunct="1">
                  <a:lnSpc>
                    <a:spcPct val="100000"/>
                  </a:lnSpc>
                  <a:spcBef>
                    <a:spcPct val="0"/>
                  </a:spcBef>
                  <a:spcAft>
                    <a:spcPct val="0"/>
                  </a:spcAft>
                  <a:buClrTx/>
                  <a:buSzTx/>
                  <a:buFontTx/>
                  <a:buNone/>
                  <a:defRPr/>
                </a:pPr>
                <a:r>
                  <a:rPr kumimoji="0" lang="en-US" altLang="ko-KR" sz="1800" b="1" i="0" u="none" strike="noStrike" kern="0" cap="none" spc="0" normalizeH="0" baseline="0" noProof="0">
                    <a:ln>
                      <a:noFill/>
                    </a:ln>
                    <a:solidFill>
                      <a:prstClr val="black">
                        <a:lumMod val="85000"/>
                        <a:lumOff val="15000"/>
                      </a:prstClr>
                    </a:solidFill>
                    <a:effectLst/>
                    <a:uLnTx/>
                    <a:uFillTx/>
                    <a:latin typeface="Arial"/>
                  </a:rPr>
                  <a:t>Contents</a:t>
                </a:r>
                <a:endParaRPr kumimoji="0" lang="ko-KR" altLang="en-US" sz="1800" b="1" i="0" u="none" strike="noStrike" kern="0" cap="none" spc="0" normalizeH="0" baseline="0" noProof="0">
                  <a:ln>
                    <a:noFill/>
                  </a:ln>
                  <a:solidFill>
                    <a:prstClr val="black">
                      <a:lumMod val="85000"/>
                      <a:lumOff val="15000"/>
                    </a:prstClr>
                  </a:solidFill>
                  <a:effectLst/>
                  <a:uLnTx/>
                  <a:uFillTx/>
                  <a:latin typeface="Arial"/>
                </a:endParaRPr>
              </a:p>
            </p:txBody>
          </p:sp>
        </p:grpSp>
        <p:grpSp>
          <p:nvGrpSpPr>
            <p:cNvPr id="63" name="Group 19">
              <a:extLst>
                <a:ext uri="{FF2B5EF4-FFF2-40B4-BE49-F238E27FC236}">
                  <a16:creationId xmlns:a16="http://schemas.microsoft.com/office/drawing/2014/main" id="{234531FF-935B-370A-9415-589395595B94}"/>
                </a:ext>
              </a:extLst>
            </p:cNvPr>
            <p:cNvGrpSpPr/>
            <p:nvPr/>
          </p:nvGrpSpPr>
          <p:grpSpPr>
            <a:xfrm>
              <a:off x="4745820" y="1491808"/>
              <a:ext cx="958096" cy="780795"/>
              <a:chOff x="5324331" y="1449052"/>
              <a:chExt cx="958096" cy="780795"/>
            </a:xfrm>
          </p:grpSpPr>
          <p:sp>
            <p:nvSpPr>
              <p:cNvPr id="64" name="Oval 20">
                <a:extLst>
                  <a:ext uri="{FF2B5EF4-FFF2-40B4-BE49-F238E27FC236}">
                    <a16:creationId xmlns:a16="http://schemas.microsoft.com/office/drawing/2014/main" id="{05C7A02C-4618-49C1-55D4-1188A1604251}"/>
                  </a:ext>
                </a:extLst>
              </p:cNvPr>
              <p:cNvSpPr/>
              <p:nvPr/>
            </p:nvSpPr>
            <p:spPr>
              <a:xfrm>
                <a:off x="5412981" y="1449052"/>
                <a:ext cx="780795" cy="780795"/>
              </a:xfrm>
              <a:prstGeom prst="ellipse">
                <a:avLst/>
              </a:prstGeom>
              <a:solidFill>
                <a:srgbClr val="02BAC8"/>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black">
                      <a:lumMod val="85000"/>
                      <a:lumOff val="15000"/>
                    </a:prstClr>
                  </a:solidFill>
                  <a:effectLst/>
                  <a:uLnTx/>
                  <a:uFillTx/>
                  <a:latin typeface="Arial"/>
                  <a:cs typeface="+mn-cs"/>
                </a:endParaRPr>
              </a:p>
            </p:txBody>
          </p:sp>
          <p:sp>
            <p:nvSpPr>
              <p:cNvPr id="65" name="TextBox 21">
                <a:extLst>
                  <a:ext uri="{FF2B5EF4-FFF2-40B4-BE49-F238E27FC236}">
                    <a16:creationId xmlns:a16="http://schemas.microsoft.com/office/drawing/2014/main" id="{D95218E2-E970-362D-F0B1-4DF432FAA1B2}"/>
                  </a:ext>
                </a:extLst>
              </p:cNvPr>
              <p:cNvSpPr txBox="1"/>
              <p:nvPr/>
            </p:nvSpPr>
            <p:spPr>
              <a:xfrm>
                <a:off x="5324331" y="1516285"/>
                <a:ext cx="958096" cy="646331"/>
              </a:xfrm>
              <a:prstGeom prst="rect">
                <a:avLst/>
              </a:prstGeom>
              <a:noFill/>
            </p:spPr>
            <p:txBody>
              <a:bodyPr wrap="square" lIns="108000" rIns="10800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eaLnBrk="1" fontAlgn="auto" latinLnBrk="0" hangingPunct="1">
                  <a:lnSpc>
                    <a:spcPct val="100000"/>
                  </a:lnSpc>
                  <a:spcBef>
                    <a:spcPct val="0"/>
                  </a:spcBef>
                  <a:spcAft>
                    <a:spcPct val="0"/>
                  </a:spcAft>
                  <a:buClrTx/>
                  <a:buSzTx/>
                  <a:buFontTx/>
                  <a:buNone/>
                  <a:defRPr/>
                </a:pPr>
                <a:r>
                  <a:rPr kumimoji="0" lang="en-US" altLang="ko-KR" sz="3600" b="1" i="0" u="none" strike="noStrike" kern="0" cap="none" spc="0" normalizeH="0" baseline="0" noProof="0">
                    <a:ln>
                      <a:noFill/>
                    </a:ln>
                    <a:solidFill>
                      <a:prstClr val="white"/>
                    </a:solidFill>
                    <a:effectLst/>
                    <a:uLnTx/>
                    <a:uFillTx/>
                    <a:latin typeface="Arial"/>
                  </a:rPr>
                  <a:t>03</a:t>
                </a:r>
                <a:endParaRPr kumimoji="0" lang="ko-KR" altLang="en-US" sz="3600" b="1" i="0" u="none" strike="noStrike" kern="0" cap="none" spc="0" normalizeH="0" baseline="0" noProof="0">
                  <a:ln>
                    <a:noFill/>
                  </a:ln>
                  <a:solidFill>
                    <a:prstClr val="white"/>
                  </a:solidFill>
                  <a:effectLst/>
                  <a:uLnTx/>
                  <a:uFillTx/>
                  <a:latin typeface="Arial"/>
                </a:endParaRPr>
              </a:p>
            </p:txBody>
          </p:sp>
        </p:grpSp>
      </p:grpSp>
      <p:grpSp>
        <p:nvGrpSpPr>
          <p:cNvPr id="46" name="Group 24">
            <a:extLst>
              <a:ext uri="{FF2B5EF4-FFF2-40B4-BE49-F238E27FC236}">
                <a16:creationId xmlns:a16="http://schemas.microsoft.com/office/drawing/2014/main" id="{985FF809-D7F1-9BB0-D22B-08C090B90B0C}"/>
              </a:ext>
            </a:extLst>
          </p:cNvPr>
          <p:cNvGrpSpPr/>
          <p:nvPr/>
        </p:nvGrpSpPr>
        <p:grpSpPr>
          <a:xfrm>
            <a:off x="5352818" y="4403438"/>
            <a:ext cx="5794001" cy="800219"/>
            <a:chOff x="4745820" y="1482096"/>
            <a:chExt cx="5794001" cy="800219"/>
          </a:xfrm>
        </p:grpSpPr>
        <p:grpSp>
          <p:nvGrpSpPr>
            <p:cNvPr id="56" name="Group 25">
              <a:extLst>
                <a:ext uri="{FF2B5EF4-FFF2-40B4-BE49-F238E27FC236}">
                  <a16:creationId xmlns:a16="http://schemas.microsoft.com/office/drawing/2014/main" id="{E3C094F2-09B2-A220-968B-957A7E41B7C9}"/>
                </a:ext>
              </a:extLst>
            </p:cNvPr>
            <p:cNvGrpSpPr/>
            <p:nvPr/>
          </p:nvGrpSpPr>
          <p:grpSpPr>
            <a:xfrm>
              <a:off x="6032129" y="1482096"/>
              <a:ext cx="4507692" cy="800219"/>
              <a:chOff x="6557475" y="1411926"/>
              <a:chExt cx="4507692" cy="800219"/>
            </a:xfrm>
          </p:grpSpPr>
          <p:sp>
            <p:nvSpPr>
              <p:cNvPr id="60" name="TextBox 29">
                <a:extLst>
                  <a:ext uri="{FF2B5EF4-FFF2-40B4-BE49-F238E27FC236}">
                    <a16:creationId xmlns:a16="http://schemas.microsoft.com/office/drawing/2014/main" id="{F208B617-32E9-E8EB-A7F7-386A59093603}"/>
                  </a:ext>
                </a:extLst>
              </p:cNvPr>
              <p:cNvSpPr txBox="1"/>
              <p:nvPr/>
            </p:nvSpPr>
            <p:spPr>
              <a:xfrm>
                <a:off x="6557475" y="1750480"/>
                <a:ext cx="450769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377" eaLnBrk="1" fontAlgn="auto" latinLnBrk="0" hangingPunct="1">
                  <a:lnSpc>
                    <a:spcPct val="100000"/>
                  </a:lnSpc>
                  <a:spcBef>
                    <a:spcPct val="0"/>
                  </a:spcBef>
                  <a:spcAft>
                    <a:spcPct val="0"/>
                  </a:spcAft>
                  <a:buClrTx/>
                  <a:buSzTx/>
                  <a:buFontTx/>
                  <a:buNone/>
                  <a:defRPr/>
                </a:pPr>
                <a:r>
                  <a:rPr kumimoji="0" lang="en-US" altLang="ko-KR" sz="1200" b="0" i="0" u="none" strike="noStrike" kern="0" cap="none" spc="0" normalizeH="0" baseline="0" noProof="0">
                    <a:ln>
                      <a:noFill/>
                    </a:ln>
                    <a:solidFill>
                      <a:prstClr val="black">
                        <a:lumMod val="85000"/>
                        <a:lumOff val="15000"/>
                      </a:prstClr>
                    </a:solidFill>
                    <a:effectLst/>
                    <a:uLnTx/>
                    <a:uFillTx/>
                    <a:latin typeface="Arial"/>
                  </a:rPr>
                  <a:t>Get a modern PowerPoint  Presentation that is beautifully designed. </a:t>
                </a:r>
                <a:r>
                  <a:rPr kumimoji="0" lang="en-US" altLang="ko-KR" sz="1200" b="0" i="0" u="none" strike="noStrike" kern="0" cap="none" spc="0" normalizeH="0" baseline="0" noProof="0">
                    <a:ln>
                      <a:noFill/>
                    </a:ln>
                    <a:solidFill>
                      <a:prstClr val="black">
                        <a:lumMod val="85000"/>
                        <a:lumOff val="15000"/>
                      </a:prstClr>
                    </a:solidFill>
                    <a:effectLst/>
                    <a:uLnTx/>
                    <a:uFillTx/>
                    <a:latin typeface="Arial"/>
                    <a:ea typeface="FZShuTi" pitchFamily="2" charset="-122"/>
                  </a:rPr>
                  <a:t>I hope and I believe that this Template will your Time.</a:t>
                </a:r>
                <a:endParaRPr kumimoji="0" lang="en-US" altLang="ko-KR" sz="1200" b="0" i="0" u="none" strike="noStrike" kern="0" cap="none" spc="0" normalizeH="0" baseline="0" noProof="0">
                  <a:ln>
                    <a:noFill/>
                  </a:ln>
                  <a:solidFill>
                    <a:prstClr val="black">
                      <a:lumMod val="85000"/>
                      <a:lumOff val="15000"/>
                    </a:prstClr>
                  </a:solidFill>
                  <a:effectLst/>
                  <a:uLnTx/>
                  <a:uFillTx/>
                  <a:latin typeface="Arial"/>
                </a:endParaRPr>
              </a:p>
            </p:txBody>
          </p:sp>
          <p:sp>
            <p:nvSpPr>
              <p:cNvPr id="61" name="TextBox 30">
                <a:extLst>
                  <a:ext uri="{FF2B5EF4-FFF2-40B4-BE49-F238E27FC236}">
                    <a16:creationId xmlns:a16="http://schemas.microsoft.com/office/drawing/2014/main" id="{5E04896A-8D62-CAC2-8B90-04E707F857CA}"/>
                  </a:ext>
                </a:extLst>
              </p:cNvPr>
              <p:cNvSpPr txBox="1"/>
              <p:nvPr/>
            </p:nvSpPr>
            <p:spPr>
              <a:xfrm>
                <a:off x="6557475" y="1411926"/>
                <a:ext cx="4507692" cy="369332"/>
              </a:xfrm>
              <a:prstGeom prst="rect">
                <a:avLst/>
              </a:prstGeom>
              <a:noFill/>
            </p:spPr>
            <p:txBody>
              <a:bodyPr wrap="square" lIns="108000" rIns="10800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377" eaLnBrk="1" fontAlgn="auto" latinLnBrk="0" hangingPunct="1">
                  <a:lnSpc>
                    <a:spcPct val="100000"/>
                  </a:lnSpc>
                  <a:spcBef>
                    <a:spcPct val="0"/>
                  </a:spcBef>
                  <a:spcAft>
                    <a:spcPct val="0"/>
                  </a:spcAft>
                  <a:buClrTx/>
                  <a:buSzTx/>
                  <a:buFontTx/>
                  <a:buNone/>
                  <a:defRPr/>
                </a:pPr>
                <a:r>
                  <a:rPr kumimoji="0" lang="en-US" altLang="ko-KR" sz="1800" b="1" i="0" u="none" strike="noStrike" kern="0" cap="none" spc="0" normalizeH="0" baseline="0" noProof="0">
                    <a:ln>
                      <a:noFill/>
                    </a:ln>
                    <a:solidFill>
                      <a:prstClr val="black">
                        <a:lumMod val="85000"/>
                        <a:lumOff val="15000"/>
                      </a:prstClr>
                    </a:solidFill>
                    <a:effectLst/>
                    <a:uLnTx/>
                    <a:uFillTx/>
                    <a:latin typeface="Arial"/>
                  </a:rPr>
                  <a:t>Contents</a:t>
                </a:r>
                <a:endParaRPr kumimoji="0" lang="ko-KR" altLang="en-US" sz="1800" b="1" i="0" u="none" strike="noStrike" kern="0" cap="none" spc="0" normalizeH="0" baseline="0" noProof="0">
                  <a:ln>
                    <a:noFill/>
                  </a:ln>
                  <a:solidFill>
                    <a:prstClr val="black">
                      <a:lumMod val="85000"/>
                      <a:lumOff val="15000"/>
                    </a:prstClr>
                  </a:solidFill>
                  <a:effectLst/>
                  <a:uLnTx/>
                  <a:uFillTx/>
                  <a:latin typeface="Arial"/>
                </a:endParaRPr>
              </a:p>
            </p:txBody>
          </p:sp>
        </p:grpSp>
        <p:grpSp>
          <p:nvGrpSpPr>
            <p:cNvPr id="57" name="Group 26">
              <a:extLst>
                <a:ext uri="{FF2B5EF4-FFF2-40B4-BE49-F238E27FC236}">
                  <a16:creationId xmlns:a16="http://schemas.microsoft.com/office/drawing/2014/main" id="{9F269EDF-4AA6-BB20-4326-B8026546A97C}"/>
                </a:ext>
              </a:extLst>
            </p:cNvPr>
            <p:cNvGrpSpPr/>
            <p:nvPr/>
          </p:nvGrpSpPr>
          <p:grpSpPr>
            <a:xfrm>
              <a:off x="4745820" y="1491808"/>
              <a:ext cx="958096" cy="780795"/>
              <a:chOff x="5324331" y="1449052"/>
              <a:chExt cx="958096" cy="780795"/>
            </a:xfrm>
          </p:grpSpPr>
          <p:sp>
            <p:nvSpPr>
              <p:cNvPr id="58" name="Oval 27">
                <a:extLst>
                  <a:ext uri="{FF2B5EF4-FFF2-40B4-BE49-F238E27FC236}">
                    <a16:creationId xmlns:a16="http://schemas.microsoft.com/office/drawing/2014/main" id="{B4D0CD2D-C153-3774-794C-7E62B9E21B07}"/>
                  </a:ext>
                </a:extLst>
              </p:cNvPr>
              <p:cNvSpPr/>
              <p:nvPr/>
            </p:nvSpPr>
            <p:spPr>
              <a:xfrm>
                <a:off x="5412981" y="1449052"/>
                <a:ext cx="780795" cy="780795"/>
              </a:xfrm>
              <a:prstGeom prst="ellipse">
                <a:avLst/>
              </a:prstGeom>
              <a:solidFill>
                <a:srgbClr val="00677F"/>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black">
                      <a:lumMod val="85000"/>
                      <a:lumOff val="15000"/>
                    </a:prstClr>
                  </a:solidFill>
                  <a:effectLst/>
                  <a:uLnTx/>
                  <a:uFillTx/>
                  <a:latin typeface="Arial"/>
                  <a:cs typeface="+mn-cs"/>
                </a:endParaRPr>
              </a:p>
            </p:txBody>
          </p:sp>
          <p:sp>
            <p:nvSpPr>
              <p:cNvPr id="59" name="TextBox 28">
                <a:extLst>
                  <a:ext uri="{FF2B5EF4-FFF2-40B4-BE49-F238E27FC236}">
                    <a16:creationId xmlns:a16="http://schemas.microsoft.com/office/drawing/2014/main" id="{E489126C-C876-0F43-B13D-1C196B0C9257}"/>
                  </a:ext>
                </a:extLst>
              </p:cNvPr>
              <p:cNvSpPr txBox="1"/>
              <p:nvPr/>
            </p:nvSpPr>
            <p:spPr>
              <a:xfrm>
                <a:off x="5324331" y="1516285"/>
                <a:ext cx="958096" cy="646331"/>
              </a:xfrm>
              <a:prstGeom prst="rect">
                <a:avLst/>
              </a:prstGeom>
              <a:noFill/>
            </p:spPr>
            <p:txBody>
              <a:bodyPr wrap="square" lIns="108000" rIns="10800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eaLnBrk="1" fontAlgn="auto" latinLnBrk="0" hangingPunct="1">
                  <a:lnSpc>
                    <a:spcPct val="100000"/>
                  </a:lnSpc>
                  <a:spcBef>
                    <a:spcPct val="0"/>
                  </a:spcBef>
                  <a:spcAft>
                    <a:spcPct val="0"/>
                  </a:spcAft>
                  <a:buClrTx/>
                  <a:buSzTx/>
                  <a:buFontTx/>
                  <a:buNone/>
                  <a:defRPr/>
                </a:pPr>
                <a:r>
                  <a:rPr kumimoji="0" lang="en-US" altLang="ko-KR" sz="3600" b="1" i="0" u="none" strike="noStrike" kern="0" cap="none" spc="0" normalizeH="0" baseline="0" noProof="0">
                    <a:ln>
                      <a:noFill/>
                    </a:ln>
                    <a:solidFill>
                      <a:prstClr val="white"/>
                    </a:solidFill>
                    <a:effectLst/>
                    <a:uLnTx/>
                    <a:uFillTx/>
                    <a:latin typeface="Arial"/>
                  </a:rPr>
                  <a:t>04</a:t>
                </a:r>
                <a:endParaRPr kumimoji="0" lang="ko-KR" altLang="en-US" sz="3600" b="1" i="0" u="none" strike="noStrike" kern="0" cap="none" spc="0" normalizeH="0" baseline="0" noProof="0">
                  <a:ln>
                    <a:noFill/>
                  </a:ln>
                  <a:solidFill>
                    <a:prstClr val="white"/>
                  </a:solidFill>
                  <a:effectLst/>
                  <a:uLnTx/>
                  <a:uFillTx/>
                  <a:latin typeface="Arial"/>
                </a:endParaRPr>
              </a:p>
            </p:txBody>
          </p:sp>
        </p:grpSp>
      </p:grpSp>
      <p:grpSp>
        <p:nvGrpSpPr>
          <p:cNvPr id="47" name="Group 34">
            <a:extLst>
              <a:ext uri="{FF2B5EF4-FFF2-40B4-BE49-F238E27FC236}">
                <a16:creationId xmlns:a16="http://schemas.microsoft.com/office/drawing/2014/main" id="{61E4F91F-6DC4-238A-F3CA-16FB4F2296C1}"/>
              </a:ext>
            </a:extLst>
          </p:cNvPr>
          <p:cNvGrpSpPr/>
          <p:nvPr/>
        </p:nvGrpSpPr>
        <p:grpSpPr>
          <a:xfrm>
            <a:off x="4916878" y="5516438"/>
            <a:ext cx="5794001" cy="800219"/>
            <a:chOff x="4745820" y="1482096"/>
            <a:chExt cx="5794001" cy="800219"/>
          </a:xfrm>
        </p:grpSpPr>
        <p:grpSp>
          <p:nvGrpSpPr>
            <p:cNvPr id="50" name="Group 35">
              <a:extLst>
                <a:ext uri="{FF2B5EF4-FFF2-40B4-BE49-F238E27FC236}">
                  <a16:creationId xmlns:a16="http://schemas.microsoft.com/office/drawing/2014/main" id="{17D955E8-5C71-B32E-FBCE-C1DAD47E99F7}"/>
                </a:ext>
              </a:extLst>
            </p:cNvPr>
            <p:cNvGrpSpPr/>
            <p:nvPr/>
          </p:nvGrpSpPr>
          <p:grpSpPr>
            <a:xfrm>
              <a:off x="6032129" y="1482096"/>
              <a:ext cx="4507692" cy="800219"/>
              <a:chOff x="6557475" y="1411926"/>
              <a:chExt cx="4507692" cy="800219"/>
            </a:xfrm>
          </p:grpSpPr>
          <p:sp>
            <p:nvSpPr>
              <p:cNvPr id="54" name="TextBox 39">
                <a:extLst>
                  <a:ext uri="{FF2B5EF4-FFF2-40B4-BE49-F238E27FC236}">
                    <a16:creationId xmlns:a16="http://schemas.microsoft.com/office/drawing/2014/main" id="{91376D00-4B4F-8921-B5A0-3572C98CB8E1}"/>
                  </a:ext>
                </a:extLst>
              </p:cNvPr>
              <p:cNvSpPr txBox="1"/>
              <p:nvPr/>
            </p:nvSpPr>
            <p:spPr>
              <a:xfrm>
                <a:off x="6557475" y="1750480"/>
                <a:ext cx="450769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377" eaLnBrk="1" fontAlgn="auto" latinLnBrk="0" hangingPunct="1">
                  <a:lnSpc>
                    <a:spcPct val="100000"/>
                  </a:lnSpc>
                  <a:spcBef>
                    <a:spcPct val="0"/>
                  </a:spcBef>
                  <a:spcAft>
                    <a:spcPct val="0"/>
                  </a:spcAft>
                  <a:buClrTx/>
                  <a:buSzTx/>
                  <a:buFontTx/>
                  <a:buNone/>
                  <a:defRPr/>
                </a:pPr>
                <a:r>
                  <a:rPr kumimoji="0" lang="en-US" altLang="ko-KR" sz="1200" b="0" i="0" u="none" strike="noStrike" kern="0" cap="none" spc="0" normalizeH="0" baseline="0" noProof="0">
                    <a:ln>
                      <a:noFill/>
                    </a:ln>
                    <a:solidFill>
                      <a:prstClr val="black">
                        <a:lumMod val="85000"/>
                        <a:lumOff val="15000"/>
                      </a:prstClr>
                    </a:solidFill>
                    <a:effectLst/>
                    <a:uLnTx/>
                    <a:uFillTx/>
                    <a:latin typeface="Arial"/>
                  </a:rPr>
                  <a:t>Get a modern PowerPoint  Presentation that is beautifully designed. </a:t>
                </a:r>
                <a:r>
                  <a:rPr kumimoji="0" lang="en-US" altLang="ko-KR" sz="1200" b="0" i="0" u="none" strike="noStrike" kern="0" cap="none" spc="0" normalizeH="0" baseline="0" noProof="0">
                    <a:ln>
                      <a:noFill/>
                    </a:ln>
                    <a:solidFill>
                      <a:prstClr val="black">
                        <a:lumMod val="85000"/>
                        <a:lumOff val="15000"/>
                      </a:prstClr>
                    </a:solidFill>
                    <a:effectLst/>
                    <a:uLnTx/>
                    <a:uFillTx/>
                    <a:latin typeface="Arial"/>
                    <a:ea typeface="FZShuTi" pitchFamily="2" charset="-122"/>
                  </a:rPr>
                  <a:t>I hope and I believe that this Template will your Time.</a:t>
                </a:r>
                <a:endParaRPr kumimoji="0" lang="en-US" altLang="ko-KR" sz="1200" b="0" i="0" u="none" strike="noStrike" kern="0" cap="none" spc="0" normalizeH="0" baseline="0" noProof="0">
                  <a:ln>
                    <a:noFill/>
                  </a:ln>
                  <a:solidFill>
                    <a:prstClr val="black">
                      <a:lumMod val="85000"/>
                      <a:lumOff val="15000"/>
                    </a:prstClr>
                  </a:solidFill>
                  <a:effectLst/>
                  <a:uLnTx/>
                  <a:uFillTx/>
                  <a:latin typeface="Arial"/>
                </a:endParaRPr>
              </a:p>
            </p:txBody>
          </p:sp>
          <p:sp>
            <p:nvSpPr>
              <p:cNvPr id="55" name="TextBox 40">
                <a:extLst>
                  <a:ext uri="{FF2B5EF4-FFF2-40B4-BE49-F238E27FC236}">
                    <a16:creationId xmlns:a16="http://schemas.microsoft.com/office/drawing/2014/main" id="{27BC1CF2-0157-6BB2-4E93-08D604487774}"/>
                  </a:ext>
                </a:extLst>
              </p:cNvPr>
              <p:cNvSpPr txBox="1"/>
              <p:nvPr/>
            </p:nvSpPr>
            <p:spPr>
              <a:xfrm>
                <a:off x="6557475" y="1411926"/>
                <a:ext cx="4507692" cy="369332"/>
              </a:xfrm>
              <a:prstGeom prst="rect">
                <a:avLst/>
              </a:prstGeom>
              <a:noFill/>
            </p:spPr>
            <p:txBody>
              <a:bodyPr wrap="square" lIns="108000" rIns="10800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377" eaLnBrk="1" fontAlgn="auto" latinLnBrk="0" hangingPunct="1">
                  <a:lnSpc>
                    <a:spcPct val="100000"/>
                  </a:lnSpc>
                  <a:spcBef>
                    <a:spcPct val="0"/>
                  </a:spcBef>
                  <a:spcAft>
                    <a:spcPct val="0"/>
                  </a:spcAft>
                  <a:buClrTx/>
                  <a:buSzTx/>
                  <a:buFontTx/>
                  <a:buNone/>
                  <a:defRPr/>
                </a:pPr>
                <a:r>
                  <a:rPr kumimoji="0" lang="en-US" altLang="ko-KR" sz="1800" b="1" i="0" u="none" strike="noStrike" kern="0" cap="none" spc="0" normalizeH="0" baseline="0" noProof="0">
                    <a:ln>
                      <a:noFill/>
                    </a:ln>
                    <a:solidFill>
                      <a:prstClr val="black">
                        <a:lumMod val="85000"/>
                        <a:lumOff val="15000"/>
                      </a:prstClr>
                    </a:solidFill>
                    <a:effectLst/>
                    <a:uLnTx/>
                    <a:uFillTx/>
                    <a:latin typeface="Arial"/>
                  </a:rPr>
                  <a:t>Contents</a:t>
                </a:r>
                <a:endParaRPr kumimoji="0" lang="ko-KR" altLang="en-US" sz="1800" b="1" i="0" u="none" strike="noStrike" kern="0" cap="none" spc="0" normalizeH="0" baseline="0" noProof="0">
                  <a:ln>
                    <a:noFill/>
                  </a:ln>
                  <a:solidFill>
                    <a:prstClr val="black">
                      <a:lumMod val="85000"/>
                      <a:lumOff val="15000"/>
                    </a:prstClr>
                  </a:solidFill>
                  <a:effectLst/>
                  <a:uLnTx/>
                  <a:uFillTx/>
                  <a:latin typeface="Arial"/>
                </a:endParaRPr>
              </a:p>
            </p:txBody>
          </p:sp>
        </p:grpSp>
        <p:grpSp>
          <p:nvGrpSpPr>
            <p:cNvPr id="51" name="Group 36">
              <a:extLst>
                <a:ext uri="{FF2B5EF4-FFF2-40B4-BE49-F238E27FC236}">
                  <a16:creationId xmlns:a16="http://schemas.microsoft.com/office/drawing/2014/main" id="{4936A71C-116B-41CB-234C-DBF8C0A55A86}"/>
                </a:ext>
              </a:extLst>
            </p:cNvPr>
            <p:cNvGrpSpPr/>
            <p:nvPr/>
          </p:nvGrpSpPr>
          <p:grpSpPr>
            <a:xfrm>
              <a:off x="4745820" y="1491808"/>
              <a:ext cx="958096" cy="780795"/>
              <a:chOff x="5324331" y="1449052"/>
              <a:chExt cx="958096" cy="780795"/>
            </a:xfrm>
          </p:grpSpPr>
          <p:sp>
            <p:nvSpPr>
              <p:cNvPr id="52" name="Oval 37">
                <a:extLst>
                  <a:ext uri="{FF2B5EF4-FFF2-40B4-BE49-F238E27FC236}">
                    <a16:creationId xmlns:a16="http://schemas.microsoft.com/office/drawing/2014/main" id="{34FD8BEC-7832-1D64-4198-AB3712607873}"/>
                  </a:ext>
                </a:extLst>
              </p:cNvPr>
              <p:cNvSpPr/>
              <p:nvPr/>
            </p:nvSpPr>
            <p:spPr>
              <a:xfrm>
                <a:off x="5412981" y="1449052"/>
                <a:ext cx="780795" cy="780795"/>
              </a:xfrm>
              <a:prstGeom prst="ellipse">
                <a:avLst/>
              </a:prstGeom>
              <a:solidFill>
                <a:srgbClr val="00ABF7"/>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black">
                      <a:lumMod val="85000"/>
                      <a:lumOff val="15000"/>
                    </a:prstClr>
                  </a:solidFill>
                  <a:effectLst/>
                  <a:uLnTx/>
                  <a:uFillTx/>
                  <a:latin typeface="Arial"/>
                  <a:cs typeface="+mn-cs"/>
                </a:endParaRPr>
              </a:p>
            </p:txBody>
          </p:sp>
          <p:sp>
            <p:nvSpPr>
              <p:cNvPr id="53" name="TextBox 38">
                <a:extLst>
                  <a:ext uri="{FF2B5EF4-FFF2-40B4-BE49-F238E27FC236}">
                    <a16:creationId xmlns:a16="http://schemas.microsoft.com/office/drawing/2014/main" id="{E30DA256-B9F5-F080-ABE6-4EF282B4AA8A}"/>
                  </a:ext>
                </a:extLst>
              </p:cNvPr>
              <p:cNvSpPr txBox="1"/>
              <p:nvPr/>
            </p:nvSpPr>
            <p:spPr>
              <a:xfrm>
                <a:off x="5324331" y="1516285"/>
                <a:ext cx="958096" cy="646331"/>
              </a:xfrm>
              <a:prstGeom prst="rect">
                <a:avLst/>
              </a:prstGeom>
              <a:noFill/>
            </p:spPr>
            <p:txBody>
              <a:bodyPr wrap="square" lIns="108000" rIns="10800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eaLnBrk="1" fontAlgn="auto" latinLnBrk="0" hangingPunct="1">
                  <a:lnSpc>
                    <a:spcPct val="100000"/>
                  </a:lnSpc>
                  <a:spcBef>
                    <a:spcPct val="0"/>
                  </a:spcBef>
                  <a:spcAft>
                    <a:spcPct val="0"/>
                  </a:spcAft>
                  <a:buClrTx/>
                  <a:buSzTx/>
                  <a:buFontTx/>
                  <a:buNone/>
                  <a:defRPr/>
                </a:pPr>
                <a:r>
                  <a:rPr kumimoji="0" lang="en-US" altLang="ko-KR" sz="3600" b="1" i="0" u="none" strike="noStrike" kern="0" cap="none" spc="0" normalizeH="0" baseline="0" noProof="0">
                    <a:ln>
                      <a:noFill/>
                    </a:ln>
                    <a:solidFill>
                      <a:prstClr val="white"/>
                    </a:solidFill>
                    <a:effectLst/>
                    <a:uLnTx/>
                    <a:uFillTx/>
                    <a:latin typeface="Arial"/>
                  </a:rPr>
                  <a:t>05</a:t>
                </a:r>
                <a:endParaRPr kumimoji="0" lang="ko-KR" altLang="en-US" sz="3600" b="1" i="0" u="none" strike="noStrike" kern="0" cap="none" spc="0" normalizeH="0" baseline="0" noProof="0">
                  <a:ln>
                    <a:noFill/>
                  </a:ln>
                  <a:solidFill>
                    <a:prstClr val="white"/>
                  </a:solidFill>
                  <a:effectLst/>
                  <a:uLnTx/>
                  <a:uFillTx/>
                  <a:latin typeface="Arial"/>
                </a:endParaRPr>
              </a:p>
            </p:txBody>
          </p:sp>
        </p:grpSp>
      </p:grpSp>
      <p:sp>
        <p:nvSpPr>
          <p:cNvPr id="48" name="TextBox 1">
            <a:extLst>
              <a:ext uri="{FF2B5EF4-FFF2-40B4-BE49-F238E27FC236}">
                <a16:creationId xmlns:a16="http://schemas.microsoft.com/office/drawing/2014/main" id="{3D9893F7-D421-97A6-3078-D88A6969EB4C}"/>
              </a:ext>
            </a:extLst>
          </p:cNvPr>
          <p:cNvSpPr txBox="1"/>
          <p:nvPr/>
        </p:nvSpPr>
        <p:spPr>
          <a:xfrm>
            <a:off x="322689" y="146726"/>
            <a:ext cx="4019550" cy="707886"/>
          </a:xfrm>
          <a:prstGeom prst="rect">
            <a:avLst/>
          </a:prstGeom>
          <a:noFill/>
        </p:spPr>
        <p:txBody>
          <a:bodyPr wrap="squar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ko-KR" sz="4000" b="1">
                <a:solidFill>
                  <a:schemeClr val="tx1">
                    <a:lumMod val="75000"/>
                    <a:lumOff val="25000"/>
                  </a:schemeClr>
                </a:solidFill>
                <a:latin typeface="Raleway" pitchFamily="2" charset="0"/>
                <a:cs typeface="Arial" panose="020b0604020202020204" pitchFamily="34" charset="0"/>
              </a:rPr>
              <a:t>Agenda</a:t>
            </a:r>
            <a:r>
              <a:rPr lang="en-US" altLang="ko-KR" sz="4000" b="1">
                <a:solidFill>
                  <a:srgbClr val="202A45"/>
                </a:solidFill>
                <a:latin typeface="Raleway" pitchFamily="2" charset="0"/>
                <a:cs typeface="Arial" panose="020b0604020202020204" pitchFamily="34" charset="0"/>
              </a:rPr>
              <a:t> </a:t>
            </a:r>
            <a:r>
              <a:rPr lang="en-US" altLang="ko-KR" sz="4000" b="1">
                <a:solidFill>
                  <a:srgbClr val="00ABF7"/>
                </a:solidFill>
                <a:latin typeface="Raleway" pitchFamily="2" charset="0"/>
                <a:cs typeface="Arial" panose="020b0604020202020204" pitchFamily="34" charset="0"/>
              </a:rPr>
              <a:t>Style</a:t>
            </a:r>
            <a:endParaRPr lang="ko-KR" altLang="en-US" sz="4000" b="1">
              <a:solidFill>
                <a:srgbClr val="00ABF7"/>
              </a:solidFill>
              <a:latin typeface="Raleway" pitchFamily="2" charset="0"/>
              <a:cs typeface="Arial" panose="020b0604020202020204" pitchFamily="34" charset="0"/>
            </a:endParaRPr>
          </a:p>
        </p:txBody>
      </p:sp>
      <p:sp>
        <p:nvSpPr>
          <p:cNvPr id="49" name="TextBox 31">
            <a:extLst>
              <a:ext uri="{FF2B5EF4-FFF2-40B4-BE49-F238E27FC236}">
                <a16:creationId xmlns:a16="http://schemas.microsoft.com/office/drawing/2014/main" id="{2EAFF409-DA40-0F66-5F06-C67846E7C453}"/>
              </a:ext>
            </a:extLst>
          </p:cNvPr>
          <p:cNvSpPr txBox="1"/>
          <p:nvPr/>
        </p:nvSpPr>
        <p:spPr>
          <a:xfrm>
            <a:off x="341740" y="854613"/>
            <a:ext cx="5084756" cy="276999"/>
          </a:xfrm>
          <a:prstGeom prst="rect">
            <a:avLst/>
          </a:prstGeom>
          <a:solidFill>
            <a:schemeClr val="bg1"/>
          </a:solid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ko-KR" sz="1200">
                <a:solidFill>
                  <a:schemeClr val="tx1">
                    <a:lumMod val="85000"/>
                    <a:lumOff val="15000"/>
                  </a:schemeClr>
                </a:solidFill>
                <a:cs typeface="Arial" panose="020b0604020202020204" pitchFamily="34" charset="0"/>
              </a:rPr>
              <a:t>Get a modern PowerPoint  Presentation that is beautifully designed.</a:t>
            </a:r>
          </a:p>
        </p:txBody>
      </p:sp>
      <p:pic>
        <p:nvPicPr>
          <p:cNvPr id="84" name="Imagen 83">
            <a:extLst>
              <a:ext uri="{FF2B5EF4-FFF2-40B4-BE49-F238E27FC236}">
                <a16:creationId xmlns:a16="http://schemas.microsoft.com/office/drawing/2014/main" id="{8629D0CD-2330-F18F-82E0-90E0E494855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3598" y="2362104"/>
            <a:ext cx="3978668" cy="2984001"/>
          </a:xfrm>
          <a:prstGeom prst="rect">
            <a:avLst/>
          </a:prstGeom>
        </p:spPr>
      </p:pic>
      <p:pic>
        <p:nvPicPr>
          <p:cNvPr id="83" name="Imagen 82">
            <a:extLst>
              <a:ext uri="{FF2B5EF4-FFF2-40B4-BE49-F238E27FC236}">
                <a16:creationId xmlns:a16="http://schemas.microsoft.com/office/drawing/2014/main" id="{C91F3FAE-2EA8-06A8-904A-8672CB6920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3698" y="1433770"/>
            <a:ext cx="3182088" cy="5455008"/>
          </a:xfrm>
          <a:prstGeom prst="rect">
            <a:avLst/>
          </a:prstGeom>
        </p:spPr>
      </p:pic>
      <p:grpSp>
        <p:nvGrpSpPr>
          <p:cNvPr id="85" name="Grupo 84">
            <a:extLst>
              <a:ext uri="{FF2B5EF4-FFF2-40B4-BE49-F238E27FC236}">
                <a16:creationId xmlns:a16="http://schemas.microsoft.com/office/drawing/2014/main" id="{BB4D1AE0-E854-E147-4511-BF772CBF9520}"/>
              </a:ext>
            </a:extLst>
          </p:cNvPr>
          <p:cNvGrpSpPr/>
          <p:nvPr/>
        </p:nvGrpSpPr>
        <p:grpSpPr>
          <a:xfrm>
            <a:off x="10992266" y="5223641"/>
            <a:ext cx="1004234" cy="1655379"/>
            <a:chOff x="283851" y="5461857"/>
            <a:chExt cx="846969" cy="1396143"/>
          </a:xfrm>
          <a:solidFill>
            <a:srgbClr val="06DBE7"/>
          </a:solidFill>
        </p:grpSpPr>
        <p:sp>
          <p:nvSpPr>
            <p:cNvPr id="86" name="Forma libre: forma 85">
              <a:extLst>
                <a:ext uri="{FF2B5EF4-FFF2-40B4-BE49-F238E27FC236}">
                  <a16:creationId xmlns:a16="http://schemas.microsoft.com/office/drawing/2014/main" id="{96C7B110-9EB4-4880-03EC-F8A1143AB689}"/>
                </a:ext>
              </a:extLst>
            </p:cNvPr>
            <p:cNvSpPr/>
            <p:nvPr/>
          </p:nvSpPr>
          <p:spPr>
            <a:xfrm>
              <a:off x="283851" y="5461857"/>
              <a:ext cx="846969" cy="468186"/>
            </a:xfrm>
            <a:custGeom>
              <a:gdLst>
                <a:gd name="connsiteX0" fmla="*/ 585515 w 846969"/>
                <a:gd name="connsiteY0" fmla="*/ 123160 h 468186"/>
                <a:gd name="connsiteX1" fmla="*/ 374091 w 846969"/>
                <a:gd name="connsiteY1" fmla="*/ 150510 h 468186"/>
                <a:gd name="connsiteX2" fmla="*/ 58700 w 846969"/>
                <a:gd name="connsiteY2" fmla="*/ 260683 h 468186"/>
                <a:gd name="connsiteX3" fmla="*/ 7105 w 846969"/>
                <a:gd name="connsiteY3" fmla="*/ 260683 h 468186"/>
                <a:gd name="connsiteX4" fmla="*/ 14476 w 846969"/>
                <a:gd name="connsiteY4" fmla="*/ 205208 h 468186"/>
                <a:gd name="connsiteX5" fmla="*/ 215232 w 846969"/>
                <a:gd name="connsiteY5" fmla="*/ 41694 h 468186"/>
                <a:gd name="connsiteX6" fmla="*/ 547303 w 846969"/>
                <a:gd name="connsiteY6" fmla="*/ 4259 h 468186"/>
                <a:gd name="connsiteX7" fmla="*/ 805280 w 846969"/>
                <a:gd name="connsiteY7" fmla="*/ 54302 h 468186"/>
                <a:gd name="connsiteX8" fmla="*/ 846788 w 846969"/>
                <a:gd name="connsiteY8" fmla="*/ 87470 h 468186"/>
                <a:gd name="connsiteX9" fmla="*/ 815366 w 846969"/>
                <a:gd name="connsiteY9" fmla="*/ 131307 h 468186"/>
                <a:gd name="connsiteX10" fmla="*/ 705968 w 846969"/>
                <a:gd name="connsiteY10" fmla="*/ 242644 h 468186"/>
                <a:gd name="connsiteX11" fmla="*/ 376612 w 846969"/>
                <a:gd name="connsiteY11" fmla="*/ 464348 h 468186"/>
                <a:gd name="connsiteX12" fmla="*/ 89735 w 846969"/>
                <a:gd name="connsiteY12" fmla="*/ 417990 h 468186"/>
                <a:gd name="connsiteX13" fmla="*/ 60058 w 846969"/>
                <a:gd name="connsiteY13" fmla="*/ 386762 h 468186"/>
                <a:gd name="connsiteX14" fmla="*/ 86826 w 846969"/>
                <a:gd name="connsiteY14" fmla="*/ 349326 h 468186"/>
                <a:gd name="connsiteX15" fmla="*/ 550407 w 846969"/>
                <a:gd name="connsiteY15" fmla="*/ 135186 h 468186"/>
                <a:gd name="connsiteX16" fmla="*/ 585321 w 846969"/>
                <a:gd name="connsiteY16" fmla="*/ 123160 h 46818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46969" h="468186">
                  <a:moveTo>
                    <a:pt x="585515" y="123160"/>
                  </a:moveTo>
                  <a:cubicBezTo>
                    <a:pt x="513747" y="122191"/>
                    <a:pt x="443531" y="133829"/>
                    <a:pt x="374091" y="150510"/>
                  </a:cubicBezTo>
                  <a:cubicBezTo>
                    <a:pt x="265275" y="176501"/>
                    <a:pt x="159757" y="212385"/>
                    <a:pt x="58700" y="260683"/>
                  </a:cubicBezTo>
                  <a:cubicBezTo>
                    <a:pt x="41631" y="268830"/>
                    <a:pt x="22816" y="281050"/>
                    <a:pt x="7105" y="260683"/>
                  </a:cubicBezTo>
                  <a:cubicBezTo>
                    <a:pt x="-7636" y="241480"/>
                    <a:pt x="3420" y="222278"/>
                    <a:pt x="14476" y="205208"/>
                  </a:cubicBezTo>
                  <a:cubicBezTo>
                    <a:pt x="63162" y="128591"/>
                    <a:pt x="132990" y="77578"/>
                    <a:pt x="215232" y="41694"/>
                  </a:cubicBezTo>
                  <a:cubicBezTo>
                    <a:pt x="322108" y="-5052"/>
                    <a:pt x="434802" y="-3694"/>
                    <a:pt x="547303" y="4259"/>
                  </a:cubicBezTo>
                  <a:cubicBezTo>
                    <a:pt x="634977" y="10660"/>
                    <a:pt x="720710" y="30638"/>
                    <a:pt x="805280" y="54302"/>
                  </a:cubicBezTo>
                  <a:cubicBezTo>
                    <a:pt x="823706" y="59345"/>
                    <a:pt x="844655" y="64000"/>
                    <a:pt x="846788" y="87470"/>
                  </a:cubicBezTo>
                  <a:cubicBezTo>
                    <a:pt x="848922" y="109583"/>
                    <a:pt x="831853" y="120639"/>
                    <a:pt x="815366" y="131307"/>
                  </a:cubicBezTo>
                  <a:cubicBezTo>
                    <a:pt x="770753" y="160402"/>
                    <a:pt x="734094" y="197450"/>
                    <a:pt x="705968" y="242644"/>
                  </a:cubicBezTo>
                  <a:cubicBezTo>
                    <a:pt x="629351" y="366007"/>
                    <a:pt x="524415" y="447279"/>
                    <a:pt x="376612" y="464348"/>
                  </a:cubicBezTo>
                  <a:cubicBezTo>
                    <a:pt x="276913" y="475792"/>
                    <a:pt x="180706" y="462021"/>
                    <a:pt x="89735" y="417990"/>
                  </a:cubicBezTo>
                  <a:cubicBezTo>
                    <a:pt x="75769" y="411201"/>
                    <a:pt x="60640" y="405188"/>
                    <a:pt x="60058" y="386762"/>
                  </a:cubicBezTo>
                  <a:cubicBezTo>
                    <a:pt x="59476" y="368141"/>
                    <a:pt x="72278" y="358248"/>
                    <a:pt x="86826" y="349326"/>
                  </a:cubicBezTo>
                  <a:cubicBezTo>
                    <a:pt x="232689" y="258937"/>
                    <a:pt x="387281" y="187945"/>
                    <a:pt x="550407" y="135186"/>
                  </a:cubicBezTo>
                  <a:cubicBezTo>
                    <a:pt x="562045" y="131501"/>
                    <a:pt x="573683" y="127234"/>
                    <a:pt x="585321" y="123160"/>
                  </a:cubicBezTo>
                  <a:close/>
                </a:path>
              </a:pathLst>
            </a:custGeom>
            <a:solidFill>
              <a:srgbClr val="00ABF7"/>
            </a:solidFill>
            <a:ln w="19266" cap="flat">
              <a:noFill/>
              <a:prstDash val="solid"/>
              <a:miter/>
            </a:ln>
          </p:spPr>
          <p:txBody>
            <a:bodyPr rtlCol="0" anchor="ctr"/>
            <a:lstStyle/>
            <a:p>
              <a:endParaRPr lang="es-PE"/>
            </a:p>
          </p:txBody>
        </p:sp>
        <p:sp>
          <p:nvSpPr>
            <p:cNvPr id="87" name="Forma libre: forma 86">
              <a:extLst>
                <a:ext uri="{FF2B5EF4-FFF2-40B4-BE49-F238E27FC236}">
                  <a16:creationId xmlns:a16="http://schemas.microsoft.com/office/drawing/2014/main" id="{16D79EEA-C864-DE0D-157D-75A098D90DEE}"/>
                </a:ext>
              </a:extLst>
            </p:cNvPr>
            <p:cNvSpPr/>
            <p:nvPr/>
          </p:nvSpPr>
          <p:spPr>
            <a:xfrm>
              <a:off x="507131" y="5943613"/>
              <a:ext cx="297179" cy="914387"/>
            </a:xfrm>
            <a:custGeom>
              <a:gdLst>
                <a:gd name="connsiteX0" fmla="*/ 76327 w 297179"/>
                <a:gd name="connsiteY0" fmla="*/ 250461 h 914387"/>
                <a:gd name="connsiteX1" fmla="*/ 87189 w 297179"/>
                <a:gd name="connsiteY1" fmla="*/ 213801 h 914387"/>
                <a:gd name="connsiteX2" fmla="*/ 91651 w 297179"/>
                <a:gd name="connsiteY2" fmla="*/ 56494 h 914387"/>
                <a:gd name="connsiteX3" fmla="*/ 107168 w 297179"/>
                <a:gd name="connsiteY3" fmla="*/ 30114 h 914387"/>
                <a:gd name="connsiteX4" fmla="*/ 134323 w 297179"/>
                <a:gd name="connsiteY4" fmla="*/ 56106 h 914387"/>
                <a:gd name="connsiteX5" fmla="*/ 139366 w 297179"/>
                <a:gd name="connsiteY5" fmla="*/ 216128 h 914387"/>
                <a:gd name="connsiteX6" fmla="*/ 149065 w 297179"/>
                <a:gd name="connsiteY6" fmla="*/ 248133 h 914387"/>
                <a:gd name="connsiteX7" fmla="*/ 159733 w 297179"/>
                <a:gd name="connsiteY7" fmla="*/ 208176 h 914387"/>
                <a:gd name="connsiteX8" fmla="*/ 161091 w 297179"/>
                <a:gd name="connsiteY8" fmla="*/ 65028 h 914387"/>
                <a:gd name="connsiteX9" fmla="*/ 161867 w 297179"/>
                <a:gd name="connsiteY9" fmla="*/ 42140 h 914387"/>
                <a:gd name="connsiteX10" fmla="*/ 189798 w 297179"/>
                <a:gd name="connsiteY10" fmla="*/ 20416 h 914387"/>
                <a:gd name="connsiteX11" fmla="*/ 205121 w 297179"/>
                <a:gd name="connsiteY11" fmla="*/ 42916 h 914387"/>
                <a:gd name="connsiteX12" fmla="*/ 208613 w 297179"/>
                <a:gd name="connsiteY12" fmla="*/ 214577 h 914387"/>
                <a:gd name="connsiteX13" fmla="*/ 218699 w 297179"/>
                <a:gd name="connsiteY13" fmla="*/ 245805 h 914387"/>
                <a:gd name="connsiteX14" fmla="*/ 229173 w 297179"/>
                <a:gd name="connsiteY14" fmla="*/ 214965 h 914387"/>
                <a:gd name="connsiteX15" fmla="*/ 234604 w 297179"/>
                <a:gd name="connsiteY15" fmla="*/ 37679 h 914387"/>
                <a:gd name="connsiteX16" fmla="*/ 235574 w 297179"/>
                <a:gd name="connsiteY16" fmla="*/ 20610 h 914387"/>
                <a:gd name="connsiteX17" fmla="*/ 266027 w 297179"/>
                <a:gd name="connsiteY17" fmla="*/ 49 h 914387"/>
                <a:gd name="connsiteX18" fmla="*/ 279217 w 297179"/>
                <a:gd name="connsiteY18" fmla="*/ 20998 h 914387"/>
                <a:gd name="connsiteX19" fmla="*/ 296480 w 297179"/>
                <a:gd name="connsiteY19" fmla="*/ 271991 h 914387"/>
                <a:gd name="connsiteX20" fmla="*/ 245660 w 297179"/>
                <a:gd name="connsiteY20" fmla="*/ 388953 h 914387"/>
                <a:gd name="connsiteX21" fmla="*/ 224518 w 297179"/>
                <a:gd name="connsiteY21" fmla="*/ 403695 h 914387"/>
                <a:gd name="connsiteX22" fmla="*/ 185337 w 297179"/>
                <a:gd name="connsiteY22" fmla="*/ 477984 h 914387"/>
                <a:gd name="connsiteX23" fmla="*/ 222384 w 297179"/>
                <a:gd name="connsiteY23" fmla="*/ 855637 h 914387"/>
                <a:gd name="connsiteX24" fmla="*/ 172535 w 297179"/>
                <a:gd name="connsiteY24" fmla="*/ 914216 h 914387"/>
                <a:gd name="connsiteX25" fmla="*/ 115315 w 297179"/>
                <a:gd name="connsiteY25" fmla="*/ 914216 h 914387"/>
                <a:gd name="connsiteX26" fmla="*/ 73806 w 297179"/>
                <a:gd name="connsiteY26" fmla="*/ 865918 h 914387"/>
                <a:gd name="connsiteX27" fmla="*/ 105228 w 297179"/>
                <a:gd name="connsiteY27" fmla="*/ 668265 h 914387"/>
                <a:gd name="connsiteX28" fmla="*/ 109496 w 297179"/>
                <a:gd name="connsiteY28" fmla="*/ 459557 h 914387"/>
                <a:gd name="connsiteX29" fmla="*/ 82728 w 297179"/>
                <a:gd name="connsiteY29" fmla="*/ 411259 h 914387"/>
                <a:gd name="connsiteX30" fmla="*/ 46068 w 297179"/>
                <a:gd name="connsiteY30" fmla="*/ 383716 h 914387"/>
                <a:gd name="connsiteX31" fmla="*/ 292 w 297179"/>
                <a:gd name="connsiteY31" fmla="*/ 284017 h 914387"/>
                <a:gd name="connsiteX32" fmla="*/ 16779 w 297179"/>
                <a:gd name="connsiteY32" fmla="*/ 50093 h 914387"/>
                <a:gd name="connsiteX33" fmla="*/ 37146 w 297179"/>
                <a:gd name="connsiteY33" fmla="*/ 27205 h 914387"/>
                <a:gd name="connsiteX34" fmla="*/ 64495 w 297179"/>
                <a:gd name="connsiteY34" fmla="*/ 52420 h 914387"/>
                <a:gd name="connsiteX35" fmla="*/ 66047 w 297179"/>
                <a:gd name="connsiteY35" fmla="*/ 204102 h 914387"/>
                <a:gd name="connsiteX36" fmla="*/ 76521 w 297179"/>
                <a:gd name="connsiteY36" fmla="*/ 250073 h 91438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97179" h="914387">
                  <a:moveTo>
                    <a:pt x="76327" y="250461"/>
                  </a:moveTo>
                  <a:cubicBezTo>
                    <a:pt x="90099" y="238823"/>
                    <a:pt x="86801" y="225633"/>
                    <a:pt x="87189" y="213801"/>
                  </a:cubicBezTo>
                  <a:cubicBezTo>
                    <a:pt x="88935" y="161430"/>
                    <a:pt x="90099" y="109059"/>
                    <a:pt x="91651" y="56494"/>
                  </a:cubicBezTo>
                  <a:cubicBezTo>
                    <a:pt x="92039" y="45050"/>
                    <a:pt x="91651" y="32830"/>
                    <a:pt x="107168" y="30114"/>
                  </a:cubicBezTo>
                  <a:cubicBezTo>
                    <a:pt x="127922" y="26817"/>
                    <a:pt x="133935" y="37291"/>
                    <a:pt x="134323" y="56106"/>
                  </a:cubicBezTo>
                  <a:cubicBezTo>
                    <a:pt x="135487" y="109447"/>
                    <a:pt x="137233" y="162788"/>
                    <a:pt x="139366" y="216128"/>
                  </a:cubicBezTo>
                  <a:cubicBezTo>
                    <a:pt x="139754" y="226603"/>
                    <a:pt x="135487" y="239210"/>
                    <a:pt x="149065" y="248133"/>
                  </a:cubicBezTo>
                  <a:cubicBezTo>
                    <a:pt x="160121" y="236495"/>
                    <a:pt x="159539" y="222141"/>
                    <a:pt x="159733" y="208176"/>
                  </a:cubicBezTo>
                  <a:cubicBezTo>
                    <a:pt x="160315" y="160460"/>
                    <a:pt x="160703" y="112744"/>
                    <a:pt x="161091" y="65028"/>
                  </a:cubicBezTo>
                  <a:cubicBezTo>
                    <a:pt x="161091" y="57463"/>
                    <a:pt x="161479" y="49705"/>
                    <a:pt x="161867" y="42140"/>
                  </a:cubicBezTo>
                  <a:cubicBezTo>
                    <a:pt x="162643" y="24101"/>
                    <a:pt x="175832" y="20804"/>
                    <a:pt x="189798" y="20416"/>
                  </a:cubicBezTo>
                  <a:cubicBezTo>
                    <a:pt x="205509" y="19834"/>
                    <a:pt x="204927" y="33218"/>
                    <a:pt x="205121" y="42916"/>
                  </a:cubicBezTo>
                  <a:cubicBezTo>
                    <a:pt x="206673" y="100136"/>
                    <a:pt x="207255" y="157356"/>
                    <a:pt x="208613" y="214577"/>
                  </a:cubicBezTo>
                  <a:cubicBezTo>
                    <a:pt x="209001" y="226021"/>
                    <a:pt x="204733" y="245805"/>
                    <a:pt x="218699" y="245805"/>
                  </a:cubicBezTo>
                  <a:cubicBezTo>
                    <a:pt x="233440" y="245805"/>
                    <a:pt x="228591" y="226215"/>
                    <a:pt x="229173" y="214965"/>
                  </a:cubicBezTo>
                  <a:cubicBezTo>
                    <a:pt x="231501" y="155805"/>
                    <a:pt x="232859" y="96839"/>
                    <a:pt x="234604" y="37679"/>
                  </a:cubicBezTo>
                  <a:cubicBezTo>
                    <a:pt x="234604" y="32054"/>
                    <a:pt x="234604" y="26041"/>
                    <a:pt x="235574" y="20610"/>
                  </a:cubicBezTo>
                  <a:cubicBezTo>
                    <a:pt x="238872" y="3929"/>
                    <a:pt x="252837" y="1019"/>
                    <a:pt x="266027" y="49"/>
                  </a:cubicBezTo>
                  <a:cubicBezTo>
                    <a:pt x="280574" y="-921"/>
                    <a:pt x="278635" y="12657"/>
                    <a:pt x="279217" y="20998"/>
                  </a:cubicBezTo>
                  <a:cubicBezTo>
                    <a:pt x="285036" y="104597"/>
                    <a:pt x="288915" y="188585"/>
                    <a:pt x="296480" y="271991"/>
                  </a:cubicBezTo>
                  <a:cubicBezTo>
                    <a:pt x="300941" y="321840"/>
                    <a:pt x="284066" y="359470"/>
                    <a:pt x="245660" y="388953"/>
                  </a:cubicBezTo>
                  <a:cubicBezTo>
                    <a:pt x="238872" y="394190"/>
                    <a:pt x="231695" y="399039"/>
                    <a:pt x="224518" y="403695"/>
                  </a:cubicBezTo>
                  <a:cubicBezTo>
                    <a:pt x="197363" y="421151"/>
                    <a:pt x="186694" y="445397"/>
                    <a:pt x="185337" y="477984"/>
                  </a:cubicBezTo>
                  <a:cubicBezTo>
                    <a:pt x="179906" y="605808"/>
                    <a:pt x="198332" y="730917"/>
                    <a:pt x="222384" y="855637"/>
                  </a:cubicBezTo>
                  <a:cubicBezTo>
                    <a:pt x="231307" y="901995"/>
                    <a:pt x="220445" y="914022"/>
                    <a:pt x="172535" y="914216"/>
                  </a:cubicBezTo>
                  <a:cubicBezTo>
                    <a:pt x="153526" y="914216"/>
                    <a:pt x="134323" y="914603"/>
                    <a:pt x="115315" y="914216"/>
                  </a:cubicBezTo>
                  <a:cubicBezTo>
                    <a:pt x="80207" y="913440"/>
                    <a:pt x="68569" y="900444"/>
                    <a:pt x="73806" y="865918"/>
                  </a:cubicBezTo>
                  <a:cubicBezTo>
                    <a:pt x="83892" y="799969"/>
                    <a:pt x="96112" y="734408"/>
                    <a:pt x="105228" y="668265"/>
                  </a:cubicBezTo>
                  <a:cubicBezTo>
                    <a:pt x="114733" y="599019"/>
                    <a:pt x="109883" y="529191"/>
                    <a:pt x="109496" y="459557"/>
                  </a:cubicBezTo>
                  <a:cubicBezTo>
                    <a:pt x="109496" y="439578"/>
                    <a:pt x="99603" y="423091"/>
                    <a:pt x="82728" y="411259"/>
                  </a:cubicBezTo>
                  <a:cubicBezTo>
                    <a:pt x="70314" y="402531"/>
                    <a:pt x="58094" y="393220"/>
                    <a:pt x="46068" y="383716"/>
                  </a:cubicBezTo>
                  <a:cubicBezTo>
                    <a:pt x="13870" y="358306"/>
                    <a:pt x="-2423" y="325332"/>
                    <a:pt x="292" y="284017"/>
                  </a:cubicBezTo>
                  <a:cubicBezTo>
                    <a:pt x="5529" y="206042"/>
                    <a:pt x="11348" y="128067"/>
                    <a:pt x="16779" y="50093"/>
                  </a:cubicBezTo>
                  <a:cubicBezTo>
                    <a:pt x="17749" y="36903"/>
                    <a:pt x="18137" y="25265"/>
                    <a:pt x="37146" y="27205"/>
                  </a:cubicBezTo>
                  <a:cubicBezTo>
                    <a:pt x="53633" y="28950"/>
                    <a:pt x="64301" y="33412"/>
                    <a:pt x="64495" y="52420"/>
                  </a:cubicBezTo>
                  <a:cubicBezTo>
                    <a:pt x="64495" y="103046"/>
                    <a:pt x="65465" y="153477"/>
                    <a:pt x="66047" y="204102"/>
                  </a:cubicBezTo>
                  <a:cubicBezTo>
                    <a:pt x="66047" y="219038"/>
                    <a:pt x="65465" y="234361"/>
                    <a:pt x="76521" y="250073"/>
                  </a:cubicBezTo>
                  <a:close/>
                </a:path>
              </a:pathLst>
            </a:custGeom>
            <a:solidFill>
              <a:schemeClr val="bg1">
                <a:lumMod val="65000"/>
              </a:schemeClr>
            </a:solidFill>
            <a:ln w="19266" cap="flat">
              <a:noFill/>
              <a:prstDash val="solid"/>
              <a:miter/>
            </a:ln>
          </p:spPr>
          <p:txBody>
            <a:bodyPr rtlCol="0" anchor="ctr"/>
            <a:lstStyle/>
            <a:p>
              <a:endParaRPr lang="es-PE"/>
            </a:p>
          </p:txBody>
        </p:sp>
      </p:grpSp>
      <p:sp>
        <p:nvSpPr>
          <p:cNvPr id="88" name="Rectángulo: esquinas redondeadas 87">
            <a:extLst>
              <a:ext uri="{FF2B5EF4-FFF2-40B4-BE49-F238E27FC236}">
                <a16:creationId xmlns:a16="http://schemas.microsoft.com/office/drawing/2014/main" id="{5F17BF1D-98FE-2F3B-6232-DBE7AFA478BB}"/>
              </a:ext>
            </a:extLst>
          </p:cNvPr>
          <p:cNvSpPr/>
          <p:nvPr/>
        </p:nvSpPr>
        <p:spPr>
          <a:xfrm>
            <a:off x="9681210" y="0"/>
            <a:ext cx="2510790" cy="350967"/>
          </a:xfrm>
          <a:prstGeom prst="roundRect">
            <a:avLst/>
          </a:prstGeom>
          <a:solidFill>
            <a:srgbClr val="00AB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grpSp>
        <p:nvGrpSpPr>
          <p:cNvPr id="42" name="Group 2">
            <a:extLst>
              <a:ext uri="{FF2B5EF4-FFF2-40B4-BE49-F238E27FC236}">
                <a16:creationId xmlns:a16="http://schemas.microsoft.com/office/drawing/2014/main" id="{FCAC4407-53E9-7586-CAB9-925988166EF4}"/>
              </a:ext>
            </a:extLst>
          </p:cNvPr>
          <p:cNvGrpSpPr/>
          <p:nvPr/>
        </p:nvGrpSpPr>
        <p:grpSpPr>
          <a:xfrm>
            <a:off x="4916878" y="1064438"/>
            <a:ext cx="5794001" cy="800219"/>
            <a:chOff x="4745820" y="1482096"/>
            <a:chExt cx="5794001" cy="800219"/>
          </a:xfrm>
        </p:grpSpPr>
        <p:grpSp>
          <p:nvGrpSpPr>
            <p:cNvPr id="76" name="Group 3">
              <a:extLst>
                <a:ext uri="{FF2B5EF4-FFF2-40B4-BE49-F238E27FC236}">
                  <a16:creationId xmlns:a16="http://schemas.microsoft.com/office/drawing/2014/main" id="{8EBC85D5-03BC-0114-94BE-AB648A839D87}"/>
                </a:ext>
              </a:extLst>
            </p:cNvPr>
            <p:cNvGrpSpPr/>
            <p:nvPr/>
          </p:nvGrpSpPr>
          <p:grpSpPr>
            <a:xfrm>
              <a:off x="6032129" y="1482096"/>
              <a:ext cx="4507692" cy="800219"/>
              <a:chOff x="6557475" y="1411926"/>
              <a:chExt cx="4507692" cy="800219"/>
            </a:xfrm>
          </p:grpSpPr>
          <p:sp>
            <p:nvSpPr>
              <p:cNvPr id="80" name="TextBox 7">
                <a:extLst>
                  <a:ext uri="{FF2B5EF4-FFF2-40B4-BE49-F238E27FC236}">
                    <a16:creationId xmlns:a16="http://schemas.microsoft.com/office/drawing/2014/main" id="{E9D5077A-044D-BF56-638F-9FC9330FB12D}"/>
                  </a:ext>
                </a:extLst>
              </p:cNvPr>
              <p:cNvSpPr txBox="1"/>
              <p:nvPr/>
            </p:nvSpPr>
            <p:spPr>
              <a:xfrm>
                <a:off x="6557475" y="1750480"/>
                <a:ext cx="450769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377" eaLnBrk="1" fontAlgn="auto" latinLnBrk="0" hangingPunct="1">
                  <a:lnSpc>
                    <a:spcPct val="100000"/>
                  </a:lnSpc>
                  <a:spcBef>
                    <a:spcPct val="0"/>
                  </a:spcBef>
                  <a:spcAft>
                    <a:spcPct val="0"/>
                  </a:spcAft>
                  <a:buClrTx/>
                  <a:buSzTx/>
                  <a:buFontTx/>
                  <a:buNone/>
                  <a:defRPr/>
                </a:pPr>
                <a:r>
                  <a:rPr kumimoji="0" lang="en-US" altLang="ko-KR" sz="1200" b="0" i="0" u="none" strike="noStrike" kern="0" cap="none" spc="0" normalizeH="0" baseline="0" noProof="0">
                    <a:ln>
                      <a:noFill/>
                    </a:ln>
                    <a:solidFill>
                      <a:prstClr val="black">
                        <a:lumMod val="85000"/>
                        <a:lumOff val="15000"/>
                      </a:prstClr>
                    </a:solidFill>
                    <a:effectLst/>
                    <a:uLnTx/>
                    <a:uFillTx/>
                    <a:latin typeface="Arial"/>
                  </a:rPr>
                  <a:t>Get a modern PowerPoint  Presentation that is beautifully designed. </a:t>
                </a:r>
                <a:r>
                  <a:rPr kumimoji="0" lang="en-US" altLang="ko-KR" sz="1200" b="0" i="0" u="none" strike="noStrike" kern="0" cap="none" spc="0" normalizeH="0" baseline="0" noProof="0">
                    <a:ln>
                      <a:noFill/>
                    </a:ln>
                    <a:solidFill>
                      <a:prstClr val="black">
                        <a:lumMod val="85000"/>
                        <a:lumOff val="15000"/>
                      </a:prstClr>
                    </a:solidFill>
                    <a:effectLst/>
                    <a:uLnTx/>
                    <a:uFillTx/>
                    <a:latin typeface="Arial"/>
                    <a:ea typeface="FZShuTi" pitchFamily="2" charset="-122"/>
                  </a:rPr>
                  <a:t>I hope and I believe that this Template will your Time.</a:t>
                </a:r>
                <a:endParaRPr kumimoji="0" lang="en-US" altLang="ko-KR" sz="1200" b="0" i="0" u="none" strike="noStrike" kern="0" cap="none" spc="0" normalizeH="0" baseline="0" noProof="0">
                  <a:ln>
                    <a:noFill/>
                  </a:ln>
                  <a:solidFill>
                    <a:prstClr val="black">
                      <a:lumMod val="85000"/>
                      <a:lumOff val="15000"/>
                    </a:prstClr>
                  </a:solidFill>
                  <a:effectLst/>
                  <a:uLnTx/>
                  <a:uFillTx/>
                  <a:latin typeface="Arial"/>
                </a:endParaRPr>
              </a:p>
            </p:txBody>
          </p:sp>
          <p:sp>
            <p:nvSpPr>
              <p:cNvPr id="81" name="TextBox 8">
                <a:extLst>
                  <a:ext uri="{FF2B5EF4-FFF2-40B4-BE49-F238E27FC236}">
                    <a16:creationId xmlns:a16="http://schemas.microsoft.com/office/drawing/2014/main" id="{C117F5F8-F0C0-D851-C7ED-A1AAD6658896}"/>
                  </a:ext>
                </a:extLst>
              </p:cNvPr>
              <p:cNvSpPr txBox="1"/>
              <p:nvPr/>
            </p:nvSpPr>
            <p:spPr>
              <a:xfrm>
                <a:off x="6557475" y="1411926"/>
                <a:ext cx="4507692" cy="369332"/>
              </a:xfrm>
              <a:prstGeom prst="rect">
                <a:avLst/>
              </a:prstGeom>
              <a:noFill/>
            </p:spPr>
            <p:txBody>
              <a:bodyPr wrap="square" lIns="108000" rIns="10800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377" eaLnBrk="1" fontAlgn="auto" latinLnBrk="0" hangingPunct="1">
                  <a:lnSpc>
                    <a:spcPct val="100000"/>
                  </a:lnSpc>
                  <a:spcBef>
                    <a:spcPct val="0"/>
                  </a:spcBef>
                  <a:spcAft>
                    <a:spcPct val="0"/>
                  </a:spcAft>
                  <a:buClrTx/>
                  <a:buSzTx/>
                  <a:buFontTx/>
                  <a:buNone/>
                  <a:defRPr/>
                </a:pPr>
                <a:r>
                  <a:rPr kumimoji="0" lang="en-US" altLang="ko-KR" sz="1800" b="1" i="0" u="none" strike="noStrike" kern="0" cap="none" spc="0" normalizeH="0" baseline="0" noProof="0">
                    <a:ln>
                      <a:noFill/>
                    </a:ln>
                    <a:solidFill>
                      <a:prstClr val="black">
                        <a:lumMod val="85000"/>
                        <a:lumOff val="15000"/>
                      </a:prstClr>
                    </a:solidFill>
                    <a:effectLst/>
                    <a:uLnTx/>
                    <a:uFillTx/>
                    <a:latin typeface="Arial"/>
                  </a:rPr>
                  <a:t>Contents</a:t>
                </a:r>
                <a:endParaRPr kumimoji="0" lang="ko-KR" altLang="en-US" sz="1800" b="1" i="0" u="none" strike="noStrike" kern="0" cap="none" spc="0" normalizeH="0" baseline="0" noProof="0">
                  <a:ln>
                    <a:noFill/>
                  </a:ln>
                  <a:solidFill>
                    <a:prstClr val="black">
                      <a:lumMod val="85000"/>
                      <a:lumOff val="15000"/>
                    </a:prstClr>
                  </a:solidFill>
                  <a:effectLst/>
                  <a:uLnTx/>
                  <a:uFillTx/>
                  <a:latin typeface="Arial"/>
                </a:endParaRPr>
              </a:p>
            </p:txBody>
          </p:sp>
        </p:grpSp>
        <p:grpSp>
          <p:nvGrpSpPr>
            <p:cNvPr id="77" name="Group 4">
              <a:extLst>
                <a:ext uri="{FF2B5EF4-FFF2-40B4-BE49-F238E27FC236}">
                  <a16:creationId xmlns:a16="http://schemas.microsoft.com/office/drawing/2014/main" id="{FD6E46BC-615B-15E7-310E-F2EB4D757914}"/>
                </a:ext>
              </a:extLst>
            </p:cNvPr>
            <p:cNvGrpSpPr/>
            <p:nvPr/>
          </p:nvGrpSpPr>
          <p:grpSpPr>
            <a:xfrm>
              <a:off x="4745820" y="1491808"/>
              <a:ext cx="958096" cy="780795"/>
              <a:chOff x="5324331" y="1449052"/>
              <a:chExt cx="958096" cy="780795"/>
            </a:xfrm>
          </p:grpSpPr>
          <p:sp>
            <p:nvSpPr>
              <p:cNvPr id="78" name="Oval 5">
                <a:extLst>
                  <a:ext uri="{FF2B5EF4-FFF2-40B4-BE49-F238E27FC236}">
                    <a16:creationId xmlns:a16="http://schemas.microsoft.com/office/drawing/2014/main" id="{E652EB10-4A6C-902F-B061-73E86A08685E}"/>
                  </a:ext>
                </a:extLst>
              </p:cNvPr>
              <p:cNvSpPr/>
              <p:nvPr/>
            </p:nvSpPr>
            <p:spPr>
              <a:xfrm>
                <a:off x="5412981" y="1449052"/>
                <a:ext cx="780795" cy="780795"/>
              </a:xfrm>
              <a:prstGeom prst="ellipse">
                <a:avLst/>
              </a:prstGeom>
              <a:solidFill>
                <a:srgbClr val="02BAC8"/>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black">
                      <a:lumMod val="85000"/>
                      <a:lumOff val="15000"/>
                    </a:prstClr>
                  </a:solidFill>
                  <a:effectLst/>
                  <a:uLnTx/>
                  <a:uFillTx/>
                  <a:latin typeface="Arial"/>
                  <a:cs typeface="+mn-cs"/>
                </a:endParaRPr>
              </a:p>
            </p:txBody>
          </p:sp>
          <p:sp>
            <p:nvSpPr>
              <p:cNvPr id="79" name="TextBox 6">
                <a:extLst>
                  <a:ext uri="{FF2B5EF4-FFF2-40B4-BE49-F238E27FC236}">
                    <a16:creationId xmlns:a16="http://schemas.microsoft.com/office/drawing/2014/main" id="{FADDBD51-6140-A3E9-5113-3D7F63D2EDA7}"/>
                  </a:ext>
                </a:extLst>
              </p:cNvPr>
              <p:cNvSpPr txBox="1"/>
              <p:nvPr/>
            </p:nvSpPr>
            <p:spPr>
              <a:xfrm>
                <a:off x="5324331" y="1516285"/>
                <a:ext cx="958096" cy="646331"/>
              </a:xfrm>
              <a:prstGeom prst="rect">
                <a:avLst/>
              </a:prstGeom>
              <a:noFill/>
            </p:spPr>
            <p:txBody>
              <a:bodyPr wrap="square" lIns="108000" rIns="10800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eaLnBrk="1" fontAlgn="auto" latinLnBrk="0" hangingPunct="1">
                  <a:lnSpc>
                    <a:spcPct val="100000"/>
                  </a:lnSpc>
                  <a:spcBef>
                    <a:spcPct val="0"/>
                  </a:spcBef>
                  <a:spcAft>
                    <a:spcPct val="0"/>
                  </a:spcAft>
                  <a:buClrTx/>
                  <a:buSzTx/>
                  <a:buFontTx/>
                  <a:buNone/>
                  <a:defRPr/>
                </a:pPr>
                <a:r>
                  <a:rPr kumimoji="0" lang="en-US" altLang="ko-KR" sz="3600" b="1" i="0" u="none" strike="noStrike" kern="0" cap="none" spc="0" normalizeH="0" baseline="0" noProof="0">
                    <a:ln>
                      <a:noFill/>
                    </a:ln>
                    <a:solidFill>
                      <a:prstClr val="white"/>
                    </a:solidFill>
                    <a:effectLst/>
                    <a:uLnTx/>
                    <a:uFillTx/>
                    <a:latin typeface="Arial"/>
                  </a:rPr>
                  <a:t>01</a:t>
                </a:r>
                <a:endParaRPr kumimoji="0" lang="ko-KR" altLang="en-US" sz="3600" b="1" i="0" u="none" strike="noStrike" kern="0" cap="none" spc="0" normalizeH="0" baseline="0" noProof="0">
                  <a:ln>
                    <a:noFill/>
                  </a:ln>
                  <a:solidFill>
                    <a:prstClr val="white"/>
                  </a:solidFill>
                  <a:effectLst/>
                  <a:uLnTx/>
                  <a:uFillTx/>
                  <a:latin typeface="Arial"/>
                </a:endParaRPr>
              </a:p>
            </p:txBody>
          </p:sp>
        </p:grpSp>
      </p:grpSp>
      <p:sp>
        <p:nvSpPr>
          <p:cNvPr id="89" name="Rectángulo: esquinas redondeadas 88">
            <a:extLst>
              <a:ext uri="{FF2B5EF4-FFF2-40B4-BE49-F238E27FC236}">
                <a16:creationId xmlns:a16="http://schemas.microsoft.com/office/drawing/2014/main" id="{6560A1B3-8ACB-60EA-0C1B-3C2856DF2D61}"/>
              </a:ext>
            </a:extLst>
          </p:cNvPr>
          <p:cNvSpPr/>
          <p:nvPr/>
        </p:nvSpPr>
        <p:spPr>
          <a:xfrm>
            <a:off x="9681210" y="-62824"/>
            <a:ext cx="2510790" cy="350967"/>
          </a:xfrm>
          <a:prstGeom prst="roundRect">
            <a:avLst/>
          </a:prstGeom>
          <a:solidFill>
            <a:srgbClr val="00AB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Tree>
    <p:extLst>
      <p:ext uri="{BB962C8B-B14F-4D97-AF65-F5344CB8AC3E}">
        <p14:creationId xmlns:p14="http://schemas.microsoft.com/office/powerpoint/2010/main" val="383645190"/>
      </p:ext>
    </p:extLst>
  </p:cSld>
  <p:clrMapOvr>
    <a:masterClrMapping/>
  </p:clrMapOvr>
  <p:transition/>
  <p:timing/>
</p:sld>
</file>

<file path=ppt/slides/slide20.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13" name="Elipse 12">
            <a:extLst>
              <a:ext uri="{FF2B5EF4-FFF2-40B4-BE49-F238E27FC236}">
                <a16:creationId xmlns:a16="http://schemas.microsoft.com/office/drawing/2014/main" id="{CA662364-292B-F0F3-32CE-D3A8CCFAA980}"/>
              </a:ext>
            </a:extLst>
          </p:cNvPr>
          <p:cNvSpPr/>
          <p:nvPr/>
        </p:nvSpPr>
        <p:spPr>
          <a:xfrm>
            <a:off x="5638800" y="2839232"/>
            <a:ext cx="3665215" cy="3665215"/>
          </a:xfrm>
          <a:prstGeom prst="ellipse">
            <a:avLst/>
          </a:prstGeom>
          <a:solidFill>
            <a:srgbClr val="00677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0" name="Google Shape;263;p42"/>
          <p:cNvSpPr txBox="1"/>
          <p:nvPr userDrawn="1"/>
        </p:nvSpPr>
        <p:spPr>
          <a:xfrm>
            <a:off x="0" y="462921"/>
            <a:ext cx="5423929" cy="1031383"/>
          </a:xfrm>
          <a:prstGeom prst="rect">
            <a:avLst/>
          </a:prstGeom>
          <a:noFill/>
          <a:ln>
            <a:noFill/>
          </a:ln>
        </p:spPr>
        <p:txBody>
          <a:bodyPr spcFirstLastPara="1" wrap="square" lIns="121889" tIns="121889" rIns="121889" bIns="121889" anchor="t" anchorCtr="0">
            <a:noAutofit/>
          </a:bodyPr>
          <a:lstStyle>
            <a:defPPr marR="0" lvl="0" algn="l" rtl="0">
              <a:lnSpc>
                <a:spcPct val="100000"/>
              </a:lnSpc>
              <a:spcBef>
                <a:spcPct val="0"/>
              </a:spcBef>
              <a:spcAft>
                <a:spcPct val="0"/>
              </a:spcAft>
            </a:defPPr>
            <a:lvl1pPr marR="0" lvl="0" algn="ctr" rtl="0">
              <a:lnSpc>
                <a:spcPct val="80000"/>
              </a:lnSpc>
              <a:spcBef>
                <a:spcPct val="0"/>
              </a:spcBef>
              <a:spcAft>
                <a:spcPct val="0"/>
              </a:spcAft>
              <a:buClr>
                <a:schemeClr val="accent1"/>
              </a:buClr>
              <a:buSzPts val="4800"/>
              <a:buFont typeface="DM Sans"/>
              <a:buNone/>
              <a:defRPr sz="3600" b="1" i="0" u="none" strike="noStrike" cap="none">
                <a:solidFill>
                  <a:srgbClr val="27348B"/>
                </a:solidFill>
                <a:latin typeface="DM Sans"/>
                <a:ea typeface="DM Sans"/>
                <a:cs typeface="DM Sans"/>
                <a:sym typeface="DM Sans"/>
              </a:defRPr>
            </a:lvl1pPr>
            <a:lvl2pPr marR="0" lvl="1" algn="l" rtl="0">
              <a:lnSpc>
                <a:spcPct val="80000"/>
              </a:lnSpc>
              <a:spcBef>
                <a:spcPct val="0"/>
              </a:spcBef>
              <a:spcAft>
                <a:spcPct val="0"/>
              </a:spcAft>
              <a:buClr>
                <a:schemeClr val="accent1"/>
              </a:buClr>
              <a:buSzPts val="4800"/>
              <a:buFont typeface="DM Sans"/>
              <a:buNone/>
              <a:defRPr sz="4800" b="1" i="0" u="none" strike="noStrike" cap="none">
                <a:solidFill>
                  <a:schemeClr val="accent1"/>
                </a:solidFill>
                <a:latin typeface="DM Sans"/>
                <a:ea typeface="DM Sans"/>
                <a:cs typeface="DM Sans"/>
                <a:sym typeface="DM Sans"/>
              </a:defRPr>
            </a:lvl2pPr>
            <a:lvl3pPr marR="0" lvl="2" algn="l" rtl="0">
              <a:lnSpc>
                <a:spcPct val="80000"/>
              </a:lnSpc>
              <a:spcBef>
                <a:spcPct val="0"/>
              </a:spcBef>
              <a:spcAft>
                <a:spcPct val="0"/>
              </a:spcAft>
              <a:buClr>
                <a:schemeClr val="accent1"/>
              </a:buClr>
              <a:buSzPts val="4800"/>
              <a:buFont typeface="DM Sans"/>
              <a:buNone/>
              <a:defRPr sz="4800" b="1" i="0" u="none" strike="noStrike" cap="none">
                <a:solidFill>
                  <a:schemeClr val="accent1"/>
                </a:solidFill>
                <a:latin typeface="DM Sans"/>
                <a:ea typeface="DM Sans"/>
                <a:cs typeface="DM Sans"/>
                <a:sym typeface="DM Sans"/>
              </a:defRPr>
            </a:lvl3pPr>
            <a:lvl4pPr marR="0" lvl="3" algn="l" rtl="0">
              <a:lnSpc>
                <a:spcPct val="80000"/>
              </a:lnSpc>
              <a:spcBef>
                <a:spcPct val="0"/>
              </a:spcBef>
              <a:spcAft>
                <a:spcPct val="0"/>
              </a:spcAft>
              <a:buClr>
                <a:schemeClr val="accent1"/>
              </a:buClr>
              <a:buSzPts val="4800"/>
              <a:buFont typeface="DM Sans"/>
              <a:buNone/>
              <a:defRPr sz="4800" b="1" i="0" u="none" strike="noStrike" cap="none">
                <a:solidFill>
                  <a:schemeClr val="accent1"/>
                </a:solidFill>
                <a:latin typeface="DM Sans"/>
                <a:ea typeface="DM Sans"/>
                <a:cs typeface="DM Sans"/>
                <a:sym typeface="DM Sans"/>
              </a:defRPr>
            </a:lvl4pPr>
            <a:lvl5pPr marR="0" lvl="4" algn="l" rtl="0">
              <a:lnSpc>
                <a:spcPct val="80000"/>
              </a:lnSpc>
              <a:spcBef>
                <a:spcPct val="0"/>
              </a:spcBef>
              <a:spcAft>
                <a:spcPct val="0"/>
              </a:spcAft>
              <a:buClr>
                <a:schemeClr val="accent1"/>
              </a:buClr>
              <a:buSzPts val="4800"/>
              <a:buFont typeface="DM Sans"/>
              <a:buNone/>
              <a:defRPr sz="4800" b="1" i="0" u="none" strike="noStrike" cap="none">
                <a:solidFill>
                  <a:schemeClr val="accent1"/>
                </a:solidFill>
                <a:latin typeface="DM Sans"/>
                <a:ea typeface="DM Sans"/>
                <a:cs typeface="DM Sans"/>
                <a:sym typeface="DM Sans"/>
              </a:defRPr>
            </a:lvl5pPr>
            <a:lvl6pPr marR="0" lvl="5" algn="l" rtl="0">
              <a:lnSpc>
                <a:spcPct val="80000"/>
              </a:lnSpc>
              <a:spcBef>
                <a:spcPct val="0"/>
              </a:spcBef>
              <a:spcAft>
                <a:spcPct val="0"/>
              </a:spcAft>
              <a:buClr>
                <a:schemeClr val="accent1"/>
              </a:buClr>
              <a:buSzPts val="4800"/>
              <a:buFont typeface="DM Sans"/>
              <a:buNone/>
              <a:defRPr sz="4800" b="1" i="0" u="none" strike="noStrike" cap="none">
                <a:solidFill>
                  <a:schemeClr val="accent1"/>
                </a:solidFill>
                <a:latin typeface="DM Sans"/>
                <a:ea typeface="DM Sans"/>
                <a:cs typeface="DM Sans"/>
                <a:sym typeface="DM Sans"/>
              </a:defRPr>
            </a:lvl6pPr>
            <a:lvl7pPr marR="0" lvl="6" algn="l" rtl="0">
              <a:lnSpc>
                <a:spcPct val="80000"/>
              </a:lnSpc>
              <a:spcBef>
                <a:spcPct val="0"/>
              </a:spcBef>
              <a:spcAft>
                <a:spcPct val="0"/>
              </a:spcAft>
              <a:buClr>
                <a:schemeClr val="accent1"/>
              </a:buClr>
              <a:buSzPts val="4800"/>
              <a:buFont typeface="DM Sans"/>
              <a:buNone/>
              <a:defRPr sz="4800" b="1" i="0" u="none" strike="noStrike" cap="none">
                <a:solidFill>
                  <a:schemeClr val="accent1"/>
                </a:solidFill>
                <a:latin typeface="DM Sans"/>
                <a:ea typeface="DM Sans"/>
                <a:cs typeface="DM Sans"/>
                <a:sym typeface="DM Sans"/>
              </a:defRPr>
            </a:lvl7pPr>
            <a:lvl8pPr marR="0" lvl="7" algn="l" rtl="0">
              <a:lnSpc>
                <a:spcPct val="80000"/>
              </a:lnSpc>
              <a:spcBef>
                <a:spcPct val="0"/>
              </a:spcBef>
              <a:spcAft>
                <a:spcPct val="0"/>
              </a:spcAft>
              <a:buClr>
                <a:schemeClr val="accent1"/>
              </a:buClr>
              <a:buSzPts val="4800"/>
              <a:buFont typeface="DM Sans"/>
              <a:buNone/>
              <a:defRPr sz="4800" b="1" i="0" u="none" strike="noStrike" cap="none">
                <a:solidFill>
                  <a:schemeClr val="accent1"/>
                </a:solidFill>
                <a:latin typeface="DM Sans"/>
                <a:ea typeface="DM Sans"/>
                <a:cs typeface="DM Sans"/>
                <a:sym typeface="DM Sans"/>
              </a:defRPr>
            </a:lvl8pPr>
            <a:lvl9pPr marR="0" lvl="8" algn="l" rtl="0">
              <a:lnSpc>
                <a:spcPct val="80000"/>
              </a:lnSpc>
              <a:spcBef>
                <a:spcPct val="0"/>
              </a:spcBef>
              <a:spcAft>
                <a:spcPct val="0"/>
              </a:spcAft>
              <a:buClr>
                <a:schemeClr val="accent1"/>
              </a:buClr>
              <a:buSzPts val="4800"/>
              <a:buFont typeface="DM Sans"/>
              <a:buNone/>
              <a:defRPr sz="4800" b="1" i="0" u="none" strike="noStrike" cap="none">
                <a:solidFill>
                  <a:schemeClr val="accent1"/>
                </a:solidFill>
                <a:latin typeface="DM Sans"/>
                <a:ea typeface="DM Sans"/>
                <a:cs typeface="DM Sans"/>
                <a:sym typeface="DM Sans"/>
              </a:defRPr>
            </a:lvl9pPr>
          </a:lstStyle>
          <a:p>
            <a:r>
              <a:rPr lang="es-PE" sz="6000">
                <a:solidFill>
                  <a:srgbClr val="00677F"/>
                </a:solidFill>
                <a:latin typeface="Arial (Títulos)"/>
                <a:cs typeface="Rubik" panose="020b0604020202020204" charset="-79"/>
              </a:rPr>
              <a:t>FUENTE</a:t>
            </a:r>
          </a:p>
        </p:txBody>
      </p:sp>
      <p:sp>
        <p:nvSpPr>
          <p:cNvPr id="12" name="Google Shape;270;p42"/>
          <p:cNvSpPr txBox="1"/>
          <p:nvPr userDrawn="1"/>
        </p:nvSpPr>
        <p:spPr>
          <a:xfrm>
            <a:off x="1170327" y="1991149"/>
            <a:ext cx="5543071" cy="565351"/>
          </a:xfrm>
          <a:prstGeom prst="rect">
            <a:avLst/>
          </a:prstGeom>
          <a:noFill/>
          <a:ln>
            <a:noFill/>
          </a:ln>
        </p:spPr>
        <p:txBody>
          <a:bodyPr spcFirstLastPara="1" wrap="square" lIns="121889" tIns="121889" rIns="121889" bIns="121889" anchor="t" anchorCtr="0">
            <a:noAutofit/>
          </a:bodyPr>
          <a:lstStyle/>
          <a:p>
            <a:r>
              <a:rPr lang="es-PE" sz="2133">
                <a:solidFill>
                  <a:srgbClr val="02BAC8"/>
                </a:solidFill>
                <a:latin typeface="Source Sans Pro" panose="020b0503030403020204" pitchFamily="34" charset="0"/>
                <a:ea typeface="Rubik"/>
                <a:cs typeface="Rubik" panose="020b0604020202020204" charset="-79"/>
                <a:sym typeface="Rubik"/>
              </a:rPr>
              <a:t>ELABORADO POR  </a:t>
            </a:r>
            <a:r>
              <a:rPr lang="es-PE" sz="2133">
                <a:solidFill>
                  <a:srgbClr val="02BAC8"/>
                </a:solidFill>
                <a:latin typeface="Source Sans Pro" panose="020b0503030403020204" pitchFamily="34" charset="0"/>
                <a:ea typeface="Montserrat"/>
                <a:cs typeface="Assistant Light" pitchFamily="2" charset="-79"/>
                <a:sym typeface="Montserrat"/>
              </a:rPr>
              <a:t>: </a:t>
            </a:r>
            <a:r>
              <a:rPr lang="es-PE" sz="2133">
                <a:latin typeface="Source Sans Pro" panose="020b0503030403020204" pitchFamily="34" charset="0"/>
                <a:ea typeface="Montserrat"/>
                <a:cs typeface="Kanit Light" panose="020b0604020202020204" charset="-34"/>
                <a:sym typeface="Montserrat"/>
              </a:rPr>
              <a:t>slidesppt.net</a:t>
            </a:r>
          </a:p>
          <a:p>
            <a:pPr lvl="0"/>
            <a:endParaRPr sz="2133" b="1">
              <a:solidFill>
                <a:srgbClr val="02FFB3"/>
              </a:solidFill>
              <a:latin typeface="Source Sans Pro" panose="020b0503030403020204" pitchFamily="34" charset="0"/>
              <a:ea typeface="Rubik"/>
              <a:cs typeface="Rubik"/>
              <a:sym typeface="Rubik"/>
            </a:endParaRPr>
          </a:p>
        </p:txBody>
      </p:sp>
      <p:grpSp>
        <p:nvGrpSpPr>
          <p:cNvPr id="4" name="Grupo 3">
            <a:extLst>
              <a:ext uri="{FF2B5EF4-FFF2-40B4-BE49-F238E27FC236}">
                <a16:creationId xmlns:a16="http://schemas.microsoft.com/office/drawing/2014/main" id="{ADD76EE0-86EE-4091-9946-7B9B8D3CFA51}"/>
              </a:ext>
            </a:extLst>
          </p:cNvPr>
          <p:cNvGrpSpPr/>
          <p:nvPr userDrawn="1"/>
        </p:nvGrpSpPr>
        <p:grpSpPr>
          <a:xfrm>
            <a:off x="1170327" y="2996905"/>
            <a:ext cx="3985230" cy="2125887"/>
            <a:chOff x="877424" y="2601843"/>
            <a:chExt cx="2989182" cy="1594553"/>
          </a:xfrm>
        </p:grpSpPr>
        <p:sp>
          <p:nvSpPr>
            <p:cNvPr id="14" name="Google Shape;272;p42"/>
            <p:cNvSpPr txBox="1"/>
            <p:nvPr/>
          </p:nvSpPr>
          <p:spPr>
            <a:xfrm>
              <a:off x="877424" y="2601843"/>
              <a:ext cx="2117100" cy="308700"/>
            </a:xfrm>
            <a:prstGeom prst="rect">
              <a:avLst/>
            </a:prstGeom>
            <a:noFill/>
            <a:ln>
              <a:noFill/>
            </a:ln>
          </p:spPr>
          <p:txBody>
            <a:bodyPr spcFirstLastPara="1" wrap="square" lIns="121889" tIns="121889" rIns="121889" bIns="121889" anchor="t" anchorCtr="0">
              <a:noAutofit/>
            </a:bodyPr>
            <a:lstStyle/>
            <a:p>
              <a:pPr lvl="0"/>
              <a:r>
                <a:rPr lang="es-PE" sz="2133">
                  <a:solidFill>
                    <a:srgbClr val="02BAC8"/>
                  </a:solidFill>
                  <a:latin typeface="Source Sans Pro" panose="020b0503030403020204" pitchFamily="34" charset="0"/>
                  <a:ea typeface="Rubik"/>
                  <a:cs typeface="Rubik" panose="020b0604020202020204" charset="-79"/>
                  <a:sym typeface="Rubik"/>
                </a:rPr>
                <a:t>IMAGES</a:t>
              </a:r>
              <a:r>
                <a:rPr lang="en" sz="2133">
                  <a:solidFill>
                    <a:srgbClr val="02BAC8"/>
                  </a:solidFill>
                  <a:latin typeface="Source Sans Pro" panose="020b0503030403020204" pitchFamily="34" charset="0"/>
                  <a:ea typeface="Rubik"/>
                  <a:cs typeface="Rubik" panose="020b0604020202020204" charset="-79"/>
                  <a:sym typeface="Rubik"/>
                </a:rPr>
                <a:t> :</a:t>
              </a:r>
              <a:endParaRPr sz="2133">
                <a:solidFill>
                  <a:srgbClr val="02BAC8"/>
                </a:solidFill>
                <a:latin typeface="Source Sans Pro" panose="020b0503030403020204" pitchFamily="34" charset="0"/>
                <a:ea typeface="Rubik"/>
                <a:cs typeface="Rubik"/>
                <a:sym typeface="Rubik"/>
              </a:endParaRPr>
            </a:p>
          </p:txBody>
        </p:sp>
        <p:sp>
          <p:nvSpPr>
            <p:cNvPr id="15" name="Google Shape;273;p42"/>
            <p:cNvSpPr txBox="1"/>
            <p:nvPr/>
          </p:nvSpPr>
          <p:spPr>
            <a:xfrm>
              <a:off x="877424" y="2910468"/>
              <a:ext cx="2989182" cy="1285928"/>
            </a:xfrm>
            <a:prstGeom prst="rect">
              <a:avLst/>
            </a:prstGeom>
            <a:noFill/>
            <a:ln>
              <a:noFill/>
            </a:ln>
          </p:spPr>
          <p:txBody>
            <a:bodyPr spcFirstLastPara="1" wrap="square" lIns="121889" tIns="121889" rIns="121889" bIns="121889" anchor="t" anchorCtr="0">
              <a:noAutofit/>
            </a:bodyPr>
            <a:lstStyle/>
            <a:p>
              <a:pPr marL="380956" indent="-380956">
                <a:buFont typeface="Arial" panose="020b0604020202020204" pitchFamily="34" charset="0"/>
                <a:buChar char="•"/>
              </a:pPr>
              <a:r>
                <a:rPr lang="es-PE" sz="2000">
                  <a:latin typeface="Source Sans Pro" panose="020b0503030403020204" pitchFamily="34" charset="0"/>
                  <a:ea typeface="Montserrat"/>
                  <a:cs typeface="Kanit Light" panose="020b0604020202020204" charset="-34"/>
                  <a:sym typeface="Montserrat"/>
                </a:rPr>
                <a:t>pixabay.com</a:t>
              </a:r>
            </a:p>
            <a:p>
              <a:pPr marL="380956" indent="-380956">
                <a:buFont typeface="Arial" panose="020b0604020202020204" pitchFamily="34" charset="0"/>
                <a:buChar char="•"/>
              </a:pPr>
              <a:r>
                <a:rPr lang="es-PE" sz="2000">
                  <a:latin typeface="Source Sans Pro" panose="020b0503030403020204" pitchFamily="34" charset="0"/>
                  <a:ea typeface="Montserrat"/>
                  <a:cs typeface="Kanit Light" panose="020b0604020202020204" charset="-34"/>
                  <a:sym typeface="Montserrat"/>
                </a:rPr>
                <a:t>pngegg.com</a:t>
              </a:r>
            </a:p>
            <a:p>
              <a:pPr marL="380956" indent="-380956">
                <a:buFont typeface="Arial" panose="020b0604020202020204" pitchFamily="34" charset="0"/>
                <a:buChar char="•"/>
              </a:pPr>
              <a:r>
                <a:rPr lang="es-PE" sz="2000">
                  <a:latin typeface="Source Sans Pro" panose="020b0503030403020204" pitchFamily="34" charset="0"/>
                  <a:ea typeface="Montserrat"/>
                  <a:cs typeface="Kanit Light" panose="020b0604020202020204" charset="-34"/>
                  <a:sym typeface="Montserrat"/>
                </a:rPr>
                <a:t>freepik.es</a:t>
              </a:r>
            </a:p>
            <a:p>
              <a:endParaRPr lang="es-PE" sz="2000">
                <a:latin typeface="Source Sans Pro" panose="020b0503030403020204" pitchFamily="34" charset="0"/>
                <a:ea typeface="Montserrat"/>
                <a:cs typeface="Kanit Light" panose="020b0604020202020204" charset="-34"/>
                <a:sym typeface="Montserrat"/>
              </a:endParaRPr>
            </a:p>
          </p:txBody>
        </p:sp>
      </p:grpSp>
      <p:sp>
        <p:nvSpPr>
          <p:cNvPr id="16" name="Google Shape;274;p42"/>
          <p:cNvSpPr txBox="1"/>
          <p:nvPr userDrawn="1"/>
        </p:nvSpPr>
        <p:spPr>
          <a:xfrm>
            <a:off x="1170327" y="4483485"/>
            <a:ext cx="2822555" cy="411564"/>
          </a:xfrm>
          <a:prstGeom prst="rect">
            <a:avLst/>
          </a:prstGeom>
          <a:noFill/>
          <a:ln>
            <a:noFill/>
          </a:ln>
        </p:spPr>
        <p:txBody>
          <a:bodyPr spcFirstLastPara="1" wrap="square" lIns="121889" tIns="121889" rIns="121889" bIns="121889" anchor="t" anchorCtr="0">
            <a:noAutofit/>
          </a:bodyPr>
          <a:lstStyle/>
          <a:p>
            <a:r>
              <a:rPr lang="en" sz="2133">
                <a:solidFill>
                  <a:srgbClr val="02BAC8"/>
                </a:solidFill>
                <a:latin typeface="Source Sans Pro" panose="020b0503030403020204" pitchFamily="34" charset="0"/>
                <a:ea typeface="Rubik"/>
                <a:cs typeface="Rubik" panose="020b0604020202020204" charset="-79"/>
                <a:sym typeface="Rubik"/>
              </a:rPr>
              <a:t>FONTS :</a:t>
            </a:r>
            <a:endParaRPr sz="2133">
              <a:solidFill>
                <a:srgbClr val="02BAC8"/>
              </a:solidFill>
              <a:latin typeface="Source Sans Pro" panose="020b0503030403020204" pitchFamily="34" charset="0"/>
              <a:ea typeface="Rubik"/>
              <a:cs typeface="Rubik" panose="020b0604020202020204" charset="-79"/>
              <a:sym typeface="Rubik"/>
            </a:endParaRPr>
          </a:p>
        </p:txBody>
      </p:sp>
      <p:sp>
        <p:nvSpPr>
          <p:cNvPr id="17" name="Google Shape;275;p42"/>
          <p:cNvSpPr txBox="1"/>
          <p:nvPr userDrawn="1"/>
        </p:nvSpPr>
        <p:spPr>
          <a:xfrm>
            <a:off x="1170327" y="4894950"/>
            <a:ext cx="3526862" cy="912721"/>
          </a:xfrm>
          <a:prstGeom prst="rect">
            <a:avLst/>
          </a:prstGeom>
          <a:noFill/>
          <a:ln>
            <a:noFill/>
          </a:ln>
        </p:spPr>
        <p:txBody>
          <a:bodyPr spcFirstLastPara="1" wrap="square" lIns="121889" tIns="121889" rIns="121889" bIns="121889" anchor="t" anchorCtr="0">
            <a:noAutofit/>
          </a:bodyPr>
          <a:lstStyle/>
          <a:p>
            <a:pPr marL="380956" indent="-380956">
              <a:buFont typeface="Arial" panose="020b0604020202020204" pitchFamily="34" charset="0"/>
              <a:buChar char="•"/>
            </a:pPr>
            <a:r>
              <a:rPr lang="es-PE" sz="2000">
                <a:latin typeface="Source Sans Pro" panose="020b0503030403020204" pitchFamily="34" charset="0"/>
                <a:ea typeface="Montserrat"/>
                <a:cs typeface="Kanit Light" panose="020b0604020202020204" charset="-34"/>
                <a:sym typeface="Montserrat"/>
              </a:rPr>
              <a:t>Segoe UI</a:t>
            </a:r>
          </a:p>
          <a:p>
            <a:pPr marL="380956" indent="-380956">
              <a:buFont typeface="Arial" panose="020b0604020202020204" pitchFamily="34" charset="0"/>
              <a:buChar char="•"/>
            </a:pPr>
            <a:r>
              <a:rPr lang="es-PE" sz="2000">
                <a:latin typeface="Source Sans Pro" panose="020b0503030403020204" pitchFamily="34" charset="0"/>
                <a:ea typeface="Montserrat"/>
                <a:cs typeface="Kanit Light" panose="020b0604020202020204" charset="-34"/>
                <a:sym typeface="Montserrat"/>
              </a:rPr>
              <a:t>Calibri (Cuerpo)</a:t>
            </a:r>
          </a:p>
        </p:txBody>
      </p:sp>
      <p:sp>
        <p:nvSpPr>
          <p:cNvPr id="18" name="TextBox 59">
            <a:extLst>
              <a:ext uri="{FF2B5EF4-FFF2-40B4-BE49-F238E27FC236}">
                <a16:creationId xmlns:a16="http://schemas.microsoft.com/office/drawing/2014/main" id="{6E6EB432-42F1-4645-91AE-46F9C6679D9A}"/>
              </a:ext>
            </a:extLst>
          </p:cNvPr>
          <p:cNvSpPr txBox="1"/>
          <p:nvPr userDrawn="1"/>
        </p:nvSpPr>
        <p:spPr>
          <a:xfrm>
            <a:off x="9885271" y="6470557"/>
            <a:ext cx="2231806" cy="307777"/>
          </a:xfrm>
          <a:prstGeom prst="rect">
            <a:avLst/>
          </a:prstGeom>
          <a:noFill/>
        </p:spPr>
        <p:txBody>
          <a:bodyPr wrap="square" rtlCol="0" anchor="ctr">
            <a:spAutoFit/>
          </a:bodyPr>
          <a:lstStyle/>
          <a:p>
            <a:pPr algn="r"/>
            <a:r>
              <a:rPr lang="en-US" altLang="ko-KR" sz="1400">
                <a:solidFill>
                  <a:srgbClr val="00677F"/>
                </a:solidFill>
                <a:latin typeface="Arial" panose="020b0604020202020204" pitchFamily="34" charset="0"/>
                <a:cs typeface="Arial" panose="020b0604020202020204" pitchFamily="34" charset="0"/>
              </a:rPr>
              <a:t>slidesppt.net</a:t>
            </a:r>
            <a:endParaRPr lang="ko-KR" altLang="en-US" sz="1400">
              <a:solidFill>
                <a:srgbClr val="00677F"/>
              </a:solidFill>
              <a:latin typeface="Arial" panose="020b0604020202020204" pitchFamily="34" charset="0"/>
              <a:cs typeface="Arial" panose="020b0604020202020204" pitchFamily="34" charset="0"/>
            </a:endParaRPr>
          </a:p>
        </p:txBody>
      </p:sp>
      <p:grpSp>
        <p:nvGrpSpPr>
          <p:cNvPr id="24" name="Gráfico 10">
            <a:extLst>
              <a:ext uri="{FF2B5EF4-FFF2-40B4-BE49-F238E27FC236}">
                <a16:creationId xmlns:a16="http://schemas.microsoft.com/office/drawing/2014/main" id="{0B92C103-B335-482C-91C3-ABCDF9BE6FCF}"/>
              </a:ext>
            </a:extLst>
          </p:cNvPr>
          <p:cNvGrpSpPr/>
          <p:nvPr userDrawn="1"/>
        </p:nvGrpSpPr>
        <p:grpSpPr>
          <a:xfrm>
            <a:off x="11420880" y="5850085"/>
            <a:ext cx="539891" cy="539891"/>
            <a:chOff x="627235" y="5458033"/>
            <a:chExt cx="849367" cy="849367"/>
          </a:xfrm>
          <a:solidFill>
            <a:srgbClr val="00BFF3"/>
          </a:solidFill>
        </p:grpSpPr>
        <p:sp>
          <p:nvSpPr>
            <p:cNvPr id="25" name="Forma libre: forma 30">
              <a:extLst>
                <a:ext uri="{FF2B5EF4-FFF2-40B4-BE49-F238E27FC236}">
                  <a16:creationId xmlns:a16="http://schemas.microsoft.com/office/drawing/2014/main" id="{ED8218C5-7565-472F-9A30-B07F56E15EE8}"/>
                </a:ext>
              </a:extLst>
            </p:cNvPr>
            <p:cNvSpPr/>
            <p:nvPr userDrawn="1"/>
          </p:nvSpPr>
          <p:spPr>
            <a:xfrm>
              <a:off x="627235" y="5458033"/>
              <a:ext cx="849367" cy="849367"/>
            </a:xfrm>
            <a:custGeom>
              <a:gdLst>
                <a:gd name="connsiteX0" fmla="*/ 849367 w 849367"/>
                <a:gd name="connsiteY0" fmla="*/ 424684 h 849367"/>
                <a:gd name="connsiteX1" fmla="*/ 424684 w 849367"/>
                <a:gd name="connsiteY1" fmla="*/ 849367 h 849367"/>
                <a:gd name="connsiteX2" fmla="*/ 0 w 849367"/>
                <a:gd name="connsiteY2" fmla="*/ 424684 h 849367"/>
                <a:gd name="connsiteX3" fmla="*/ 424684 w 849367"/>
                <a:gd name="connsiteY3" fmla="*/ 0 h 849367"/>
                <a:gd name="connsiteX4" fmla="*/ 849367 w 849367"/>
                <a:gd name="connsiteY4" fmla="*/ 424684 h 849367"/>
              </a:gdLst>
              <a:cxnLst>
                <a:cxn ang="0">
                  <a:pos x="connsiteX0" y="connsiteY0"/>
                </a:cxn>
                <a:cxn ang="0">
                  <a:pos x="connsiteX1" y="connsiteY1"/>
                </a:cxn>
                <a:cxn ang="0">
                  <a:pos x="connsiteX2" y="connsiteY2"/>
                </a:cxn>
                <a:cxn ang="0">
                  <a:pos x="connsiteX3" y="connsiteY3"/>
                </a:cxn>
                <a:cxn ang="0">
                  <a:pos x="connsiteX4" y="connsiteY4"/>
                </a:cxn>
              </a:cxnLst>
              <a:rect l="l" t="t" r="r" b="b"/>
              <a:pathLst>
                <a:path w="849367" h="849367">
                  <a:moveTo>
                    <a:pt x="849367" y="424684"/>
                  </a:moveTo>
                  <a:cubicBezTo>
                    <a:pt x="849367" y="659230"/>
                    <a:pt x="659230" y="849367"/>
                    <a:pt x="424684" y="849367"/>
                  </a:cubicBezTo>
                  <a:cubicBezTo>
                    <a:pt x="190137" y="849367"/>
                    <a:pt x="0" y="659230"/>
                    <a:pt x="0" y="424684"/>
                  </a:cubicBezTo>
                  <a:cubicBezTo>
                    <a:pt x="0" y="190137"/>
                    <a:pt x="190137" y="0"/>
                    <a:pt x="424684" y="0"/>
                  </a:cubicBezTo>
                  <a:cubicBezTo>
                    <a:pt x="659230" y="0"/>
                    <a:pt x="849367" y="190137"/>
                    <a:pt x="849367" y="424684"/>
                  </a:cubicBezTo>
                  <a:close/>
                </a:path>
              </a:pathLst>
            </a:custGeom>
            <a:solidFill>
              <a:srgbClr val="00677F"/>
            </a:solidFill>
            <a:ln w="2285" cap="flat">
              <a:noFill/>
              <a:prstDash val="solid"/>
              <a:miter/>
            </a:ln>
          </p:spPr>
          <p:txBody>
            <a:bodyPr rtlCol="0" anchor="ctr"/>
            <a:lstStyle/>
            <a:p>
              <a:endParaRPr lang="es-PE" sz="1400"/>
            </a:p>
          </p:txBody>
        </p:sp>
        <p:sp>
          <p:nvSpPr>
            <p:cNvPr id="26" name="Forma libre: forma 31">
              <a:extLst>
                <a:ext uri="{FF2B5EF4-FFF2-40B4-BE49-F238E27FC236}">
                  <a16:creationId xmlns:a16="http://schemas.microsoft.com/office/drawing/2014/main" id="{8572C50D-C910-41E4-92BA-57286595EB7A}"/>
                </a:ext>
              </a:extLst>
            </p:cNvPr>
            <p:cNvSpPr/>
            <p:nvPr/>
          </p:nvSpPr>
          <p:spPr>
            <a:xfrm>
              <a:off x="736500" y="5562370"/>
              <a:ext cx="662009" cy="640647"/>
            </a:xfrm>
            <a:custGeom>
              <a:gdLst>
                <a:gd name="connsiteX0" fmla="*/ 398577 w 662009"/>
                <a:gd name="connsiteY0" fmla="*/ 121941 h 640647"/>
                <a:gd name="connsiteX1" fmla="*/ 398577 w 662009"/>
                <a:gd name="connsiteY1" fmla="*/ 121941 h 640647"/>
                <a:gd name="connsiteX2" fmla="*/ 383196 w 662009"/>
                <a:gd name="connsiteY2" fmla="*/ 121941 h 640647"/>
                <a:gd name="connsiteX3" fmla="*/ 383219 w 662009"/>
                <a:gd name="connsiteY3" fmla="*/ 0 h 640647"/>
                <a:gd name="connsiteX4" fmla="*/ 0 w 662009"/>
                <a:gd name="connsiteY4" fmla="*/ 64133 h 640647"/>
                <a:gd name="connsiteX5" fmla="*/ 0 w 662009"/>
                <a:gd name="connsiteY5" fmla="*/ 576124 h 640647"/>
                <a:gd name="connsiteX6" fmla="*/ 383128 w 662009"/>
                <a:gd name="connsiteY6" fmla="*/ 640647 h 640647"/>
                <a:gd name="connsiteX7" fmla="*/ 383219 w 662009"/>
                <a:gd name="connsiteY7" fmla="*/ 122514 h 640647"/>
                <a:gd name="connsiteX8" fmla="*/ 398072 w 662009"/>
                <a:gd name="connsiteY8" fmla="*/ 122514 h 640647"/>
                <a:gd name="connsiteX9" fmla="*/ 398049 w 662009"/>
                <a:gd name="connsiteY9" fmla="*/ 152655 h 640647"/>
                <a:gd name="connsiteX10" fmla="*/ 630608 w 662009"/>
                <a:gd name="connsiteY10" fmla="*/ 152655 h 640647"/>
                <a:gd name="connsiteX11" fmla="*/ 630608 w 662009"/>
                <a:gd name="connsiteY11" fmla="*/ 440087 h 640647"/>
                <a:gd name="connsiteX12" fmla="*/ 614907 w 662009"/>
                <a:gd name="connsiteY12" fmla="*/ 440087 h 640647"/>
                <a:gd name="connsiteX13" fmla="*/ 614907 w 662009"/>
                <a:gd name="connsiteY13" fmla="*/ 168264 h 640647"/>
                <a:gd name="connsiteX14" fmla="*/ 397958 w 662009"/>
                <a:gd name="connsiteY14" fmla="*/ 168242 h 640647"/>
                <a:gd name="connsiteX15" fmla="*/ 397958 w 662009"/>
                <a:gd name="connsiteY15" fmla="*/ 208010 h 640647"/>
                <a:gd name="connsiteX16" fmla="*/ 413177 w 662009"/>
                <a:gd name="connsiteY16" fmla="*/ 206337 h 640647"/>
                <a:gd name="connsiteX17" fmla="*/ 427457 w 662009"/>
                <a:gd name="connsiteY17" fmla="*/ 205236 h 640647"/>
                <a:gd name="connsiteX18" fmla="*/ 427457 w 662009"/>
                <a:gd name="connsiteY18" fmla="*/ 287340 h 640647"/>
                <a:gd name="connsiteX19" fmla="*/ 511509 w 662009"/>
                <a:gd name="connsiteY19" fmla="*/ 287340 h 640647"/>
                <a:gd name="connsiteX20" fmla="*/ 497298 w 662009"/>
                <a:gd name="connsiteY20" fmla="*/ 333435 h 640647"/>
                <a:gd name="connsiteX21" fmla="*/ 455879 w 662009"/>
                <a:gd name="connsiteY21" fmla="*/ 363003 h 640647"/>
                <a:gd name="connsiteX22" fmla="*/ 421933 w 662009"/>
                <a:gd name="connsiteY22" fmla="*/ 366624 h 640647"/>
                <a:gd name="connsiteX23" fmla="*/ 397958 w 662009"/>
                <a:gd name="connsiteY23" fmla="*/ 363988 h 640647"/>
                <a:gd name="connsiteX24" fmla="*/ 397958 w 662009"/>
                <a:gd name="connsiteY24" fmla="*/ 394428 h 640647"/>
                <a:gd name="connsiteX25" fmla="*/ 548412 w 662009"/>
                <a:gd name="connsiteY25" fmla="*/ 394428 h 640647"/>
                <a:gd name="connsiteX26" fmla="*/ 548412 w 662009"/>
                <a:gd name="connsiteY26" fmla="*/ 423079 h 640647"/>
                <a:gd name="connsiteX27" fmla="*/ 397935 w 662009"/>
                <a:gd name="connsiteY27" fmla="*/ 423079 h 640647"/>
                <a:gd name="connsiteX28" fmla="*/ 397935 w 662009"/>
                <a:gd name="connsiteY28" fmla="*/ 449851 h 640647"/>
                <a:gd name="connsiteX29" fmla="*/ 547518 w 662009"/>
                <a:gd name="connsiteY29" fmla="*/ 449851 h 640647"/>
                <a:gd name="connsiteX30" fmla="*/ 547518 w 662009"/>
                <a:gd name="connsiteY30" fmla="*/ 480313 h 640647"/>
                <a:gd name="connsiteX31" fmla="*/ 397912 w 662009"/>
                <a:gd name="connsiteY31" fmla="*/ 480313 h 640647"/>
                <a:gd name="connsiteX32" fmla="*/ 397912 w 662009"/>
                <a:gd name="connsiteY32" fmla="*/ 515406 h 640647"/>
                <a:gd name="connsiteX33" fmla="*/ 614907 w 662009"/>
                <a:gd name="connsiteY33" fmla="*/ 515406 h 640647"/>
                <a:gd name="connsiteX34" fmla="*/ 614907 w 662009"/>
                <a:gd name="connsiteY34" fmla="*/ 440591 h 640647"/>
                <a:gd name="connsiteX35" fmla="*/ 630608 w 662009"/>
                <a:gd name="connsiteY35" fmla="*/ 440591 h 640647"/>
                <a:gd name="connsiteX36" fmla="*/ 630608 w 662009"/>
                <a:gd name="connsiteY36" fmla="*/ 440591 h 640647"/>
                <a:gd name="connsiteX37" fmla="*/ 662010 w 662009"/>
                <a:gd name="connsiteY37" fmla="*/ 440591 h 640647"/>
                <a:gd name="connsiteX38" fmla="*/ 662010 w 662009"/>
                <a:gd name="connsiteY38" fmla="*/ 122101 h 640647"/>
                <a:gd name="connsiteX39" fmla="*/ 398577 w 662009"/>
                <a:gd name="connsiteY39" fmla="*/ 121941 h 640647"/>
                <a:gd name="connsiteX40" fmla="*/ 267834 w 662009"/>
                <a:gd name="connsiteY40" fmla="*/ 452946 h 640647"/>
                <a:gd name="connsiteX41" fmla="*/ 177387 w 662009"/>
                <a:gd name="connsiteY41" fmla="*/ 482743 h 640647"/>
                <a:gd name="connsiteX42" fmla="*/ 90470 w 662009"/>
                <a:gd name="connsiteY42" fmla="*/ 460808 h 640647"/>
                <a:gd name="connsiteX43" fmla="*/ 86230 w 662009"/>
                <a:gd name="connsiteY43" fmla="*/ 457988 h 640647"/>
                <a:gd name="connsiteX44" fmla="*/ 100899 w 662009"/>
                <a:gd name="connsiteY44" fmla="*/ 409281 h 640647"/>
                <a:gd name="connsiteX45" fmla="*/ 108509 w 662009"/>
                <a:gd name="connsiteY45" fmla="*/ 413957 h 640647"/>
                <a:gd name="connsiteX46" fmla="*/ 180275 w 662009"/>
                <a:gd name="connsiteY46" fmla="*/ 434196 h 640647"/>
                <a:gd name="connsiteX47" fmla="*/ 241521 w 662009"/>
                <a:gd name="connsiteY47" fmla="*/ 385511 h 640647"/>
                <a:gd name="connsiteX48" fmla="*/ 184561 w 662009"/>
                <a:gd name="connsiteY48" fmla="*/ 327177 h 640647"/>
                <a:gd name="connsiteX49" fmla="*/ 94160 w 662009"/>
                <a:gd name="connsiteY49" fmla="*/ 228478 h 640647"/>
                <a:gd name="connsiteX50" fmla="*/ 206359 w 662009"/>
                <a:gd name="connsiteY50" fmla="*/ 133195 h 640647"/>
                <a:gd name="connsiteX51" fmla="*/ 281747 w 662009"/>
                <a:gd name="connsiteY51" fmla="*/ 150042 h 640647"/>
                <a:gd name="connsiteX52" fmla="*/ 286698 w 662009"/>
                <a:gd name="connsiteY52" fmla="*/ 152838 h 640647"/>
                <a:gd name="connsiteX53" fmla="*/ 270653 w 662009"/>
                <a:gd name="connsiteY53" fmla="*/ 200285 h 640647"/>
                <a:gd name="connsiteX54" fmla="*/ 263479 w 662009"/>
                <a:gd name="connsiteY54" fmla="*/ 196366 h 640647"/>
                <a:gd name="connsiteX55" fmla="*/ 204938 w 662009"/>
                <a:gd name="connsiteY55" fmla="*/ 181742 h 640647"/>
                <a:gd name="connsiteX56" fmla="*/ 150455 w 662009"/>
                <a:gd name="connsiteY56" fmla="*/ 223665 h 640647"/>
                <a:gd name="connsiteX57" fmla="*/ 210806 w 662009"/>
                <a:gd name="connsiteY57" fmla="*/ 280051 h 640647"/>
                <a:gd name="connsiteX58" fmla="*/ 298296 w 662009"/>
                <a:gd name="connsiteY58" fmla="*/ 382119 h 640647"/>
                <a:gd name="connsiteX59" fmla="*/ 267834 w 662009"/>
                <a:gd name="connsiteY59" fmla="*/ 452946 h 64064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662009" h="640647">
                  <a:moveTo>
                    <a:pt x="398577" y="121941"/>
                  </a:moveTo>
                  <a:lnTo>
                    <a:pt x="398577" y="121941"/>
                  </a:lnTo>
                  <a:lnTo>
                    <a:pt x="383196" y="121941"/>
                  </a:lnTo>
                  <a:cubicBezTo>
                    <a:pt x="383196" y="81301"/>
                    <a:pt x="383219" y="40662"/>
                    <a:pt x="383219" y="0"/>
                  </a:cubicBezTo>
                  <a:cubicBezTo>
                    <a:pt x="255480" y="21385"/>
                    <a:pt x="127740" y="42748"/>
                    <a:pt x="0" y="64133"/>
                  </a:cubicBezTo>
                  <a:cubicBezTo>
                    <a:pt x="0" y="234805"/>
                    <a:pt x="0" y="405476"/>
                    <a:pt x="0" y="576124"/>
                  </a:cubicBezTo>
                  <a:cubicBezTo>
                    <a:pt x="127717" y="597624"/>
                    <a:pt x="255411" y="619147"/>
                    <a:pt x="383128" y="640647"/>
                  </a:cubicBezTo>
                  <a:cubicBezTo>
                    <a:pt x="383151" y="467982"/>
                    <a:pt x="383196" y="295179"/>
                    <a:pt x="383219" y="122514"/>
                  </a:cubicBezTo>
                  <a:lnTo>
                    <a:pt x="398072" y="122514"/>
                  </a:lnTo>
                  <a:cubicBezTo>
                    <a:pt x="398072" y="132530"/>
                    <a:pt x="398049" y="142639"/>
                    <a:pt x="398049" y="152655"/>
                  </a:cubicBezTo>
                  <a:cubicBezTo>
                    <a:pt x="475569" y="152655"/>
                    <a:pt x="553088" y="152655"/>
                    <a:pt x="630608" y="152655"/>
                  </a:cubicBezTo>
                  <a:cubicBezTo>
                    <a:pt x="630608" y="248397"/>
                    <a:pt x="630608" y="344322"/>
                    <a:pt x="630608" y="440087"/>
                  </a:cubicBezTo>
                  <a:lnTo>
                    <a:pt x="614907" y="440087"/>
                  </a:lnTo>
                  <a:cubicBezTo>
                    <a:pt x="614907" y="349548"/>
                    <a:pt x="614907" y="258803"/>
                    <a:pt x="614907" y="168264"/>
                  </a:cubicBezTo>
                  <a:cubicBezTo>
                    <a:pt x="542590" y="168264"/>
                    <a:pt x="470274" y="168242"/>
                    <a:pt x="397958" y="168242"/>
                  </a:cubicBezTo>
                  <a:cubicBezTo>
                    <a:pt x="397958" y="181490"/>
                    <a:pt x="397958" y="194761"/>
                    <a:pt x="397958" y="208010"/>
                  </a:cubicBezTo>
                  <a:cubicBezTo>
                    <a:pt x="400296" y="207781"/>
                    <a:pt x="407149" y="206910"/>
                    <a:pt x="413177" y="206337"/>
                  </a:cubicBezTo>
                  <a:cubicBezTo>
                    <a:pt x="419435" y="205741"/>
                    <a:pt x="424890" y="205488"/>
                    <a:pt x="427457" y="205236"/>
                  </a:cubicBezTo>
                  <a:cubicBezTo>
                    <a:pt x="427457" y="232604"/>
                    <a:pt x="427457" y="259972"/>
                    <a:pt x="427457" y="287340"/>
                  </a:cubicBezTo>
                  <a:cubicBezTo>
                    <a:pt x="455467" y="287340"/>
                    <a:pt x="483499" y="287340"/>
                    <a:pt x="511509" y="287340"/>
                  </a:cubicBezTo>
                  <a:cubicBezTo>
                    <a:pt x="511601" y="294491"/>
                    <a:pt x="510867" y="314272"/>
                    <a:pt x="497298" y="333435"/>
                  </a:cubicBezTo>
                  <a:cubicBezTo>
                    <a:pt x="495648" y="335772"/>
                    <a:pt x="481551" y="355118"/>
                    <a:pt x="455879" y="363003"/>
                  </a:cubicBezTo>
                  <a:cubicBezTo>
                    <a:pt x="442677" y="367060"/>
                    <a:pt x="430597" y="366808"/>
                    <a:pt x="421933" y="366624"/>
                  </a:cubicBezTo>
                  <a:cubicBezTo>
                    <a:pt x="412100" y="366418"/>
                    <a:pt x="403894" y="365180"/>
                    <a:pt x="397958" y="363988"/>
                  </a:cubicBezTo>
                  <a:cubicBezTo>
                    <a:pt x="397958" y="374143"/>
                    <a:pt x="397958" y="384274"/>
                    <a:pt x="397958" y="394428"/>
                  </a:cubicBezTo>
                  <a:cubicBezTo>
                    <a:pt x="448109" y="394428"/>
                    <a:pt x="498261" y="394428"/>
                    <a:pt x="548412" y="394428"/>
                  </a:cubicBezTo>
                  <a:cubicBezTo>
                    <a:pt x="548412" y="403986"/>
                    <a:pt x="548412" y="413521"/>
                    <a:pt x="548412" y="423079"/>
                  </a:cubicBezTo>
                  <a:cubicBezTo>
                    <a:pt x="498261" y="423079"/>
                    <a:pt x="448086" y="423079"/>
                    <a:pt x="397935" y="423079"/>
                  </a:cubicBezTo>
                  <a:cubicBezTo>
                    <a:pt x="397935" y="431996"/>
                    <a:pt x="397935" y="440935"/>
                    <a:pt x="397935" y="449851"/>
                  </a:cubicBezTo>
                  <a:cubicBezTo>
                    <a:pt x="447788" y="449851"/>
                    <a:pt x="497665" y="449851"/>
                    <a:pt x="547518" y="449851"/>
                  </a:cubicBezTo>
                  <a:cubicBezTo>
                    <a:pt x="547518" y="460005"/>
                    <a:pt x="547518" y="470159"/>
                    <a:pt x="547518" y="480313"/>
                  </a:cubicBezTo>
                  <a:cubicBezTo>
                    <a:pt x="497642" y="480313"/>
                    <a:pt x="447765" y="480313"/>
                    <a:pt x="397912" y="480313"/>
                  </a:cubicBezTo>
                  <a:cubicBezTo>
                    <a:pt x="397912" y="492003"/>
                    <a:pt x="397912" y="503693"/>
                    <a:pt x="397912" y="515406"/>
                  </a:cubicBezTo>
                  <a:cubicBezTo>
                    <a:pt x="470251" y="515406"/>
                    <a:pt x="542567" y="515406"/>
                    <a:pt x="614907" y="515406"/>
                  </a:cubicBezTo>
                  <a:cubicBezTo>
                    <a:pt x="614907" y="490468"/>
                    <a:pt x="614907" y="465529"/>
                    <a:pt x="614907" y="440591"/>
                  </a:cubicBezTo>
                  <a:lnTo>
                    <a:pt x="630608" y="440591"/>
                  </a:lnTo>
                  <a:cubicBezTo>
                    <a:pt x="630608" y="440591"/>
                    <a:pt x="630608" y="440591"/>
                    <a:pt x="630608" y="440591"/>
                  </a:cubicBezTo>
                  <a:cubicBezTo>
                    <a:pt x="641083" y="440591"/>
                    <a:pt x="651535" y="440591"/>
                    <a:pt x="662010" y="440591"/>
                  </a:cubicBezTo>
                  <a:cubicBezTo>
                    <a:pt x="662010" y="334420"/>
                    <a:pt x="662010" y="228249"/>
                    <a:pt x="662010" y="122101"/>
                  </a:cubicBezTo>
                  <a:cubicBezTo>
                    <a:pt x="574199" y="122032"/>
                    <a:pt x="486388" y="121987"/>
                    <a:pt x="398577" y="121941"/>
                  </a:cubicBezTo>
                  <a:close/>
                  <a:moveTo>
                    <a:pt x="267834" y="452946"/>
                  </a:moveTo>
                  <a:cubicBezTo>
                    <a:pt x="246334" y="472451"/>
                    <a:pt x="215070" y="482743"/>
                    <a:pt x="177387" y="482743"/>
                  </a:cubicBezTo>
                  <a:cubicBezTo>
                    <a:pt x="145572" y="482743"/>
                    <a:pt x="109838" y="473735"/>
                    <a:pt x="90470" y="460808"/>
                  </a:cubicBezTo>
                  <a:lnTo>
                    <a:pt x="86230" y="457988"/>
                  </a:lnTo>
                  <a:lnTo>
                    <a:pt x="100899" y="409281"/>
                  </a:lnTo>
                  <a:lnTo>
                    <a:pt x="108509" y="413957"/>
                  </a:lnTo>
                  <a:cubicBezTo>
                    <a:pt x="129092" y="426632"/>
                    <a:pt x="155933" y="434196"/>
                    <a:pt x="180275" y="434196"/>
                  </a:cubicBezTo>
                  <a:cubicBezTo>
                    <a:pt x="218049" y="434196"/>
                    <a:pt x="241521" y="415538"/>
                    <a:pt x="241521" y="385511"/>
                  </a:cubicBezTo>
                  <a:cubicBezTo>
                    <a:pt x="241521" y="358625"/>
                    <a:pt x="226622" y="343359"/>
                    <a:pt x="184561" y="327177"/>
                  </a:cubicBezTo>
                  <a:cubicBezTo>
                    <a:pt x="122926" y="305333"/>
                    <a:pt x="94160" y="273954"/>
                    <a:pt x="94160" y="228478"/>
                  </a:cubicBezTo>
                  <a:cubicBezTo>
                    <a:pt x="94160" y="172367"/>
                    <a:pt x="140301" y="133195"/>
                    <a:pt x="206359" y="133195"/>
                  </a:cubicBezTo>
                  <a:cubicBezTo>
                    <a:pt x="246082" y="133195"/>
                    <a:pt x="270630" y="143739"/>
                    <a:pt x="281747" y="150042"/>
                  </a:cubicBezTo>
                  <a:lnTo>
                    <a:pt x="286698" y="152838"/>
                  </a:lnTo>
                  <a:lnTo>
                    <a:pt x="270653" y="200285"/>
                  </a:lnTo>
                  <a:lnTo>
                    <a:pt x="263479" y="196366"/>
                  </a:lnTo>
                  <a:cubicBezTo>
                    <a:pt x="251262" y="189696"/>
                    <a:pt x="231160" y="181742"/>
                    <a:pt x="204938" y="181742"/>
                  </a:cubicBezTo>
                  <a:cubicBezTo>
                    <a:pt x="167302" y="181742"/>
                    <a:pt x="150455" y="202807"/>
                    <a:pt x="150455" y="223665"/>
                  </a:cubicBezTo>
                  <a:cubicBezTo>
                    <a:pt x="150455" y="248672"/>
                    <a:pt x="165124" y="262379"/>
                    <a:pt x="210806" y="280051"/>
                  </a:cubicBezTo>
                  <a:cubicBezTo>
                    <a:pt x="272143" y="303729"/>
                    <a:pt x="298296" y="334260"/>
                    <a:pt x="298296" y="382119"/>
                  </a:cubicBezTo>
                  <a:cubicBezTo>
                    <a:pt x="298296" y="409968"/>
                    <a:pt x="287478" y="435113"/>
                    <a:pt x="267834" y="452946"/>
                  </a:cubicBezTo>
                  <a:close/>
                </a:path>
              </a:pathLst>
            </a:custGeom>
            <a:solidFill>
              <a:srgbClr val="FFFFFF"/>
            </a:solidFill>
            <a:ln w="2285" cap="flat">
              <a:noFill/>
              <a:prstDash val="solid"/>
              <a:miter/>
            </a:ln>
          </p:spPr>
          <p:txBody>
            <a:bodyPr rtlCol="0" anchor="ctr"/>
            <a:lstStyle/>
            <a:p>
              <a:endParaRPr lang="es-PE" sz="1400"/>
            </a:p>
          </p:txBody>
        </p:sp>
      </p:grpSp>
      <p:sp>
        <p:nvSpPr>
          <p:cNvPr id="2" name="Rectángulo: esquinas redondeadas 1">
            <a:extLst>
              <a:ext uri="{FF2B5EF4-FFF2-40B4-BE49-F238E27FC236}">
                <a16:creationId xmlns:a16="http://schemas.microsoft.com/office/drawing/2014/main" id="{4674A920-6485-9894-1379-315905CFBD28}"/>
              </a:ext>
            </a:extLst>
          </p:cNvPr>
          <p:cNvSpPr/>
          <p:nvPr/>
        </p:nvSpPr>
        <p:spPr>
          <a:xfrm>
            <a:off x="9681210" y="-62824"/>
            <a:ext cx="2510790" cy="350967"/>
          </a:xfrm>
          <a:prstGeom prst="roundRect">
            <a:avLst/>
          </a:prstGeom>
          <a:solidFill>
            <a:srgbClr val="00AB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grpSp>
        <p:nvGrpSpPr>
          <p:cNvPr id="3" name="Grupo 2">
            <a:extLst>
              <a:ext uri="{FF2B5EF4-FFF2-40B4-BE49-F238E27FC236}">
                <a16:creationId xmlns:a16="http://schemas.microsoft.com/office/drawing/2014/main" id="{D5407AFF-0661-7616-157E-C3CAE17A871B}"/>
              </a:ext>
            </a:extLst>
          </p:cNvPr>
          <p:cNvGrpSpPr/>
          <p:nvPr/>
        </p:nvGrpSpPr>
        <p:grpSpPr>
          <a:xfrm>
            <a:off x="217726" y="24829"/>
            <a:ext cx="792527" cy="1306401"/>
            <a:chOff x="283851" y="5461857"/>
            <a:chExt cx="846969" cy="1396143"/>
          </a:xfrm>
          <a:solidFill>
            <a:srgbClr val="06DBE7"/>
          </a:solidFill>
        </p:grpSpPr>
        <p:sp>
          <p:nvSpPr>
            <p:cNvPr id="5" name="Forma libre: forma 4">
              <a:extLst>
                <a:ext uri="{FF2B5EF4-FFF2-40B4-BE49-F238E27FC236}">
                  <a16:creationId xmlns:a16="http://schemas.microsoft.com/office/drawing/2014/main" id="{5C02ECE1-B788-BCCC-7F29-95B5801F36FE}"/>
                </a:ext>
              </a:extLst>
            </p:cNvPr>
            <p:cNvSpPr/>
            <p:nvPr/>
          </p:nvSpPr>
          <p:spPr>
            <a:xfrm>
              <a:off x="283851" y="5461857"/>
              <a:ext cx="846969" cy="468186"/>
            </a:xfrm>
            <a:custGeom>
              <a:gdLst>
                <a:gd name="connsiteX0" fmla="*/ 585515 w 846969"/>
                <a:gd name="connsiteY0" fmla="*/ 123160 h 468186"/>
                <a:gd name="connsiteX1" fmla="*/ 374091 w 846969"/>
                <a:gd name="connsiteY1" fmla="*/ 150510 h 468186"/>
                <a:gd name="connsiteX2" fmla="*/ 58700 w 846969"/>
                <a:gd name="connsiteY2" fmla="*/ 260683 h 468186"/>
                <a:gd name="connsiteX3" fmla="*/ 7105 w 846969"/>
                <a:gd name="connsiteY3" fmla="*/ 260683 h 468186"/>
                <a:gd name="connsiteX4" fmla="*/ 14476 w 846969"/>
                <a:gd name="connsiteY4" fmla="*/ 205208 h 468186"/>
                <a:gd name="connsiteX5" fmla="*/ 215232 w 846969"/>
                <a:gd name="connsiteY5" fmla="*/ 41694 h 468186"/>
                <a:gd name="connsiteX6" fmla="*/ 547303 w 846969"/>
                <a:gd name="connsiteY6" fmla="*/ 4259 h 468186"/>
                <a:gd name="connsiteX7" fmla="*/ 805280 w 846969"/>
                <a:gd name="connsiteY7" fmla="*/ 54302 h 468186"/>
                <a:gd name="connsiteX8" fmla="*/ 846788 w 846969"/>
                <a:gd name="connsiteY8" fmla="*/ 87470 h 468186"/>
                <a:gd name="connsiteX9" fmla="*/ 815366 w 846969"/>
                <a:gd name="connsiteY9" fmla="*/ 131307 h 468186"/>
                <a:gd name="connsiteX10" fmla="*/ 705968 w 846969"/>
                <a:gd name="connsiteY10" fmla="*/ 242644 h 468186"/>
                <a:gd name="connsiteX11" fmla="*/ 376612 w 846969"/>
                <a:gd name="connsiteY11" fmla="*/ 464348 h 468186"/>
                <a:gd name="connsiteX12" fmla="*/ 89735 w 846969"/>
                <a:gd name="connsiteY12" fmla="*/ 417990 h 468186"/>
                <a:gd name="connsiteX13" fmla="*/ 60058 w 846969"/>
                <a:gd name="connsiteY13" fmla="*/ 386762 h 468186"/>
                <a:gd name="connsiteX14" fmla="*/ 86826 w 846969"/>
                <a:gd name="connsiteY14" fmla="*/ 349326 h 468186"/>
                <a:gd name="connsiteX15" fmla="*/ 550407 w 846969"/>
                <a:gd name="connsiteY15" fmla="*/ 135186 h 468186"/>
                <a:gd name="connsiteX16" fmla="*/ 585321 w 846969"/>
                <a:gd name="connsiteY16" fmla="*/ 123160 h 46818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46969" h="468186">
                  <a:moveTo>
                    <a:pt x="585515" y="123160"/>
                  </a:moveTo>
                  <a:cubicBezTo>
                    <a:pt x="513747" y="122191"/>
                    <a:pt x="443531" y="133829"/>
                    <a:pt x="374091" y="150510"/>
                  </a:cubicBezTo>
                  <a:cubicBezTo>
                    <a:pt x="265275" y="176501"/>
                    <a:pt x="159757" y="212385"/>
                    <a:pt x="58700" y="260683"/>
                  </a:cubicBezTo>
                  <a:cubicBezTo>
                    <a:pt x="41631" y="268830"/>
                    <a:pt x="22816" y="281050"/>
                    <a:pt x="7105" y="260683"/>
                  </a:cubicBezTo>
                  <a:cubicBezTo>
                    <a:pt x="-7636" y="241480"/>
                    <a:pt x="3420" y="222278"/>
                    <a:pt x="14476" y="205208"/>
                  </a:cubicBezTo>
                  <a:cubicBezTo>
                    <a:pt x="63162" y="128591"/>
                    <a:pt x="132990" y="77578"/>
                    <a:pt x="215232" y="41694"/>
                  </a:cubicBezTo>
                  <a:cubicBezTo>
                    <a:pt x="322108" y="-5052"/>
                    <a:pt x="434802" y="-3694"/>
                    <a:pt x="547303" y="4259"/>
                  </a:cubicBezTo>
                  <a:cubicBezTo>
                    <a:pt x="634977" y="10660"/>
                    <a:pt x="720710" y="30638"/>
                    <a:pt x="805280" y="54302"/>
                  </a:cubicBezTo>
                  <a:cubicBezTo>
                    <a:pt x="823706" y="59345"/>
                    <a:pt x="844655" y="64000"/>
                    <a:pt x="846788" y="87470"/>
                  </a:cubicBezTo>
                  <a:cubicBezTo>
                    <a:pt x="848922" y="109583"/>
                    <a:pt x="831853" y="120639"/>
                    <a:pt x="815366" y="131307"/>
                  </a:cubicBezTo>
                  <a:cubicBezTo>
                    <a:pt x="770753" y="160402"/>
                    <a:pt x="734094" y="197450"/>
                    <a:pt x="705968" y="242644"/>
                  </a:cubicBezTo>
                  <a:cubicBezTo>
                    <a:pt x="629351" y="366007"/>
                    <a:pt x="524415" y="447279"/>
                    <a:pt x="376612" y="464348"/>
                  </a:cubicBezTo>
                  <a:cubicBezTo>
                    <a:pt x="276913" y="475792"/>
                    <a:pt x="180706" y="462021"/>
                    <a:pt x="89735" y="417990"/>
                  </a:cubicBezTo>
                  <a:cubicBezTo>
                    <a:pt x="75769" y="411201"/>
                    <a:pt x="60640" y="405188"/>
                    <a:pt x="60058" y="386762"/>
                  </a:cubicBezTo>
                  <a:cubicBezTo>
                    <a:pt x="59476" y="368141"/>
                    <a:pt x="72278" y="358248"/>
                    <a:pt x="86826" y="349326"/>
                  </a:cubicBezTo>
                  <a:cubicBezTo>
                    <a:pt x="232689" y="258937"/>
                    <a:pt x="387281" y="187945"/>
                    <a:pt x="550407" y="135186"/>
                  </a:cubicBezTo>
                  <a:cubicBezTo>
                    <a:pt x="562045" y="131501"/>
                    <a:pt x="573683" y="127234"/>
                    <a:pt x="585321" y="123160"/>
                  </a:cubicBezTo>
                  <a:close/>
                </a:path>
              </a:pathLst>
            </a:custGeom>
            <a:solidFill>
              <a:srgbClr val="00ABF7"/>
            </a:solidFill>
            <a:ln w="19266" cap="flat">
              <a:noFill/>
              <a:prstDash val="solid"/>
              <a:miter/>
            </a:ln>
          </p:spPr>
          <p:txBody>
            <a:bodyPr rtlCol="0" anchor="ctr"/>
            <a:lstStyle/>
            <a:p>
              <a:endParaRPr lang="es-PE"/>
            </a:p>
          </p:txBody>
        </p:sp>
        <p:sp>
          <p:nvSpPr>
            <p:cNvPr id="8" name="Forma libre: forma 7">
              <a:extLst>
                <a:ext uri="{FF2B5EF4-FFF2-40B4-BE49-F238E27FC236}">
                  <a16:creationId xmlns:a16="http://schemas.microsoft.com/office/drawing/2014/main" id="{F9C28A5B-919F-DF25-EC26-04B1E916C2DE}"/>
                </a:ext>
              </a:extLst>
            </p:cNvPr>
            <p:cNvSpPr/>
            <p:nvPr/>
          </p:nvSpPr>
          <p:spPr>
            <a:xfrm>
              <a:off x="507131" y="5943613"/>
              <a:ext cx="297179" cy="914387"/>
            </a:xfrm>
            <a:custGeom>
              <a:gdLst>
                <a:gd name="connsiteX0" fmla="*/ 76327 w 297179"/>
                <a:gd name="connsiteY0" fmla="*/ 250461 h 914387"/>
                <a:gd name="connsiteX1" fmla="*/ 87189 w 297179"/>
                <a:gd name="connsiteY1" fmla="*/ 213801 h 914387"/>
                <a:gd name="connsiteX2" fmla="*/ 91651 w 297179"/>
                <a:gd name="connsiteY2" fmla="*/ 56494 h 914387"/>
                <a:gd name="connsiteX3" fmla="*/ 107168 w 297179"/>
                <a:gd name="connsiteY3" fmla="*/ 30114 h 914387"/>
                <a:gd name="connsiteX4" fmla="*/ 134323 w 297179"/>
                <a:gd name="connsiteY4" fmla="*/ 56106 h 914387"/>
                <a:gd name="connsiteX5" fmla="*/ 139366 w 297179"/>
                <a:gd name="connsiteY5" fmla="*/ 216128 h 914387"/>
                <a:gd name="connsiteX6" fmla="*/ 149065 w 297179"/>
                <a:gd name="connsiteY6" fmla="*/ 248133 h 914387"/>
                <a:gd name="connsiteX7" fmla="*/ 159733 w 297179"/>
                <a:gd name="connsiteY7" fmla="*/ 208176 h 914387"/>
                <a:gd name="connsiteX8" fmla="*/ 161091 w 297179"/>
                <a:gd name="connsiteY8" fmla="*/ 65028 h 914387"/>
                <a:gd name="connsiteX9" fmla="*/ 161867 w 297179"/>
                <a:gd name="connsiteY9" fmla="*/ 42140 h 914387"/>
                <a:gd name="connsiteX10" fmla="*/ 189798 w 297179"/>
                <a:gd name="connsiteY10" fmla="*/ 20416 h 914387"/>
                <a:gd name="connsiteX11" fmla="*/ 205121 w 297179"/>
                <a:gd name="connsiteY11" fmla="*/ 42916 h 914387"/>
                <a:gd name="connsiteX12" fmla="*/ 208613 w 297179"/>
                <a:gd name="connsiteY12" fmla="*/ 214577 h 914387"/>
                <a:gd name="connsiteX13" fmla="*/ 218699 w 297179"/>
                <a:gd name="connsiteY13" fmla="*/ 245805 h 914387"/>
                <a:gd name="connsiteX14" fmla="*/ 229173 w 297179"/>
                <a:gd name="connsiteY14" fmla="*/ 214965 h 914387"/>
                <a:gd name="connsiteX15" fmla="*/ 234604 w 297179"/>
                <a:gd name="connsiteY15" fmla="*/ 37679 h 914387"/>
                <a:gd name="connsiteX16" fmla="*/ 235574 w 297179"/>
                <a:gd name="connsiteY16" fmla="*/ 20610 h 914387"/>
                <a:gd name="connsiteX17" fmla="*/ 266027 w 297179"/>
                <a:gd name="connsiteY17" fmla="*/ 49 h 914387"/>
                <a:gd name="connsiteX18" fmla="*/ 279217 w 297179"/>
                <a:gd name="connsiteY18" fmla="*/ 20998 h 914387"/>
                <a:gd name="connsiteX19" fmla="*/ 296480 w 297179"/>
                <a:gd name="connsiteY19" fmla="*/ 271991 h 914387"/>
                <a:gd name="connsiteX20" fmla="*/ 245660 w 297179"/>
                <a:gd name="connsiteY20" fmla="*/ 388953 h 914387"/>
                <a:gd name="connsiteX21" fmla="*/ 224518 w 297179"/>
                <a:gd name="connsiteY21" fmla="*/ 403695 h 914387"/>
                <a:gd name="connsiteX22" fmla="*/ 185337 w 297179"/>
                <a:gd name="connsiteY22" fmla="*/ 477984 h 914387"/>
                <a:gd name="connsiteX23" fmla="*/ 222384 w 297179"/>
                <a:gd name="connsiteY23" fmla="*/ 855637 h 914387"/>
                <a:gd name="connsiteX24" fmla="*/ 172535 w 297179"/>
                <a:gd name="connsiteY24" fmla="*/ 914216 h 914387"/>
                <a:gd name="connsiteX25" fmla="*/ 115315 w 297179"/>
                <a:gd name="connsiteY25" fmla="*/ 914216 h 914387"/>
                <a:gd name="connsiteX26" fmla="*/ 73806 w 297179"/>
                <a:gd name="connsiteY26" fmla="*/ 865918 h 914387"/>
                <a:gd name="connsiteX27" fmla="*/ 105228 w 297179"/>
                <a:gd name="connsiteY27" fmla="*/ 668265 h 914387"/>
                <a:gd name="connsiteX28" fmla="*/ 109496 w 297179"/>
                <a:gd name="connsiteY28" fmla="*/ 459557 h 914387"/>
                <a:gd name="connsiteX29" fmla="*/ 82728 w 297179"/>
                <a:gd name="connsiteY29" fmla="*/ 411259 h 914387"/>
                <a:gd name="connsiteX30" fmla="*/ 46068 w 297179"/>
                <a:gd name="connsiteY30" fmla="*/ 383716 h 914387"/>
                <a:gd name="connsiteX31" fmla="*/ 292 w 297179"/>
                <a:gd name="connsiteY31" fmla="*/ 284017 h 914387"/>
                <a:gd name="connsiteX32" fmla="*/ 16779 w 297179"/>
                <a:gd name="connsiteY32" fmla="*/ 50093 h 914387"/>
                <a:gd name="connsiteX33" fmla="*/ 37146 w 297179"/>
                <a:gd name="connsiteY33" fmla="*/ 27205 h 914387"/>
                <a:gd name="connsiteX34" fmla="*/ 64495 w 297179"/>
                <a:gd name="connsiteY34" fmla="*/ 52420 h 914387"/>
                <a:gd name="connsiteX35" fmla="*/ 66047 w 297179"/>
                <a:gd name="connsiteY35" fmla="*/ 204102 h 914387"/>
                <a:gd name="connsiteX36" fmla="*/ 76521 w 297179"/>
                <a:gd name="connsiteY36" fmla="*/ 250073 h 91438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97179" h="914387">
                  <a:moveTo>
                    <a:pt x="76327" y="250461"/>
                  </a:moveTo>
                  <a:cubicBezTo>
                    <a:pt x="90099" y="238823"/>
                    <a:pt x="86801" y="225633"/>
                    <a:pt x="87189" y="213801"/>
                  </a:cubicBezTo>
                  <a:cubicBezTo>
                    <a:pt x="88935" y="161430"/>
                    <a:pt x="90099" y="109059"/>
                    <a:pt x="91651" y="56494"/>
                  </a:cubicBezTo>
                  <a:cubicBezTo>
                    <a:pt x="92039" y="45050"/>
                    <a:pt x="91651" y="32830"/>
                    <a:pt x="107168" y="30114"/>
                  </a:cubicBezTo>
                  <a:cubicBezTo>
                    <a:pt x="127922" y="26817"/>
                    <a:pt x="133935" y="37291"/>
                    <a:pt x="134323" y="56106"/>
                  </a:cubicBezTo>
                  <a:cubicBezTo>
                    <a:pt x="135487" y="109447"/>
                    <a:pt x="137233" y="162788"/>
                    <a:pt x="139366" y="216128"/>
                  </a:cubicBezTo>
                  <a:cubicBezTo>
                    <a:pt x="139754" y="226603"/>
                    <a:pt x="135487" y="239210"/>
                    <a:pt x="149065" y="248133"/>
                  </a:cubicBezTo>
                  <a:cubicBezTo>
                    <a:pt x="160121" y="236495"/>
                    <a:pt x="159539" y="222141"/>
                    <a:pt x="159733" y="208176"/>
                  </a:cubicBezTo>
                  <a:cubicBezTo>
                    <a:pt x="160315" y="160460"/>
                    <a:pt x="160703" y="112744"/>
                    <a:pt x="161091" y="65028"/>
                  </a:cubicBezTo>
                  <a:cubicBezTo>
                    <a:pt x="161091" y="57463"/>
                    <a:pt x="161479" y="49705"/>
                    <a:pt x="161867" y="42140"/>
                  </a:cubicBezTo>
                  <a:cubicBezTo>
                    <a:pt x="162643" y="24101"/>
                    <a:pt x="175832" y="20804"/>
                    <a:pt x="189798" y="20416"/>
                  </a:cubicBezTo>
                  <a:cubicBezTo>
                    <a:pt x="205509" y="19834"/>
                    <a:pt x="204927" y="33218"/>
                    <a:pt x="205121" y="42916"/>
                  </a:cubicBezTo>
                  <a:cubicBezTo>
                    <a:pt x="206673" y="100136"/>
                    <a:pt x="207255" y="157356"/>
                    <a:pt x="208613" y="214577"/>
                  </a:cubicBezTo>
                  <a:cubicBezTo>
                    <a:pt x="209001" y="226021"/>
                    <a:pt x="204733" y="245805"/>
                    <a:pt x="218699" y="245805"/>
                  </a:cubicBezTo>
                  <a:cubicBezTo>
                    <a:pt x="233440" y="245805"/>
                    <a:pt x="228591" y="226215"/>
                    <a:pt x="229173" y="214965"/>
                  </a:cubicBezTo>
                  <a:cubicBezTo>
                    <a:pt x="231501" y="155805"/>
                    <a:pt x="232859" y="96839"/>
                    <a:pt x="234604" y="37679"/>
                  </a:cubicBezTo>
                  <a:cubicBezTo>
                    <a:pt x="234604" y="32054"/>
                    <a:pt x="234604" y="26041"/>
                    <a:pt x="235574" y="20610"/>
                  </a:cubicBezTo>
                  <a:cubicBezTo>
                    <a:pt x="238872" y="3929"/>
                    <a:pt x="252837" y="1019"/>
                    <a:pt x="266027" y="49"/>
                  </a:cubicBezTo>
                  <a:cubicBezTo>
                    <a:pt x="280574" y="-921"/>
                    <a:pt x="278635" y="12657"/>
                    <a:pt x="279217" y="20998"/>
                  </a:cubicBezTo>
                  <a:cubicBezTo>
                    <a:pt x="285036" y="104597"/>
                    <a:pt x="288915" y="188585"/>
                    <a:pt x="296480" y="271991"/>
                  </a:cubicBezTo>
                  <a:cubicBezTo>
                    <a:pt x="300941" y="321840"/>
                    <a:pt x="284066" y="359470"/>
                    <a:pt x="245660" y="388953"/>
                  </a:cubicBezTo>
                  <a:cubicBezTo>
                    <a:pt x="238872" y="394190"/>
                    <a:pt x="231695" y="399039"/>
                    <a:pt x="224518" y="403695"/>
                  </a:cubicBezTo>
                  <a:cubicBezTo>
                    <a:pt x="197363" y="421151"/>
                    <a:pt x="186694" y="445397"/>
                    <a:pt x="185337" y="477984"/>
                  </a:cubicBezTo>
                  <a:cubicBezTo>
                    <a:pt x="179906" y="605808"/>
                    <a:pt x="198332" y="730917"/>
                    <a:pt x="222384" y="855637"/>
                  </a:cubicBezTo>
                  <a:cubicBezTo>
                    <a:pt x="231307" y="901995"/>
                    <a:pt x="220445" y="914022"/>
                    <a:pt x="172535" y="914216"/>
                  </a:cubicBezTo>
                  <a:cubicBezTo>
                    <a:pt x="153526" y="914216"/>
                    <a:pt x="134323" y="914603"/>
                    <a:pt x="115315" y="914216"/>
                  </a:cubicBezTo>
                  <a:cubicBezTo>
                    <a:pt x="80207" y="913440"/>
                    <a:pt x="68569" y="900444"/>
                    <a:pt x="73806" y="865918"/>
                  </a:cubicBezTo>
                  <a:cubicBezTo>
                    <a:pt x="83892" y="799969"/>
                    <a:pt x="96112" y="734408"/>
                    <a:pt x="105228" y="668265"/>
                  </a:cubicBezTo>
                  <a:cubicBezTo>
                    <a:pt x="114733" y="599019"/>
                    <a:pt x="109883" y="529191"/>
                    <a:pt x="109496" y="459557"/>
                  </a:cubicBezTo>
                  <a:cubicBezTo>
                    <a:pt x="109496" y="439578"/>
                    <a:pt x="99603" y="423091"/>
                    <a:pt x="82728" y="411259"/>
                  </a:cubicBezTo>
                  <a:cubicBezTo>
                    <a:pt x="70314" y="402531"/>
                    <a:pt x="58094" y="393220"/>
                    <a:pt x="46068" y="383716"/>
                  </a:cubicBezTo>
                  <a:cubicBezTo>
                    <a:pt x="13870" y="358306"/>
                    <a:pt x="-2423" y="325332"/>
                    <a:pt x="292" y="284017"/>
                  </a:cubicBezTo>
                  <a:cubicBezTo>
                    <a:pt x="5529" y="206042"/>
                    <a:pt x="11348" y="128067"/>
                    <a:pt x="16779" y="50093"/>
                  </a:cubicBezTo>
                  <a:cubicBezTo>
                    <a:pt x="17749" y="36903"/>
                    <a:pt x="18137" y="25265"/>
                    <a:pt x="37146" y="27205"/>
                  </a:cubicBezTo>
                  <a:cubicBezTo>
                    <a:pt x="53633" y="28950"/>
                    <a:pt x="64301" y="33412"/>
                    <a:pt x="64495" y="52420"/>
                  </a:cubicBezTo>
                  <a:cubicBezTo>
                    <a:pt x="64495" y="103046"/>
                    <a:pt x="65465" y="153477"/>
                    <a:pt x="66047" y="204102"/>
                  </a:cubicBezTo>
                  <a:cubicBezTo>
                    <a:pt x="66047" y="219038"/>
                    <a:pt x="65465" y="234361"/>
                    <a:pt x="76521" y="250073"/>
                  </a:cubicBezTo>
                  <a:close/>
                </a:path>
              </a:pathLst>
            </a:custGeom>
            <a:solidFill>
              <a:schemeClr val="bg1">
                <a:lumMod val="65000"/>
              </a:schemeClr>
            </a:solidFill>
            <a:ln w="19266" cap="flat">
              <a:noFill/>
              <a:prstDash val="solid"/>
              <a:miter/>
            </a:ln>
          </p:spPr>
          <p:txBody>
            <a:bodyPr rtlCol="0" anchor="ctr"/>
            <a:lstStyle/>
            <a:p>
              <a:endParaRPr lang="es-PE"/>
            </a:p>
          </p:txBody>
        </p:sp>
      </p:grpSp>
      <p:pic>
        <p:nvPicPr>
          <p:cNvPr id="11" name="Imagen 10">
            <a:extLst>
              <a:ext uri="{FF2B5EF4-FFF2-40B4-BE49-F238E27FC236}">
                <a16:creationId xmlns:a16="http://schemas.microsoft.com/office/drawing/2014/main" id="{9F0CB1C2-CAD1-DCED-2DDC-B9CEADDB4C1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06826" y="195733"/>
            <a:ext cx="6047883" cy="5857487"/>
          </a:xfrm>
          <a:prstGeom prst="rect">
            <a:avLst/>
          </a:prstGeom>
        </p:spPr>
      </p:pic>
      <p:sp>
        <p:nvSpPr>
          <p:cNvPr id="19" name="TextBox 9">
            <a:extLst>
              <a:ext uri="{FF2B5EF4-FFF2-40B4-BE49-F238E27FC236}">
                <a16:creationId xmlns:a16="http://schemas.microsoft.com/office/drawing/2014/main" id="{AE304756-01D5-8BFD-35C8-E9A4982716A4}"/>
              </a:ext>
            </a:extLst>
          </p:cNvPr>
          <p:cNvSpPr txBox="1"/>
          <p:nvPr/>
        </p:nvSpPr>
        <p:spPr>
          <a:xfrm>
            <a:off x="5959047" y="4654935"/>
            <a:ext cx="3098605" cy="738664"/>
          </a:xfrm>
          <a:prstGeom prst="rect">
            <a:avLst/>
          </a:prstGeom>
          <a:noFill/>
        </p:spPr>
        <p:txBody>
          <a:bodyPr wrap="none" lIns="0" tIns="0" rIns="0" bIns="0" rtlCol="0">
            <a:spAutoFit/>
          </a:bodyPr>
          <a:lstStyle/>
          <a:p>
            <a:r>
              <a:rPr lang="en-US" sz="4800" b="1">
                <a:solidFill>
                  <a:schemeClr val="bg1">
                    <a:lumMod val="95000"/>
                  </a:schemeClr>
                </a:solidFill>
                <a:latin typeface="Segoe UI" panose="020b0502040204020203" pitchFamily="34" charset="0"/>
                <a:cs typeface="Segoe UI" panose="020b0502040204020203" pitchFamily="34" charset="0"/>
              </a:rPr>
              <a:t>BAHAMAS</a:t>
            </a:r>
          </a:p>
        </p:txBody>
      </p:sp>
      <p:sp>
        <p:nvSpPr>
          <p:cNvPr id="20" name="TextBox 9">
            <a:extLst>
              <a:ext uri="{FF2B5EF4-FFF2-40B4-BE49-F238E27FC236}">
                <a16:creationId xmlns:a16="http://schemas.microsoft.com/office/drawing/2014/main" id="{44EE5E7F-43F5-30AB-DC2B-4502D969AB13}"/>
              </a:ext>
            </a:extLst>
          </p:cNvPr>
          <p:cNvSpPr txBox="1"/>
          <p:nvPr/>
        </p:nvSpPr>
        <p:spPr>
          <a:xfrm>
            <a:off x="6459928" y="5291576"/>
            <a:ext cx="2068067" cy="430887"/>
          </a:xfrm>
          <a:prstGeom prst="rect">
            <a:avLst/>
          </a:prstGeom>
          <a:noFill/>
        </p:spPr>
        <p:txBody>
          <a:bodyPr wrap="none" lIns="0" tIns="0" rIns="0" bIns="0" rtlCol="0">
            <a:spAutoFit/>
          </a:bodyPr>
          <a:lstStyle/>
          <a:p>
            <a:pPr algn="ctr"/>
            <a:r>
              <a:rPr lang="en-US" sz="2800" b="1">
                <a:solidFill>
                  <a:srgbClr val="02BAC8"/>
                </a:solidFill>
                <a:latin typeface="Segoe UI" panose="020b0502040204020203" pitchFamily="34" charset="0"/>
                <a:cs typeface="Segoe UI" panose="020b0502040204020203" pitchFamily="34" charset="0"/>
              </a:rPr>
              <a:t>Gastronomy</a:t>
            </a:r>
          </a:p>
        </p:txBody>
      </p:sp>
    </p:spTree>
    <p:extLst>
      <p:ext uri="{BB962C8B-B14F-4D97-AF65-F5344CB8AC3E}">
        <p14:creationId xmlns:p14="http://schemas.microsoft.com/office/powerpoint/2010/main" val="2023854229"/>
      </p:ext>
    </p:extLst>
  </p:cSld>
  <p:clrMapOvr>
    <a:masterClrMapping/>
  </p:clrMapOvr>
  <p:transition/>
  <p:timing/>
</p:sld>
</file>

<file path=ppt/slides/slide21.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ext Placeholder 1"/>
          <p:cNvSpPr>
            <a:spLocks noGrp="1"/>
          </p:cNvSpPr>
          <p:nvPr>
            <p:ph type="body" sz="quarter" idx="10"/>
          </p:nvPr>
        </p:nvSpPr>
        <p:spPr/>
        <p:txBody>
          <a:bodyPr>
            <a:normAutofit lnSpcReduction="10000"/>
          </a:bodyPr>
          <a:lstStyle/>
          <a:p>
            <a:r>
              <a:rPr lang="en-US" sz="4800">
                <a:latin typeface="+mn-lt"/>
              </a:rPr>
              <a:t>Fully Editable Icon Sets: A</a:t>
            </a:r>
          </a:p>
        </p:txBody>
      </p:sp>
      <p:sp>
        <p:nvSpPr>
          <p:cNvPr id="54" name="Diamond 5">
            <a:extLst>
              <a:ext uri="{FF2B5EF4-FFF2-40B4-BE49-F238E27FC236}">
                <a16:creationId xmlns:a16="http://schemas.microsoft.com/office/drawing/2014/main" id="{AEDEE15B-09BE-4416-8D55-46095E20C00D}"/>
              </a:ext>
            </a:extLst>
          </p:cNvPr>
          <p:cNvSpPr/>
          <p:nvPr/>
        </p:nvSpPr>
        <p:spPr>
          <a:xfrm>
            <a:off x="6112072" y="1492324"/>
            <a:ext cx="523103" cy="524649"/>
          </a:xfrm>
          <a:custGeom>
            <a:rect l="l" t="t" r="r" b="b"/>
            <a:pathLst>
              <a:path w="3240001" h="3249575">
                <a:moveTo>
                  <a:pt x="1275349" y="2002569"/>
                </a:moveTo>
                <a:lnTo>
                  <a:pt x="1625117" y="2233002"/>
                </a:lnTo>
                <a:lnTo>
                  <a:pt x="1968772" y="2006596"/>
                </a:lnTo>
                <a:lnTo>
                  <a:pt x="3240001" y="3249575"/>
                </a:lnTo>
                <a:lnTo>
                  <a:pt x="0" y="3249575"/>
                </a:lnTo>
                <a:close/>
                <a:moveTo>
                  <a:pt x="1067116" y="1473605"/>
                </a:moveTo>
                <a:lnTo>
                  <a:pt x="1067116" y="1581605"/>
                </a:lnTo>
                <a:lnTo>
                  <a:pt x="2183116" y="1581605"/>
                </a:lnTo>
                <a:lnTo>
                  <a:pt x="2183116" y="1473605"/>
                </a:lnTo>
                <a:close/>
                <a:moveTo>
                  <a:pt x="1067116" y="1267205"/>
                </a:moveTo>
                <a:lnTo>
                  <a:pt x="1067116" y="1375205"/>
                </a:lnTo>
                <a:lnTo>
                  <a:pt x="2183116" y="1375205"/>
                </a:lnTo>
                <a:lnTo>
                  <a:pt x="2183116" y="1267205"/>
                </a:lnTo>
                <a:close/>
                <a:moveTo>
                  <a:pt x="3240001" y="1172196"/>
                </a:moveTo>
                <a:lnTo>
                  <a:pt x="3240001" y="3142550"/>
                </a:lnTo>
                <a:lnTo>
                  <a:pt x="2026252" y="1968728"/>
                </a:lnTo>
                <a:lnTo>
                  <a:pt x="3049854" y="1294362"/>
                </a:lnTo>
                <a:close/>
                <a:moveTo>
                  <a:pt x="0" y="1172196"/>
                </a:moveTo>
                <a:lnTo>
                  <a:pt x="602850" y="1559516"/>
                </a:lnTo>
                <a:lnTo>
                  <a:pt x="1217896" y="1964719"/>
                </a:lnTo>
                <a:lnTo>
                  <a:pt x="0" y="3142550"/>
                </a:lnTo>
                <a:close/>
                <a:moveTo>
                  <a:pt x="1067116" y="1060805"/>
                </a:moveTo>
                <a:lnTo>
                  <a:pt x="1067116" y="1168805"/>
                </a:lnTo>
                <a:lnTo>
                  <a:pt x="2183116" y="1168805"/>
                </a:lnTo>
                <a:lnTo>
                  <a:pt x="2183116" y="1060805"/>
                </a:lnTo>
                <a:close/>
                <a:moveTo>
                  <a:pt x="869032" y="816137"/>
                </a:moveTo>
                <a:lnTo>
                  <a:pt x="2381200" y="816137"/>
                </a:lnTo>
                <a:lnTo>
                  <a:pt x="2381200" y="1623491"/>
                </a:lnTo>
                <a:lnTo>
                  <a:pt x="1668045" y="2093329"/>
                </a:lnTo>
                <a:lnTo>
                  <a:pt x="1625116" y="2121611"/>
                </a:lnTo>
                <a:lnTo>
                  <a:pt x="869032" y="1623491"/>
                </a:lnTo>
                <a:close/>
                <a:moveTo>
                  <a:pt x="1625116" y="0"/>
                </a:moveTo>
                <a:lnTo>
                  <a:pt x="3235286" y="1060806"/>
                </a:lnTo>
                <a:lnTo>
                  <a:pt x="2489212" y="1552331"/>
                </a:lnTo>
                <a:lnTo>
                  <a:pt x="2489212" y="708008"/>
                </a:lnTo>
                <a:lnTo>
                  <a:pt x="761020" y="708008"/>
                </a:lnTo>
                <a:lnTo>
                  <a:pt x="761020" y="1552331"/>
                </a:lnTo>
                <a:lnTo>
                  <a:pt x="14946" y="1060806"/>
                </a:ln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a:endParaRPr lang="ko-KR" altLang="en-US" sz="1400">
              <a:solidFill>
                <a:srgbClr val="AE4500"/>
              </a:solidFill>
            </a:endParaRPr>
          </a:p>
        </p:txBody>
      </p:sp>
      <p:sp>
        <p:nvSpPr>
          <p:cNvPr id="55" name="Isosceles Triangle 51">
            <a:extLst>
              <a:ext uri="{FF2B5EF4-FFF2-40B4-BE49-F238E27FC236}">
                <a16:creationId xmlns:a16="http://schemas.microsoft.com/office/drawing/2014/main" id="{2296D13E-298C-4F01-A77D-43547A7AEFA9}"/>
              </a:ext>
            </a:extLst>
          </p:cNvPr>
          <p:cNvSpPr/>
          <p:nvPr/>
        </p:nvSpPr>
        <p:spPr>
          <a:xfrm>
            <a:off x="5273390" y="1562848"/>
            <a:ext cx="523101" cy="383594"/>
          </a:xfrm>
          <a:custGeom>
            <a:rect l="l" t="t" r="r" b="b"/>
            <a:pathLst>
              <a:path w="3240001" h="2375905">
                <a:moveTo>
                  <a:pt x="1974640" y="1379575"/>
                </a:moveTo>
                <a:lnTo>
                  <a:pt x="3240001" y="2375905"/>
                </a:lnTo>
                <a:lnTo>
                  <a:pt x="1" y="2375905"/>
                </a:lnTo>
                <a:lnTo>
                  <a:pt x="1269863" y="1399042"/>
                </a:lnTo>
                <a:lnTo>
                  <a:pt x="1610574" y="1745545"/>
                </a:lnTo>
                <a:close/>
                <a:moveTo>
                  <a:pt x="3240001" y="126952"/>
                </a:moveTo>
                <a:lnTo>
                  <a:pt x="3240001" y="2258912"/>
                </a:lnTo>
                <a:lnTo>
                  <a:pt x="2032457" y="1334195"/>
                </a:lnTo>
                <a:close/>
                <a:moveTo>
                  <a:pt x="0" y="117525"/>
                </a:moveTo>
                <a:lnTo>
                  <a:pt x="1207545" y="1324768"/>
                </a:lnTo>
                <a:lnTo>
                  <a:pt x="0" y="2249485"/>
                </a:lnTo>
                <a:close/>
                <a:moveTo>
                  <a:pt x="0" y="0"/>
                </a:moveTo>
                <a:lnTo>
                  <a:pt x="3240000" y="0"/>
                </a:lnTo>
                <a:lnTo>
                  <a:pt x="1610572" y="1620513"/>
                </a:ln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a:endParaRPr lang="ko-KR" altLang="en-US" sz="1400">
              <a:solidFill>
                <a:srgbClr val="AE4500"/>
              </a:solidFill>
            </a:endParaRPr>
          </a:p>
        </p:txBody>
      </p:sp>
      <p:sp>
        <p:nvSpPr>
          <p:cNvPr id="56" name="Isosceles Triangle 57">
            <a:extLst>
              <a:ext uri="{FF2B5EF4-FFF2-40B4-BE49-F238E27FC236}">
                <a16:creationId xmlns:a16="http://schemas.microsoft.com/office/drawing/2014/main" id="{4E76B488-B2CD-463B-861A-27D4912FE160}"/>
              </a:ext>
            </a:extLst>
          </p:cNvPr>
          <p:cNvSpPr/>
          <p:nvPr/>
        </p:nvSpPr>
        <p:spPr>
          <a:xfrm>
            <a:off x="6114155" y="4520111"/>
            <a:ext cx="313106" cy="707837"/>
          </a:xfrm>
          <a:custGeom>
            <a:gdLst>
              <a:gd name="connsiteX0" fmla="*/ 1148449 w 1346449"/>
              <a:gd name="connsiteY0" fmla="*/ 2374775 h 3166775"/>
              <a:gd name="connsiteX1" fmla="*/ 198001 w 1346449"/>
              <a:gd name="connsiteY1" fmla="*/ 2374775 h 3166775"/>
              <a:gd name="connsiteX2" fmla="*/ 1 w 1346449"/>
              <a:gd name="connsiteY2" fmla="*/ 3166775 h 3166775"/>
              <a:gd name="connsiteX3" fmla="*/ 1346449 w 1346449"/>
              <a:gd name="connsiteY3" fmla="*/ 3166775 h 3166775"/>
              <a:gd name="connsiteX4" fmla="*/ 1148449 w 1346449"/>
              <a:gd name="connsiteY4" fmla="*/ 2374775 h 3166775"/>
              <a:gd name="connsiteX5" fmla="*/ 755186 w 1346449"/>
              <a:gd name="connsiteY5" fmla="*/ 0 h 3166775"/>
              <a:gd name="connsiteX6" fmla="*/ 734449 w 1346449"/>
              <a:gd name="connsiteY6" fmla="*/ 1231644 h 3166775"/>
              <a:gd name="connsiteX7" fmla="*/ 853246 w 1346449"/>
              <a:gd name="connsiteY7" fmla="*/ 1400264 h 3166775"/>
              <a:gd name="connsiteX8" fmla="*/ 673226 w 1346449"/>
              <a:gd name="connsiteY8" fmla="*/ 1580284 h 3166775"/>
              <a:gd name="connsiteX9" fmla="*/ 493206 w 1346449"/>
              <a:gd name="connsiteY9" fmla="*/ 1400264 h 3166775"/>
              <a:gd name="connsiteX10" fmla="*/ 612000 w 1346449"/>
              <a:gd name="connsiteY10" fmla="*/ 1231645 h 3166775"/>
              <a:gd name="connsiteX11" fmla="*/ 591263 w 1346449"/>
              <a:gd name="connsiteY11" fmla="*/ 10368 h 3166775"/>
              <a:gd name="connsiteX12" fmla="*/ 2939 w 1346449"/>
              <a:gd name="connsiteY12" fmla="*/ 1491744 h 3166775"/>
              <a:gd name="connsiteX13" fmla="*/ 0 w 1346449"/>
              <a:gd name="connsiteY13" fmla="*/ 1491744 h 3166775"/>
              <a:gd name="connsiteX14" fmla="*/ 2009 w 1346449"/>
              <a:gd name="connsiteY14" fmla="*/ 1494147 h 3166775"/>
              <a:gd name="connsiteX15" fmla="*/ 0 w 1346449"/>
              <a:gd name="connsiteY15" fmla="*/ 1499342 h 3166775"/>
              <a:gd name="connsiteX16" fmla="*/ 6353 w 1346449"/>
              <a:gd name="connsiteY16" fmla="*/ 1499342 h 3166775"/>
              <a:gd name="connsiteX17" fmla="*/ 273414 w 1346449"/>
              <a:gd name="connsiteY17" fmla="*/ 2293171 h 3166775"/>
              <a:gd name="connsiteX18" fmla="*/ 1091887 w 1346449"/>
              <a:gd name="connsiteY18" fmla="*/ 2283744 h 3166775"/>
              <a:gd name="connsiteX19" fmla="*/ 1340768 w 1346449"/>
              <a:gd name="connsiteY19" fmla="*/ 1499342 h 3166775"/>
              <a:gd name="connsiteX20" fmla="*/ 1346449 w 1346449"/>
              <a:gd name="connsiteY20" fmla="*/ 1499342 h 3166775"/>
              <a:gd name="connsiteX21" fmla="*/ 1344512 w 1346449"/>
              <a:gd name="connsiteY21" fmla="*/ 1494334 h 3166775"/>
              <a:gd name="connsiteX22" fmla="*/ 1346448 w 1346449"/>
              <a:gd name="connsiteY22" fmla="*/ 1491744 h 3166775"/>
              <a:gd name="connsiteX23" fmla="*/ 1343510 w 1346449"/>
              <a:gd name="connsiteY23" fmla="*/ 1491744 h 3166775"/>
              <a:gd name="connsiteX24" fmla="*/ 755186 w 1346449"/>
              <a:gd name="connsiteY24" fmla="*/ 0 h 316677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46449" h="3166775">
                <a:moveTo>
                  <a:pt x="1148449" y="2374775"/>
                </a:moveTo>
                <a:lnTo>
                  <a:pt x="198001" y="2374775"/>
                </a:lnTo>
                <a:lnTo>
                  <a:pt x="1" y="3166775"/>
                </a:lnTo>
                <a:lnTo>
                  <a:pt x="1346449" y="3166775"/>
                </a:lnTo>
                <a:lnTo>
                  <a:pt x="1148449" y="2374775"/>
                </a:lnTo>
                <a:close/>
                <a:moveTo>
                  <a:pt x="755186" y="0"/>
                </a:moveTo>
                <a:cubicBezTo>
                  <a:pt x="755186" y="438198"/>
                  <a:pt x="734449" y="793446"/>
                  <a:pt x="734449" y="1231644"/>
                </a:cubicBezTo>
                <a:cubicBezTo>
                  <a:pt x="803843" y="1256124"/>
                  <a:pt x="853246" y="1322425"/>
                  <a:pt x="853246" y="1400264"/>
                </a:cubicBezTo>
                <a:cubicBezTo>
                  <a:pt x="853246" y="1499686"/>
                  <a:pt x="772648" y="1580284"/>
                  <a:pt x="673226" y="1580284"/>
                </a:cubicBezTo>
                <a:cubicBezTo>
                  <a:pt x="573804" y="1580284"/>
                  <a:pt x="493206" y="1499686"/>
                  <a:pt x="493206" y="1400264"/>
                </a:cubicBezTo>
                <a:cubicBezTo>
                  <a:pt x="493206" y="1322426"/>
                  <a:pt x="542608" y="1256126"/>
                  <a:pt x="612000" y="1231645"/>
                </a:cubicBezTo>
                <a:lnTo>
                  <a:pt x="591263" y="10368"/>
                </a:lnTo>
                <a:lnTo>
                  <a:pt x="2939" y="1491744"/>
                </a:lnTo>
                <a:lnTo>
                  <a:pt x="0" y="1491744"/>
                </a:lnTo>
                <a:lnTo>
                  <a:pt x="2009" y="1494147"/>
                </a:lnTo>
                <a:lnTo>
                  <a:pt x="0" y="1499342"/>
                </a:lnTo>
                <a:lnTo>
                  <a:pt x="6353" y="1499342"/>
                </a:lnTo>
                <a:cubicBezTo>
                  <a:pt x="274151" y="1797289"/>
                  <a:pt x="320153" y="2031319"/>
                  <a:pt x="273414" y="2293171"/>
                </a:cubicBezTo>
                <a:lnTo>
                  <a:pt x="1091887" y="2283744"/>
                </a:lnTo>
                <a:cubicBezTo>
                  <a:pt x="1035756" y="1984266"/>
                  <a:pt x="1081794" y="1833397"/>
                  <a:pt x="1340768" y="1499342"/>
                </a:cubicBezTo>
                <a:lnTo>
                  <a:pt x="1346449" y="1499342"/>
                </a:lnTo>
                <a:lnTo>
                  <a:pt x="1344512" y="1494334"/>
                </a:lnTo>
                <a:cubicBezTo>
                  <a:pt x="1345124" y="1493447"/>
                  <a:pt x="1345785" y="1492596"/>
                  <a:pt x="1346448" y="1491744"/>
                </a:cubicBezTo>
                <a:lnTo>
                  <a:pt x="1343510" y="1491744"/>
                </a:lnTo>
                <a:cubicBezTo>
                  <a:pt x="1140490" y="966846"/>
                  <a:pt x="958206" y="524898"/>
                  <a:pt x="755186" y="0"/>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a:endParaRPr lang="ko-KR" altLang="en-US" sz="1400">
              <a:solidFill>
                <a:srgbClr val="AE4500"/>
              </a:solidFill>
            </a:endParaRPr>
          </a:p>
        </p:txBody>
      </p:sp>
      <p:sp>
        <p:nvSpPr>
          <p:cNvPr id="57" name="Rectangle 7">
            <a:extLst>
              <a:ext uri="{FF2B5EF4-FFF2-40B4-BE49-F238E27FC236}">
                <a16:creationId xmlns:a16="http://schemas.microsoft.com/office/drawing/2014/main" id="{84693C49-05C6-4CD0-A900-4B843CF3016D}"/>
              </a:ext>
            </a:extLst>
          </p:cNvPr>
          <p:cNvSpPr/>
          <p:nvPr/>
        </p:nvSpPr>
        <p:spPr>
          <a:xfrm rot="18900000">
            <a:off x="9585432" y="3654540"/>
            <a:ext cx="225645" cy="502689"/>
          </a:xfrm>
          <a:custGeom>
            <a:rect l="l" t="t" r="r" b="b"/>
            <a:pathLst>
              <a:path w="154109" h="343323">
                <a:moveTo>
                  <a:pt x="102909" y="313772"/>
                </a:moveTo>
                <a:lnTo>
                  <a:pt x="102909" y="328547"/>
                </a:lnTo>
                <a:cubicBezTo>
                  <a:pt x="102909" y="336708"/>
                  <a:pt x="96294" y="343322"/>
                  <a:pt x="88133" y="343323"/>
                </a:cubicBezTo>
                <a:lnTo>
                  <a:pt x="65975" y="343322"/>
                </a:lnTo>
                <a:cubicBezTo>
                  <a:pt x="57814" y="343322"/>
                  <a:pt x="51199" y="336708"/>
                  <a:pt x="51199" y="328547"/>
                </a:cubicBezTo>
                <a:cubicBezTo>
                  <a:pt x="51199" y="323622"/>
                  <a:pt x="51200" y="318696"/>
                  <a:pt x="51200" y="313771"/>
                </a:cubicBezTo>
                <a:close/>
                <a:moveTo>
                  <a:pt x="123327" y="15459"/>
                </a:moveTo>
                <a:cubicBezTo>
                  <a:pt x="141678" y="29245"/>
                  <a:pt x="152926" y="50497"/>
                  <a:pt x="154008" y="73425"/>
                </a:cubicBezTo>
                <a:cubicBezTo>
                  <a:pt x="155089" y="96353"/>
                  <a:pt x="145890" y="118568"/>
                  <a:pt x="128916" y="134021"/>
                </a:cubicBezTo>
                <a:lnTo>
                  <a:pt x="119294" y="123450"/>
                </a:lnTo>
                <a:cubicBezTo>
                  <a:pt x="133118" y="110865"/>
                  <a:pt x="140611" y="92772"/>
                  <a:pt x="139730" y="74098"/>
                </a:cubicBezTo>
                <a:cubicBezTo>
                  <a:pt x="138850" y="55424"/>
                  <a:pt x="129689" y="38115"/>
                  <a:pt x="114743" y="26887"/>
                </a:cubicBezTo>
                <a:close/>
                <a:moveTo>
                  <a:pt x="136698" y="17411"/>
                </a:moveTo>
                <a:cubicBezTo>
                  <a:pt x="103758" y="-15529"/>
                  <a:pt x="50351" y="-15529"/>
                  <a:pt x="17412" y="17411"/>
                </a:cubicBezTo>
                <a:cubicBezTo>
                  <a:pt x="-15528" y="50351"/>
                  <a:pt x="-15528" y="103757"/>
                  <a:pt x="17412" y="136697"/>
                </a:cubicBezTo>
                <a:cubicBezTo>
                  <a:pt x="50351" y="169637"/>
                  <a:pt x="103758" y="169637"/>
                  <a:pt x="136698" y="136697"/>
                </a:cubicBezTo>
                <a:cubicBezTo>
                  <a:pt x="169637" y="103757"/>
                  <a:pt x="169637" y="50351"/>
                  <a:pt x="136698" y="17411"/>
                </a:cubicBezTo>
                <a:close/>
                <a:moveTo>
                  <a:pt x="154109" y="0"/>
                </a:moveTo>
                <a:cubicBezTo>
                  <a:pt x="196665" y="42556"/>
                  <a:pt x="196665" y="111552"/>
                  <a:pt x="154109" y="154108"/>
                </a:cubicBezTo>
                <a:cubicBezTo>
                  <a:pt x="139576" y="168641"/>
                  <a:pt x="121959" y="178211"/>
                  <a:pt x="102912" y="180994"/>
                </a:cubicBezTo>
                <a:lnTo>
                  <a:pt x="102912" y="308310"/>
                </a:lnTo>
                <a:lnTo>
                  <a:pt x="51197" y="308310"/>
                </a:lnTo>
                <a:lnTo>
                  <a:pt x="51197" y="180994"/>
                </a:lnTo>
                <a:cubicBezTo>
                  <a:pt x="32150" y="178211"/>
                  <a:pt x="14534" y="168641"/>
                  <a:pt x="0" y="154108"/>
                </a:cubicBezTo>
                <a:cubicBezTo>
                  <a:pt x="-42555" y="111552"/>
                  <a:pt x="-42555" y="42556"/>
                  <a:pt x="0" y="0"/>
                </a:cubicBezTo>
                <a:cubicBezTo>
                  <a:pt x="42556" y="-42556"/>
                  <a:pt x="111553" y="-42556"/>
                  <a:pt x="154109" y="0"/>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a:endParaRPr lang="ko-KR" altLang="en-US" sz="1400">
              <a:solidFill>
                <a:srgbClr val="AE4500"/>
              </a:solidFill>
            </a:endParaRPr>
          </a:p>
        </p:txBody>
      </p:sp>
      <p:sp>
        <p:nvSpPr>
          <p:cNvPr id="58" name="Parallelogram 15">
            <a:extLst>
              <a:ext uri="{FF2B5EF4-FFF2-40B4-BE49-F238E27FC236}">
                <a16:creationId xmlns:a16="http://schemas.microsoft.com/office/drawing/2014/main" id="{7A9FBE9D-EE5A-4F1B-8EDD-3D011F43183E}"/>
              </a:ext>
            </a:extLst>
          </p:cNvPr>
          <p:cNvSpPr/>
          <p:nvPr/>
        </p:nvSpPr>
        <p:spPr>
          <a:xfrm flipH="1">
            <a:off x="5267101" y="4641804"/>
            <a:ext cx="464453" cy="464453"/>
          </a:xfrm>
          <a:custGeom>
            <a:rect l="l" t="t" r="r" b="b"/>
            <a:pathLst>
              <a:path w="3242753" h="3227814">
                <a:moveTo>
                  <a:pt x="1621376" y="1043635"/>
                </a:moveTo>
                <a:cubicBezTo>
                  <a:pt x="1557188" y="1043635"/>
                  <a:pt x="1505154" y="1095669"/>
                  <a:pt x="1505154" y="1159857"/>
                </a:cubicBezTo>
                <a:lnTo>
                  <a:pt x="1505154" y="1625483"/>
                </a:lnTo>
                <a:lnTo>
                  <a:pt x="1033577" y="1625483"/>
                </a:lnTo>
                <a:cubicBezTo>
                  <a:pt x="969389" y="1625483"/>
                  <a:pt x="917355" y="1677517"/>
                  <a:pt x="917355" y="1741705"/>
                </a:cubicBezTo>
                <a:cubicBezTo>
                  <a:pt x="917355" y="1805893"/>
                  <a:pt x="969389" y="1857927"/>
                  <a:pt x="1033577" y="1857927"/>
                </a:cubicBezTo>
                <a:lnTo>
                  <a:pt x="1614688" y="1857927"/>
                </a:lnTo>
                <a:lnTo>
                  <a:pt x="1619859" y="1856884"/>
                </a:lnTo>
                <a:cubicBezTo>
                  <a:pt x="1620361" y="1857187"/>
                  <a:pt x="1620868" y="1857190"/>
                  <a:pt x="1621376" y="1857190"/>
                </a:cubicBezTo>
                <a:cubicBezTo>
                  <a:pt x="1685564" y="1857190"/>
                  <a:pt x="1737598" y="1805156"/>
                  <a:pt x="1737598" y="1740968"/>
                </a:cubicBezTo>
                <a:lnTo>
                  <a:pt x="1737598" y="1159857"/>
                </a:lnTo>
                <a:cubicBezTo>
                  <a:pt x="1737598" y="1095669"/>
                  <a:pt x="1685564" y="1043635"/>
                  <a:pt x="1621376" y="1043635"/>
                </a:cubicBezTo>
                <a:close/>
                <a:moveTo>
                  <a:pt x="1621376" y="628818"/>
                </a:moveTo>
                <a:cubicBezTo>
                  <a:pt x="2206882" y="628818"/>
                  <a:pt x="2681529" y="1103464"/>
                  <a:pt x="2681529" y="1688970"/>
                </a:cubicBezTo>
                <a:cubicBezTo>
                  <a:pt x="2681529" y="2274476"/>
                  <a:pt x="2206882" y="2749122"/>
                  <a:pt x="1621376" y="2749122"/>
                </a:cubicBezTo>
                <a:cubicBezTo>
                  <a:pt x="1035870" y="2749122"/>
                  <a:pt x="561223" y="2274476"/>
                  <a:pt x="561223" y="1688970"/>
                </a:cubicBezTo>
                <a:cubicBezTo>
                  <a:pt x="561223" y="1103464"/>
                  <a:pt x="1035870" y="628818"/>
                  <a:pt x="1621376" y="628818"/>
                </a:cubicBezTo>
                <a:close/>
                <a:moveTo>
                  <a:pt x="1621376" y="424596"/>
                </a:moveTo>
                <a:cubicBezTo>
                  <a:pt x="923081" y="424596"/>
                  <a:pt x="357001" y="990676"/>
                  <a:pt x="357001" y="1688970"/>
                </a:cubicBezTo>
                <a:cubicBezTo>
                  <a:pt x="357001" y="2128645"/>
                  <a:pt x="581423" y="2515905"/>
                  <a:pt x="922189" y="2742109"/>
                </a:cubicBezTo>
                <a:lnTo>
                  <a:pt x="652992" y="3227814"/>
                </a:lnTo>
                <a:lnTo>
                  <a:pt x="911997" y="3227814"/>
                </a:lnTo>
                <a:lnTo>
                  <a:pt x="1121304" y="2850168"/>
                </a:lnTo>
                <a:cubicBezTo>
                  <a:pt x="1274563" y="2916691"/>
                  <a:pt x="1443689" y="2953344"/>
                  <a:pt x="1621376" y="2953344"/>
                </a:cubicBezTo>
                <a:cubicBezTo>
                  <a:pt x="1799063" y="2953344"/>
                  <a:pt x="1968189" y="2916691"/>
                  <a:pt x="2121449" y="2850168"/>
                </a:cubicBezTo>
                <a:lnTo>
                  <a:pt x="2330755" y="3227814"/>
                </a:lnTo>
                <a:lnTo>
                  <a:pt x="2589760" y="3227814"/>
                </a:lnTo>
                <a:lnTo>
                  <a:pt x="2320563" y="2742109"/>
                </a:lnTo>
                <a:cubicBezTo>
                  <a:pt x="2661329" y="2515905"/>
                  <a:pt x="2885751" y="2128645"/>
                  <a:pt x="2885751" y="1688970"/>
                </a:cubicBezTo>
                <a:cubicBezTo>
                  <a:pt x="2885751" y="990676"/>
                  <a:pt x="2319671" y="424596"/>
                  <a:pt x="1621376" y="424596"/>
                </a:cubicBezTo>
                <a:close/>
                <a:moveTo>
                  <a:pt x="2599800" y="123238"/>
                </a:moveTo>
                <a:cubicBezTo>
                  <a:pt x="2434609" y="120698"/>
                  <a:pt x="2268460" y="180476"/>
                  <a:pt x="2139563" y="303161"/>
                </a:cubicBezTo>
                <a:lnTo>
                  <a:pt x="3057258" y="1232053"/>
                </a:lnTo>
                <a:cubicBezTo>
                  <a:pt x="3305736" y="977255"/>
                  <a:pt x="3304415" y="570405"/>
                  <a:pt x="3054287" y="317226"/>
                </a:cubicBezTo>
                <a:cubicBezTo>
                  <a:pt x="2929224" y="190636"/>
                  <a:pt x="2764991" y="125778"/>
                  <a:pt x="2599800" y="123238"/>
                </a:cubicBezTo>
                <a:close/>
                <a:moveTo>
                  <a:pt x="642953" y="123238"/>
                </a:moveTo>
                <a:cubicBezTo>
                  <a:pt x="477762" y="125778"/>
                  <a:pt x="313529" y="190636"/>
                  <a:pt x="188466" y="317226"/>
                </a:cubicBezTo>
                <a:cubicBezTo>
                  <a:pt x="-61662" y="570405"/>
                  <a:pt x="-62983" y="977255"/>
                  <a:pt x="185495" y="1232053"/>
                </a:cubicBezTo>
                <a:lnTo>
                  <a:pt x="1103190" y="303161"/>
                </a:lnTo>
                <a:cubicBezTo>
                  <a:pt x="974294" y="180476"/>
                  <a:pt x="808144" y="120698"/>
                  <a:pt x="642953" y="123238"/>
                </a:cubicBezTo>
                <a:close/>
                <a:moveTo>
                  <a:pt x="1722692" y="0"/>
                </a:moveTo>
                <a:lnTo>
                  <a:pt x="1520061" y="0"/>
                </a:lnTo>
                <a:cubicBezTo>
                  <a:pt x="1440152" y="0"/>
                  <a:pt x="1375373" y="64779"/>
                  <a:pt x="1375373" y="144688"/>
                </a:cubicBezTo>
                <a:lnTo>
                  <a:pt x="1375373" y="289376"/>
                </a:lnTo>
                <a:lnTo>
                  <a:pt x="1867380" y="289376"/>
                </a:lnTo>
                <a:lnTo>
                  <a:pt x="1867380" y="144688"/>
                </a:lnTo>
                <a:cubicBezTo>
                  <a:pt x="1867380" y="64779"/>
                  <a:pt x="1802601" y="0"/>
                  <a:pt x="1722692" y="0"/>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a:endParaRPr lang="ko-KR" altLang="en-US" sz="1400">
              <a:solidFill>
                <a:srgbClr val="AE4500"/>
              </a:solidFill>
            </a:endParaRPr>
          </a:p>
        </p:txBody>
      </p:sp>
      <p:sp>
        <p:nvSpPr>
          <p:cNvPr id="59" name="Freeform 19">
            <a:extLst>
              <a:ext uri="{FF2B5EF4-FFF2-40B4-BE49-F238E27FC236}">
                <a16:creationId xmlns:a16="http://schemas.microsoft.com/office/drawing/2014/main" id="{DD59881D-26FD-493B-8AE1-06C59DF34840}"/>
              </a:ext>
            </a:extLst>
          </p:cNvPr>
          <p:cNvSpPr/>
          <p:nvPr/>
        </p:nvSpPr>
        <p:spPr>
          <a:xfrm>
            <a:off x="7745267" y="3642490"/>
            <a:ext cx="460739" cy="453349"/>
          </a:xfrm>
          <a:custGeom>
            <a:rect l="l" t="t" r="r" b="b"/>
            <a:pathLst>
              <a:path w="3214097" h="3162551">
                <a:moveTo>
                  <a:pt x="1014592" y="2306036"/>
                </a:moveTo>
                <a:cubicBezTo>
                  <a:pt x="854868" y="2306036"/>
                  <a:pt x="725386" y="2435518"/>
                  <a:pt x="725386" y="2595242"/>
                </a:cubicBezTo>
                <a:cubicBezTo>
                  <a:pt x="725386" y="2754966"/>
                  <a:pt x="854868" y="2884448"/>
                  <a:pt x="1014592" y="2884448"/>
                </a:cubicBezTo>
                <a:cubicBezTo>
                  <a:pt x="1174316" y="2884448"/>
                  <a:pt x="1303798" y="2754966"/>
                  <a:pt x="1303798" y="2595242"/>
                </a:cubicBezTo>
                <a:cubicBezTo>
                  <a:pt x="1303798" y="2435518"/>
                  <a:pt x="1174316" y="2306036"/>
                  <a:pt x="1014592" y="2306036"/>
                </a:cubicBezTo>
                <a:close/>
                <a:moveTo>
                  <a:pt x="481275" y="1691816"/>
                </a:moveTo>
                <a:cubicBezTo>
                  <a:pt x="321551" y="1691816"/>
                  <a:pt x="192069" y="1821298"/>
                  <a:pt x="192069" y="1981022"/>
                </a:cubicBezTo>
                <a:cubicBezTo>
                  <a:pt x="192069" y="2140746"/>
                  <a:pt x="321551" y="2270228"/>
                  <a:pt x="481275" y="2270228"/>
                </a:cubicBezTo>
                <a:cubicBezTo>
                  <a:pt x="640999" y="2270228"/>
                  <a:pt x="770481" y="2140746"/>
                  <a:pt x="770481" y="1981022"/>
                </a:cubicBezTo>
                <a:cubicBezTo>
                  <a:pt x="770481" y="1821298"/>
                  <a:pt x="640999" y="1691816"/>
                  <a:pt x="481275" y="1691816"/>
                </a:cubicBezTo>
                <a:close/>
                <a:moveTo>
                  <a:pt x="2764751" y="1113404"/>
                </a:moveTo>
                <a:cubicBezTo>
                  <a:pt x="2605027" y="1113404"/>
                  <a:pt x="2475545" y="1242886"/>
                  <a:pt x="2475545" y="1402610"/>
                </a:cubicBezTo>
                <a:cubicBezTo>
                  <a:pt x="2475545" y="1562334"/>
                  <a:pt x="2605027" y="1691816"/>
                  <a:pt x="2764751" y="1691816"/>
                </a:cubicBezTo>
                <a:cubicBezTo>
                  <a:pt x="2924475" y="1691816"/>
                  <a:pt x="3053957" y="1562334"/>
                  <a:pt x="3053957" y="1402610"/>
                </a:cubicBezTo>
                <a:cubicBezTo>
                  <a:pt x="3053957" y="1242886"/>
                  <a:pt x="2924475" y="1113404"/>
                  <a:pt x="2764751" y="1113404"/>
                </a:cubicBezTo>
                <a:close/>
                <a:moveTo>
                  <a:pt x="532503" y="881964"/>
                </a:moveTo>
                <a:cubicBezTo>
                  <a:pt x="372779" y="881964"/>
                  <a:pt x="243297" y="1011446"/>
                  <a:pt x="243297" y="1171170"/>
                </a:cubicBezTo>
                <a:cubicBezTo>
                  <a:pt x="243297" y="1330894"/>
                  <a:pt x="372779" y="1460376"/>
                  <a:pt x="532503" y="1460376"/>
                </a:cubicBezTo>
                <a:cubicBezTo>
                  <a:pt x="692227" y="1460376"/>
                  <a:pt x="821709" y="1330894"/>
                  <a:pt x="821709" y="1171170"/>
                </a:cubicBezTo>
                <a:cubicBezTo>
                  <a:pt x="821709" y="1011446"/>
                  <a:pt x="692227" y="881964"/>
                  <a:pt x="532503" y="881964"/>
                </a:cubicBezTo>
                <a:close/>
                <a:moveTo>
                  <a:pt x="1162143" y="321316"/>
                </a:moveTo>
                <a:cubicBezTo>
                  <a:pt x="1002419" y="321316"/>
                  <a:pt x="872937" y="450798"/>
                  <a:pt x="872937" y="610522"/>
                </a:cubicBezTo>
                <a:cubicBezTo>
                  <a:pt x="872937" y="770246"/>
                  <a:pt x="1002419" y="899728"/>
                  <a:pt x="1162143" y="899728"/>
                </a:cubicBezTo>
                <a:cubicBezTo>
                  <a:pt x="1321867" y="899728"/>
                  <a:pt x="1451349" y="770246"/>
                  <a:pt x="1451349" y="610522"/>
                </a:cubicBezTo>
                <a:cubicBezTo>
                  <a:pt x="1451349" y="450798"/>
                  <a:pt x="1321867" y="321316"/>
                  <a:pt x="1162143" y="321316"/>
                </a:cubicBezTo>
                <a:close/>
                <a:moveTo>
                  <a:pt x="1963447" y="177300"/>
                </a:moveTo>
                <a:cubicBezTo>
                  <a:pt x="1803723" y="177300"/>
                  <a:pt x="1674241" y="306782"/>
                  <a:pt x="1674241" y="466506"/>
                </a:cubicBezTo>
                <a:cubicBezTo>
                  <a:pt x="1674241" y="626230"/>
                  <a:pt x="1803723" y="755712"/>
                  <a:pt x="1963447" y="755712"/>
                </a:cubicBezTo>
                <a:cubicBezTo>
                  <a:pt x="2123171" y="755712"/>
                  <a:pt x="2252653" y="626230"/>
                  <a:pt x="2252653" y="466506"/>
                </a:cubicBezTo>
                <a:cubicBezTo>
                  <a:pt x="2252653" y="306782"/>
                  <a:pt x="2123171" y="177300"/>
                  <a:pt x="1963447" y="177300"/>
                </a:cubicBezTo>
                <a:close/>
                <a:moveTo>
                  <a:pt x="1752672" y="312"/>
                </a:moveTo>
                <a:cubicBezTo>
                  <a:pt x="1817888" y="-690"/>
                  <a:pt x="1885249" y="703"/>
                  <a:pt x="1954799" y="4657"/>
                </a:cubicBezTo>
                <a:cubicBezTo>
                  <a:pt x="2504015" y="53541"/>
                  <a:pt x="2975590" y="412975"/>
                  <a:pt x="3145244" y="944937"/>
                </a:cubicBezTo>
                <a:cubicBezTo>
                  <a:pt x="3412664" y="2126757"/>
                  <a:pt x="2837568" y="2017487"/>
                  <a:pt x="2506889" y="1867964"/>
                </a:cubicBezTo>
                <a:cubicBezTo>
                  <a:pt x="1580987" y="1673869"/>
                  <a:pt x="2725425" y="3197869"/>
                  <a:pt x="1014520" y="3161925"/>
                </a:cubicBezTo>
                <a:cubicBezTo>
                  <a:pt x="-14898" y="3061283"/>
                  <a:pt x="-138545" y="1873713"/>
                  <a:pt x="108747" y="1100212"/>
                </a:cubicBezTo>
                <a:cubicBezTo>
                  <a:pt x="278579" y="569148"/>
                  <a:pt x="774429" y="15339"/>
                  <a:pt x="1752672" y="312"/>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a:endParaRPr lang="ko-KR" altLang="en-US" sz="1400">
              <a:solidFill>
                <a:srgbClr val="AE4500"/>
              </a:solidFill>
            </a:endParaRPr>
          </a:p>
        </p:txBody>
      </p:sp>
      <p:sp>
        <p:nvSpPr>
          <p:cNvPr id="60" name="Rectangle 30">
            <a:extLst>
              <a:ext uri="{FF2B5EF4-FFF2-40B4-BE49-F238E27FC236}">
                <a16:creationId xmlns:a16="http://schemas.microsoft.com/office/drawing/2014/main" id="{3BFEE74E-183A-4C32-9BDF-AC2573B061E0}"/>
              </a:ext>
            </a:extLst>
          </p:cNvPr>
          <p:cNvSpPr/>
          <p:nvPr/>
        </p:nvSpPr>
        <p:spPr>
          <a:xfrm>
            <a:off x="11063270" y="3600555"/>
            <a:ext cx="464453" cy="463095"/>
          </a:xfrm>
          <a:custGeom>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a:endParaRPr lang="ko-KR" altLang="en-US" sz="1400">
              <a:solidFill>
                <a:srgbClr val="AE4500"/>
              </a:solidFill>
            </a:endParaRPr>
          </a:p>
        </p:txBody>
      </p:sp>
      <p:sp>
        <p:nvSpPr>
          <p:cNvPr id="61" name="Rectangle 7">
            <a:extLst>
              <a:ext uri="{FF2B5EF4-FFF2-40B4-BE49-F238E27FC236}">
                <a16:creationId xmlns:a16="http://schemas.microsoft.com/office/drawing/2014/main" id="{A2454068-D6A0-42C7-BCE1-D03833DCF2E4}"/>
              </a:ext>
            </a:extLst>
          </p:cNvPr>
          <p:cNvSpPr/>
          <p:nvPr/>
        </p:nvSpPr>
        <p:spPr>
          <a:xfrm>
            <a:off x="6950754" y="1518886"/>
            <a:ext cx="471526" cy="471526"/>
          </a:xfrm>
          <a:custGeom>
            <a:rect l="l" t="t" r="r" b="b"/>
            <a:pathLst>
              <a:path w="3240000" h="3240000">
                <a:moveTo>
                  <a:pt x="401869" y="2055482"/>
                </a:moveTo>
                <a:lnTo>
                  <a:pt x="869869" y="2055482"/>
                </a:lnTo>
                <a:lnTo>
                  <a:pt x="869869" y="2919482"/>
                </a:lnTo>
                <a:lnTo>
                  <a:pt x="401869" y="2919482"/>
                </a:lnTo>
                <a:close/>
                <a:moveTo>
                  <a:pt x="1121949" y="1695482"/>
                </a:moveTo>
                <a:lnTo>
                  <a:pt x="1589949" y="1695482"/>
                </a:lnTo>
                <a:lnTo>
                  <a:pt x="1589949" y="2919482"/>
                </a:lnTo>
                <a:lnTo>
                  <a:pt x="1121949" y="2919482"/>
                </a:lnTo>
                <a:close/>
                <a:moveTo>
                  <a:pt x="1842029" y="1335482"/>
                </a:moveTo>
                <a:lnTo>
                  <a:pt x="2310029" y="1335482"/>
                </a:lnTo>
                <a:lnTo>
                  <a:pt x="2310029" y="2919482"/>
                </a:lnTo>
                <a:lnTo>
                  <a:pt x="1842029" y="2919482"/>
                </a:lnTo>
                <a:close/>
                <a:moveTo>
                  <a:pt x="2562109" y="975482"/>
                </a:moveTo>
                <a:lnTo>
                  <a:pt x="3030109" y="975482"/>
                </a:lnTo>
                <a:lnTo>
                  <a:pt x="3030109" y="2919482"/>
                </a:lnTo>
                <a:lnTo>
                  <a:pt x="2562109" y="2919482"/>
                </a:lnTo>
                <a:close/>
                <a:moveTo>
                  <a:pt x="2321888" y="224805"/>
                </a:moveTo>
                <a:lnTo>
                  <a:pt x="2880631" y="247420"/>
                </a:lnTo>
                <a:lnTo>
                  <a:pt x="2620844" y="742612"/>
                </a:lnTo>
                <a:lnTo>
                  <a:pt x="2546105" y="613161"/>
                </a:lnTo>
                <a:lnTo>
                  <a:pt x="541555" y="1770488"/>
                </a:lnTo>
                <a:lnTo>
                  <a:pt x="392077" y="1511585"/>
                </a:lnTo>
                <a:lnTo>
                  <a:pt x="2396627" y="354257"/>
                </a:lnTo>
                <a:close/>
                <a:moveTo>
                  <a:pt x="0" y="0"/>
                </a:moveTo>
                <a:lnTo>
                  <a:pt x="180000" y="0"/>
                </a:lnTo>
                <a:lnTo>
                  <a:pt x="180000" y="3059999"/>
                </a:lnTo>
                <a:lnTo>
                  <a:pt x="3240000" y="3059999"/>
                </a:lnTo>
                <a:lnTo>
                  <a:pt x="3240000" y="3239999"/>
                </a:lnTo>
                <a:lnTo>
                  <a:pt x="180000" y="3239999"/>
                </a:lnTo>
                <a:lnTo>
                  <a:pt x="180000" y="3240000"/>
                </a:lnTo>
                <a:lnTo>
                  <a:pt x="0" y="3240000"/>
                </a:lnTo>
                <a:lnTo>
                  <a:pt x="0" y="3239999"/>
                </a:lnTo>
                <a:lnTo>
                  <a:pt x="0" y="3059999"/>
                </a:ln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a:endParaRPr lang="ko-KR" altLang="en-US" sz="1400">
              <a:solidFill>
                <a:srgbClr val="AE4500"/>
              </a:solidFill>
            </a:endParaRPr>
          </a:p>
        </p:txBody>
      </p:sp>
      <p:sp>
        <p:nvSpPr>
          <p:cNvPr id="62" name="Rectangle 15">
            <a:extLst>
              <a:ext uri="{FF2B5EF4-FFF2-40B4-BE49-F238E27FC236}">
                <a16:creationId xmlns:a16="http://schemas.microsoft.com/office/drawing/2014/main" id="{ECBB7944-2021-44C3-960E-8480CFC6DEF9}"/>
              </a:ext>
            </a:extLst>
          </p:cNvPr>
          <p:cNvSpPr/>
          <p:nvPr/>
        </p:nvSpPr>
        <p:spPr>
          <a:xfrm rot="5400000">
            <a:off x="7737543" y="1518881"/>
            <a:ext cx="472154" cy="471527"/>
          </a:xfrm>
          <a:custGeom>
            <a:rect l="l" t="t" r="r" b="b"/>
            <a:pathLst>
              <a:path w="3244313" h="3240000">
                <a:moveTo>
                  <a:pt x="2055482" y="677891"/>
                </a:moveTo>
                <a:lnTo>
                  <a:pt x="2055482" y="209891"/>
                </a:lnTo>
                <a:lnTo>
                  <a:pt x="2919482" y="209891"/>
                </a:lnTo>
                <a:lnTo>
                  <a:pt x="2919482" y="677891"/>
                </a:lnTo>
                <a:close/>
                <a:moveTo>
                  <a:pt x="1695482" y="1397971"/>
                </a:moveTo>
                <a:lnTo>
                  <a:pt x="1695482" y="929971"/>
                </a:lnTo>
                <a:lnTo>
                  <a:pt x="2919482" y="929971"/>
                </a:lnTo>
                <a:lnTo>
                  <a:pt x="2919482" y="1397971"/>
                </a:lnTo>
                <a:close/>
                <a:moveTo>
                  <a:pt x="1335482" y="2118051"/>
                </a:moveTo>
                <a:lnTo>
                  <a:pt x="1335482" y="1650051"/>
                </a:lnTo>
                <a:lnTo>
                  <a:pt x="2919482" y="1650051"/>
                </a:lnTo>
                <a:lnTo>
                  <a:pt x="2919482" y="2118051"/>
                </a:lnTo>
                <a:close/>
                <a:moveTo>
                  <a:pt x="975482" y="2838131"/>
                </a:moveTo>
                <a:lnTo>
                  <a:pt x="975482" y="2370131"/>
                </a:lnTo>
                <a:lnTo>
                  <a:pt x="2919482" y="2370131"/>
                </a:lnTo>
                <a:lnTo>
                  <a:pt x="2919482" y="2838131"/>
                </a:lnTo>
                <a:close/>
                <a:moveTo>
                  <a:pt x="10788" y="2651034"/>
                </a:moveTo>
                <a:lnTo>
                  <a:pt x="1168116" y="646484"/>
                </a:lnTo>
                <a:lnTo>
                  <a:pt x="1038664" y="571745"/>
                </a:lnTo>
                <a:lnTo>
                  <a:pt x="1533856" y="311959"/>
                </a:lnTo>
                <a:lnTo>
                  <a:pt x="1556471" y="870701"/>
                </a:lnTo>
                <a:lnTo>
                  <a:pt x="1427019" y="795962"/>
                </a:lnTo>
                <a:lnTo>
                  <a:pt x="269691" y="2800512"/>
                </a:lnTo>
                <a:close/>
                <a:moveTo>
                  <a:pt x="0" y="3240000"/>
                </a:moveTo>
                <a:lnTo>
                  <a:pt x="0" y="3060000"/>
                </a:lnTo>
                <a:lnTo>
                  <a:pt x="3064313" y="3060000"/>
                </a:lnTo>
                <a:lnTo>
                  <a:pt x="3064313" y="0"/>
                </a:lnTo>
                <a:lnTo>
                  <a:pt x="3244313" y="0"/>
                </a:lnTo>
                <a:lnTo>
                  <a:pt x="3244313" y="3240000"/>
                </a:lnTo>
                <a:lnTo>
                  <a:pt x="3240000" y="3240000"/>
                </a:lnTo>
                <a:lnTo>
                  <a:pt x="3064313" y="3240000"/>
                </a:ln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a:endParaRPr lang="ko-KR" altLang="en-US" sz="1400">
              <a:solidFill>
                <a:srgbClr val="AE4500"/>
              </a:solidFill>
            </a:endParaRPr>
          </a:p>
        </p:txBody>
      </p:sp>
      <p:sp>
        <p:nvSpPr>
          <p:cNvPr id="63" name="Pie 24">
            <a:extLst>
              <a:ext uri="{FF2B5EF4-FFF2-40B4-BE49-F238E27FC236}">
                <a16:creationId xmlns:a16="http://schemas.microsoft.com/office/drawing/2014/main" id="{DB38F196-AF37-4B00-AA3E-183F9372FBAD}"/>
              </a:ext>
            </a:extLst>
          </p:cNvPr>
          <p:cNvSpPr/>
          <p:nvPr/>
        </p:nvSpPr>
        <p:spPr>
          <a:xfrm>
            <a:off x="6809869" y="4618883"/>
            <a:ext cx="513139" cy="510299"/>
          </a:xfrm>
          <a:custGeom>
            <a:rect l="l" t="t" r="r" b="b"/>
            <a:pathLst>
              <a:path w="3228711" h="3210836">
                <a:moveTo>
                  <a:pt x="351626" y="695968"/>
                </a:moveTo>
                <a:lnTo>
                  <a:pt x="1548007" y="1678300"/>
                </a:lnTo>
                <a:lnTo>
                  <a:pt x="236194" y="2500159"/>
                </a:lnTo>
                <a:cubicBezTo>
                  <a:pt x="-116985" y="1936431"/>
                  <a:pt x="-70514" y="1210092"/>
                  <a:pt x="351626" y="695968"/>
                </a:cubicBezTo>
                <a:close/>
                <a:moveTo>
                  <a:pt x="1957429" y="262366"/>
                </a:moveTo>
                <a:cubicBezTo>
                  <a:pt x="2634256" y="359480"/>
                  <a:pt x="3156733" y="907132"/>
                  <a:pt x="3221913" y="1587776"/>
                </a:cubicBezTo>
                <a:cubicBezTo>
                  <a:pt x="3287093" y="2268421"/>
                  <a:pt x="2878048" y="2905277"/>
                  <a:pt x="2231953" y="3129078"/>
                </a:cubicBezTo>
                <a:cubicBezTo>
                  <a:pt x="1585858" y="3352879"/>
                  <a:pt x="870522" y="3105497"/>
                  <a:pt x="500715" y="2530372"/>
                </a:cubicBezTo>
                <a:lnTo>
                  <a:pt x="1746987" y="1729019"/>
                </a:lnTo>
                <a:close/>
                <a:moveTo>
                  <a:pt x="1604447" y="200"/>
                </a:moveTo>
                <a:cubicBezTo>
                  <a:pt x="1665125" y="-778"/>
                  <a:pt x="1726175" y="1809"/>
                  <a:pt x="1787307" y="8072"/>
                </a:cubicBezTo>
                <a:lnTo>
                  <a:pt x="1629532" y="1548011"/>
                </a:lnTo>
                <a:lnTo>
                  <a:pt x="483856" y="506987"/>
                </a:lnTo>
                <a:cubicBezTo>
                  <a:pt x="773141" y="188622"/>
                  <a:pt x="1179697" y="7051"/>
                  <a:pt x="1604447" y="200"/>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a:endParaRPr lang="ko-KR" altLang="en-US" sz="1400">
              <a:solidFill>
                <a:srgbClr val="AE4500"/>
              </a:solidFill>
            </a:endParaRPr>
          </a:p>
        </p:txBody>
      </p:sp>
      <p:sp>
        <p:nvSpPr>
          <p:cNvPr id="65" name="Block Arc 14">
            <a:extLst>
              <a:ext uri="{FF2B5EF4-FFF2-40B4-BE49-F238E27FC236}">
                <a16:creationId xmlns:a16="http://schemas.microsoft.com/office/drawing/2014/main" id="{F84CC100-88A8-4E3E-8091-D49E44C308ED}"/>
              </a:ext>
            </a:extLst>
          </p:cNvPr>
          <p:cNvSpPr/>
          <p:nvPr/>
        </p:nvSpPr>
        <p:spPr>
          <a:xfrm rot="16200000">
            <a:off x="8525148" y="1470786"/>
            <a:ext cx="567351" cy="567726"/>
          </a:xfrm>
          <a:custGeom>
            <a:rect l="l" t="t" r="r" b="b"/>
            <a:pathLst>
              <a:path w="3185463" h="3187558">
                <a:moveTo>
                  <a:pt x="764000" y="2343999"/>
                </a:moveTo>
                <a:cubicBezTo>
                  <a:pt x="566798" y="2256389"/>
                  <a:pt x="385374" y="2134753"/>
                  <a:pt x="230072" y="1981662"/>
                </a:cubicBezTo>
                <a:cubicBezTo>
                  <a:pt x="297001" y="2223876"/>
                  <a:pt x="428049" y="2439341"/>
                  <a:pt x="603989" y="2608945"/>
                </a:cubicBezTo>
                <a:cubicBezTo>
                  <a:pt x="667739" y="2525681"/>
                  <a:pt x="720588" y="2436567"/>
                  <a:pt x="764000" y="2343999"/>
                </a:cubicBezTo>
                <a:close/>
                <a:moveTo>
                  <a:pt x="783530" y="862903"/>
                </a:moveTo>
                <a:cubicBezTo>
                  <a:pt x="737619" y="760936"/>
                  <a:pt x="681240" y="662513"/>
                  <a:pt x="611676" y="571152"/>
                </a:cubicBezTo>
                <a:cubicBezTo>
                  <a:pt x="419218" y="754019"/>
                  <a:pt x="279227" y="991173"/>
                  <a:pt x="215545" y="1258034"/>
                </a:cubicBezTo>
                <a:cubicBezTo>
                  <a:pt x="378729" y="1090139"/>
                  <a:pt x="571934" y="956907"/>
                  <a:pt x="783530" y="862903"/>
                </a:cubicBezTo>
                <a:close/>
                <a:moveTo>
                  <a:pt x="935657" y="1673146"/>
                </a:moveTo>
                <a:lnTo>
                  <a:pt x="227023" y="1673146"/>
                </a:lnTo>
                <a:cubicBezTo>
                  <a:pt x="393068" y="1882941"/>
                  <a:pt x="605618" y="2045968"/>
                  <a:pt x="844267" y="2153109"/>
                </a:cubicBezTo>
                <a:cubicBezTo>
                  <a:pt x="897907" y="1997390"/>
                  <a:pt x="928862" y="1835739"/>
                  <a:pt x="935657" y="1673146"/>
                </a:cubicBezTo>
                <a:close/>
                <a:moveTo>
                  <a:pt x="935928" y="1493146"/>
                </a:moveTo>
                <a:cubicBezTo>
                  <a:pt x="928922" y="1345638"/>
                  <a:pt x="902278" y="1198995"/>
                  <a:pt x="856775" y="1056956"/>
                </a:cubicBezTo>
                <a:cubicBezTo>
                  <a:pt x="636768" y="1156959"/>
                  <a:pt x="439487" y="1304654"/>
                  <a:pt x="281464" y="1493146"/>
                </a:cubicBezTo>
                <a:close/>
                <a:moveTo>
                  <a:pt x="1469785" y="2515107"/>
                </a:moveTo>
                <a:cubicBezTo>
                  <a:pt x="1283000" y="2508124"/>
                  <a:pt x="1100523" y="2472287"/>
                  <a:pt x="927628" y="2411229"/>
                </a:cubicBezTo>
                <a:cubicBezTo>
                  <a:pt x="876831" y="2520843"/>
                  <a:pt x="814172" y="2626182"/>
                  <a:pt x="738220" y="2724387"/>
                </a:cubicBezTo>
                <a:cubicBezTo>
                  <a:pt x="944637" y="2881665"/>
                  <a:pt x="1196120" y="2982471"/>
                  <a:pt x="1469785" y="3005418"/>
                </a:cubicBezTo>
                <a:close/>
                <a:moveTo>
                  <a:pt x="1469785" y="1673146"/>
                </a:moveTo>
                <a:lnTo>
                  <a:pt x="1112275" y="1673146"/>
                </a:lnTo>
                <a:cubicBezTo>
                  <a:pt x="1105327" y="1858153"/>
                  <a:pt x="1070032" y="2042144"/>
                  <a:pt x="1008001" y="2219039"/>
                </a:cubicBezTo>
                <a:cubicBezTo>
                  <a:pt x="1155519" y="2270408"/>
                  <a:pt x="1310845" y="2300826"/>
                  <a:pt x="1469785" y="2307834"/>
                </a:cubicBezTo>
                <a:close/>
                <a:moveTo>
                  <a:pt x="1469785" y="898989"/>
                </a:moveTo>
                <a:cubicBezTo>
                  <a:pt x="1315103" y="907762"/>
                  <a:pt x="1164166" y="938783"/>
                  <a:pt x="1020939" y="990066"/>
                </a:cubicBezTo>
                <a:cubicBezTo>
                  <a:pt x="1074574" y="1153655"/>
                  <a:pt x="1105461" y="1322925"/>
                  <a:pt x="1112368" y="1493146"/>
                </a:cubicBezTo>
                <a:lnTo>
                  <a:pt x="1469785" y="1493146"/>
                </a:lnTo>
                <a:close/>
                <a:moveTo>
                  <a:pt x="1469785" y="182141"/>
                </a:moveTo>
                <a:cubicBezTo>
                  <a:pt x="1199839" y="204777"/>
                  <a:pt x="951477" y="303168"/>
                  <a:pt x="746615" y="456764"/>
                </a:cubicBezTo>
                <a:cubicBezTo>
                  <a:pt x="828296" y="562801"/>
                  <a:pt x="894225" y="677310"/>
                  <a:pt x="947434" y="796072"/>
                </a:cubicBezTo>
                <a:cubicBezTo>
                  <a:pt x="1113886" y="736067"/>
                  <a:pt x="1289644" y="700323"/>
                  <a:pt x="1469785" y="691530"/>
                </a:cubicBezTo>
                <a:close/>
                <a:moveTo>
                  <a:pt x="2150063" y="992171"/>
                </a:moveTo>
                <a:cubicBezTo>
                  <a:pt x="1990712" y="935501"/>
                  <a:pt x="1822242" y="902595"/>
                  <a:pt x="1649785" y="897224"/>
                </a:cubicBezTo>
                <a:lnTo>
                  <a:pt x="1649785" y="1493146"/>
                </a:lnTo>
                <a:lnTo>
                  <a:pt x="2063712" y="1493146"/>
                </a:lnTo>
                <a:cubicBezTo>
                  <a:pt x="2069089" y="1323887"/>
                  <a:pt x="2098366" y="1155330"/>
                  <a:pt x="2150063" y="992171"/>
                </a:cubicBezTo>
                <a:close/>
                <a:moveTo>
                  <a:pt x="2168848" y="2199110"/>
                </a:moveTo>
                <a:cubicBezTo>
                  <a:pt x="2108555" y="2028681"/>
                  <a:pt x="2073581" y="1851532"/>
                  <a:pt x="2065295" y="1673146"/>
                </a:cubicBezTo>
                <a:lnTo>
                  <a:pt x="1649785" y="1673146"/>
                </a:lnTo>
                <a:lnTo>
                  <a:pt x="1649785" y="2307299"/>
                </a:lnTo>
                <a:cubicBezTo>
                  <a:pt x="1829404" y="2299517"/>
                  <a:pt x="2004315" y="2261965"/>
                  <a:pt x="2168848" y="2199110"/>
                </a:cubicBezTo>
                <a:close/>
                <a:moveTo>
                  <a:pt x="2422394" y="446879"/>
                </a:moveTo>
                <a:cubicBezTo>
                  <a:pt x="2204309" y="287209"/>
                  <a:pt x="1938140" y="189883"/>
                  <a:pt x="1649785" y="178919"/>
                </a:cubicBezTo>
                <a:lnTo>
                  <a:pt x="1649785" y="689876"/>
                </a:lnTo>
                <a:cubicBezTo>
                  <a:pt x="1846998" y="695154"/>
                  <a:pt x="2039668" y="732502"/>
                  <a:pt x="2221721" y="797410"/>
                </a:cubicBezTo>
                <a:cubicBezTo>
                  <a:pt x="2275056" y="675360"/>
                  <a:pt x="2341760" y="557662"/>
                  <a:pt x="2422394" y="446879"/>
                </a:cubicBezTo>
                <a:close/>
                <a:moveTo>
                  <a:pt x="2447278" y="2722123"/>
                </a:moveTo>
                <a:cubicBezTo>
                  <a:pt x="2366121" y="2618714"/>
                  <a:pt x="2299534" y="2507403"/>
                  <a:pt x="2246145" y="2391362"/>
                </a:cubicBezTo>
                <a:cubicBezTo>
                  <a:pt x="2057375" y="2464119"/>
                  <a:pt x="1856285" y="2506958"/>
                  <a:pt x="1649785" y="2514779"/>
                </a:cubicBezTo>
                <a:lnTo>
                  <a:pt x="1649785" y="3008639"/>
                </a:lnTo>
                <a:cubicBezTo>
                  <a:pt x="1949198" y="2997255"/>
                  <a:pt x="2224691" y="2892757"/>
                  <a:pt x="2447278" y="2722123"/>
                </a:cubicBezTo>
                <a:close/>
                <a:moveTo>
                  <a:pt x="2878934" y="1493146"/>
                </a:moveTo>
                <a:cubicBezTo>
                  <a:pt x="2723190" y="1307255"/>
                  <a:pt x="2529440" y="1161128"/>
                  <a:pt x="2313862" y="1060620"/>
                </a:cubicBezTo>
                <a:cubicBezTo>
                  <a:pt x="2270535" y="1201714"/>
                  <a:pt x="2245604" y="1347104"/>
                  <a:pt x="2240109" y="1493146"/>
                </a:cubicBezTo>
                <a:close/>
                <a:moveTo>
                  <a:pt x="2890636" y="1673146"/>
                </a:moveTo>
                <a:lnTo>
                  <a:pt x="2241814" y="1673146"/>
                </a:lnTo>
                <a:cubicBezTo>
                  <a:pt x="2249736" y="1827102"/>
                  <a:pt x="2279520" y="1979973"/>
                  <a:pt x="2329964" y="2127513"/>
                </a:cubicBezTo>
                <a:cubicBezTo>
                  <a:pt x="2545677" y="2019923"/>
                  <a:pt x="2738160" y="1866413"/>
                  <a:pt x="2890636" y="1673146"/>
                </a:cubicBezTo>
                <a:close/>
                <a:moveTo>
                  <a:pt x="2973035" y="1284386"/>
                </a:moveTo>
                <a:cubicBezTo>
                  <a:pt x="2912066" y="1001840"/>
                  <a:pt x="2765308" y="751379"/>
                  <a:pt x="2561381" y="561108"/>
                </a:cubicBezTo>
                <a:cubicBezTo>
                  <a:pt x="2489321" y="656437"/>
                  <a:pt x="2431363" y="759225"/>
                  <a:pt x="2384553" y="865647"/>
                </a:cubicBezTo>
                <a:cubicBezTo>
                  <a:pt x="2604520" y="964977"/>
                  <a:pt x="2804622" y="1106677"/>
                  <a:pt x="2973035" y="1284386"/>
                </a:cubicBezTo>
                <a:close/>
                <a:moveTo>
                  <a:pt x="2974277" y="1897328"/>
                </a:moveTo>
                <a:cubicBezTo>
                  <a:pt x="2812488" y="2073933"/>
                  <a:pt x="2619878" y="2216690"/>
                  <a:pt x="2407486" y="2319665"/>
                </a:cubicBezTo>
                <a:cubicBezTo>
                  <a:pt x="2454169" y="2420503"/>
                  <a:pt x="2511856" y="2517376"/>
                  <a:pt x="2582047" y="2607468"/>
                </a:cubicBezTo>
                <a:cubicBezTo>
                  <a:pt x="2776399" y="2417974"/>
                  <a:pt x="2916061" y="2172750"/>
                  <a:pt x="2974277" y="1897328"/>
                </a:cubicBezTo>
                <a:close/>
                <a:moveTo>
                  <a:pt x="3185463" y="1593779"/>
                </a:moveTo>
                <a:cubicBezTo>
                  <a:pt x="3185463" y="2473999"/>
                  <a:pt x="2471904" y="3187558"/>
                  <a:pt x="1591684" y="3187558"/>
                </a:cubicBezTo>
                <a:cubicBezTo>
                  <a:pt x="738111" y="3187558"/>
                  <a:pt x="41261" y="2516549"/>
                  <a:pt x="1913" y="1673146"/>
                </a:cubicBezTo>
                <a:lnTo>
                  <a:pt x="0" y="1673146"/>
                </a:lnTo>
                <a:lnTo>
                  <a:pt x="0" y="1493146"/>
                </a:lnTo>
                <a:lnTo>
                  <a:pt x="2750" y="1493146"/>
                </a:lnTo>
                <a:cubicBezTo>
                  <a:pt x="50490" y="700174"/>
                  <a:pt x="679654" y="64473"/>
                  <a:pt x="1469785" y="6156"/>
                </a:cubicBezTo>
                <a:lnTo>
                  <a:pt x="1469785" y="0"/>
                </a:lnTo>
                <a:lnTo>
                  <a:pt x="1591684" y="0"/>
                </a:lnTo>
                <a:lnTo>
                  <a:pt x="1649785" y="0"/>
                </a:lnTo>
                <a:lnTo>
                  <a:pt x="1649785" y="2934"/>
                </a:lnTo>
                <a:cubicBezTo>
                  <a:pt x="2503127" y="31654"/>
                  <a:pt x="3185463" y="733032"/>
                  <a:pt x="3185463" y="1593779"/>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a:endParaRPr lang="ko-KR" altLang="en-US" sz="1400">
              <a:solidFill>
                <a:srgbClr val="AE4500"/>
              </a:solidFill>
            </a:endParaRPr>
          </a:p>
        </p:txBody>
      </p:sp>
      <p:sp>
        <p:nvSpPr>
          <p:cNvPr id="66" name="Block Arc 41">
            <a:extLst>
              <a:ext uri="{FF2B5EF4-FFF2-40B4-BE49-F238E27FC236}">
                <a16:creationId xmlns:a16="http://schemas.microsoft.com/office/drawing/2014/main" id="{39949893-05ED-44C7-999C-84CE9B52D118}"/>
              </a:ext>
            </a:extLst>
          </p:cNvPr>
          <p:cNvSpPr/>
          <p:nvPr/>
        </p:nvSpPr>
        <p:spPr>
          <a:xfrm>
            <a:off x="9408265" y="1424476"/>
            <a:ext cx="473260" cy="660338"/>
          </a:xfrm>
          <a:custGeom>
            <a:rect l="l" t="t" r="r" b="b"/>
            <a:pathLst>
              <a:path w="2512265" h="3505352">
                <a:moveTo>
                  <a:pt x="1276582" y="2106401"/>
                </a:moveTo>
                <a:cubicBezTo>
                  <a:pt x="1154832" y="2195007"/>
                  <a:pt x="1018024" y="2262207"/>
                  <a:pt x="871321" y="2302645"/>
                </a:cubicBezTo>
                <a:cubicBezTo>
                  <a:pt x="1041049" y="2346709"/>
                  <a:pt x="1216984" y="2342691"/>
                  <a:pt x="1380867" y="2295542"/>
                </a:cubicBezTo>
                <a:cubicBezTo>
                  <a:pt x="1352791" y="2227964"/>
                  <a:pt x="1317377" y="2164934"/>
                  <a:pt x="1276582" y="2106401"/>
                </a:cubicBezTo>
                <a:close/>
                <a:moveTo>
                  <a:pt x="931061" y="1768598"/>
                </a:moveTo>
                <a:lnTo>
                  <a:pt x="785084" y="2021438"/>
                </a:lnTo>
                <a:lnTo>
                  <a:pt x="684448" y="2196711"/>
                </a:lnTo>
                <a:cubicBezTo>
                  <a:pt x="868931" y="2169533"/>
                  <a:pt x="1041385" y="2098006"/>
                  <a:pt x="1189228" y="1991290"/>
                </a:cubicBezTo>
                <a:cubicBezTo>
                  <a:pt x="1113839" y="1904543"/>
                  <a:pt x="1026949" y="1829435"/>
                  <a:pt x="931061" y="1768598"/>
                </a:cubicBezTo>
                <a:close/>
                <a:moveTo>
                  <a:pt x="1626242" y="1739577"/>
                </a:moveTo>
                <a:cubicBezTo>
                  <a:pt x="1556851" y="1850020"/>
                  <a:pt x="1471526" y="1947792"/>
                  <a:pt x="1374302" y="2030973"/>
                </a:cubicBezTo>
                <a:cubicBezTo>
                  <a:pt x="1422822" y="2099916"/>
                  <a:pt x="1464618" y="2174537"/>
                  <a:pt x="1497466" y="2254701"/>
                </a:cubicBezTo>
                <a:cubicBezTo>
                  <a:pt x="1664534" y="2184833"/>
                  <a:pt x="1813198" y="2068027"/>
                  <a:pt x="1922549" y="1910651"/>
                </a:cubicBezTo>
                <a:close/>
                <a:moveTo>
                  <a:pt x="531158" y="1601275"/>
                </a:moveTo>
                <a:cubicBezTo>
                  <a:pt x="514831" y="1769123"/>
                  <a:pt x="535254" y="1939877"/>
                  <a:pt x="594029" y="2101141"/>
                </a:cubicBezTo>
                <a:lnTo>
                  <a:pt x="822377" y="1705631"/>
                </a:lnTo>
                <a:cubicBezTo>
                  <a:pt x="730789" y="1658398"/>
                  <a:pt x="632873" y="1623335"/>
                  <a:pt x="531158" y="1601275"/>
                </a:cubicBezTo>
                <a:close/>
                <a:moveTo>
                  <a:pt x="270885" y="1572115"/>
                </a:moveTo>
                <a:cubicBezTo>
                  <a:pt x="231457" y="1572339"/>
                  <a:pt x="191799" y="1574812"/>
                  <a:pt x="152057" y="1579894"/>
                </a:cubicBezTo>
                <a:cubicBezTo>
                  <a:pt x="195418" y="1760005"/>
                  <a:pt x="289893" y="1927350"/>
                  <a:pt x="428945" y="2058945"/>
                </a:cubicBezTo>
                <a:cubicBezTo>
                  <a:pt x="384418" y="1901749"/>
                  <a:pt x="371313" y="1738504"/>
                  <a:pt x="388331" y="1577832"/>
                </a:cubicBezTo>
                <a:cubicBezTo>
                  <a:pt x="349511" y="1573916"/>
                  <a:pt x="310313" y="1571891"/>
                  <a:pt x="270885" y="1572115"/>
                </a:cubicBezTo>
                <a:close/>
                <a:moveTo>
                  <a:pt x="1117422" y="1445810"/>
                </a:moveTo>
                <a:lnTo>
                  <a:pt x="992684" y="1661863"/>
                </a:lnTo>
                <a:cubicBezTo>
                  <a:pt x="1102065" y="1730612"/>
                  <a:pt x="1200940" y="1816138"/>
                  <a:pt x="1286200" y="1915345"/>
                </a:cubicBezTo>
                <a:cubicBezTo>
                  <a:pt x="1368713" y="1844119"/>
                  <a:pt x="1441290" y="1760865"/>
                  <a:pt x="1500981" y="1667258"/>
                </a:cubicBezTo>
                <a:close/>
                <a:moveTo>
                  <a:pt x="2092402" y="1221082"/>
                </a:moveTo>
                <a:cubicBezTo>
                  <a:pt x="2001593" y="1234047"/>
                  <a:pt x="1911092" y="1235450"/>
                  <a:pt x="1822337" y="1227227"/>
                </a:cubicBezTo>
                <a:cubicBezTo>
                  <a:pt x="1800443" y="1366691"/>
                  <a:pt x="1756170" y="1503162"/>
                  <a:pt x="1688847" y="1630684"/>
                </a:cubicBezTo>
                <a:lnTo>
                  <a:pt x="1987299" y="1802996"/>
                </a:lnTo>
                <a:cubicBezTo>
                  <a:pt x="2084887" y="1618081"/>
                  <a:pt x="2117858" y="1415133"/>
                  <a:pt x="2092402" y="1221082"/>
                </a:cubicBezTo>
                <a:close/>
                <a:moveTo>
                  <a:pt x="649579" y="1175701"/>
                </a:moveTo>
                <a:cubicBezTo>
                  <a:pt x="600911" y="1272240"/>
                  <a:pt x="566994" y="1374279"/>
                  <a:pt x="548013" y="1478728"/>
                </a:cubicBezTo>
                <a:cubicBezTo>
                  <a:pt x="665588" y="1503392"/>
                  <a:pt x="778659" y="1543786"/>
                  <a:pt x="883938" y="1599004"/>
                </a:cubicBezTo>
                <a:lnTo>
                  <a:pt x="1008644" y="1383007"/>
                </a:lnTo>
                <a:close/>
                <a:moveTo>
                  <a:pt x="1325201" y="1085928"/>
                </a:moveTo>
                <a:lnTo>
                  <a:pt x="1180226" y="1337032"/>
                </a:lnTo>
                <a:lnTo>
                  <a:pt x="1563461" y="1558293"/>
                </a:lnTo>
                <a:cubicBezTo>
                  <a:pt x="1621429" y="1447029"/>
                  <a:pt x="1659763" y="1328223"/>
                  <a:pt x="1679185" y="1206861"/>
                </a:cubicBezTo>
                <a:cubicBezTo>
                  <a:pt x="1555153" y="1183834"/>
                  <a:pt x="1435895" y="1143161"/>
                  <a:pt x="1325201" y="1085928"/>
                </a:cubicBezTo>
                <a:close/>
                <a:moveTo>
                  <a:pt x="216369" y="925587"/>
                </a:moveTo>
                <a:cubicBezTo>
                  <a:pt x="135862" y="1096620"/>
                  <a:pt x="108667" y="1281041"/>
                  <a:pt x="130011" y="1458436"/>
                </a:cubicBezTo>
                <a:cubicBezTo>
                  <a:pt x="222591" y="1446071"/>
                  <a:pt x="314795" y="1446181"/>
                  <a:pt x="405131" y="1455463"/>
                </a:cubicBezTo>
                <a:cubicBezTo>
                  <a:pt x="426945" y="1333935"/>
                  <a:pt x="466667" y="1215249"/>
                  <a:pt x="524206" y="1103317"/>
                </a:cubicBezTo>
                <a:close/>
                <a:moveTo>
                  <a:pt x="943246" y="797103"/>
                </a:moveTo>
                <a:cubicBezTo>
                  <a:pt x="853400" y="873630"/>
                  <a:pt x="774733" y="963960"/>
                  <a:pt x="711316" y="1066306"/>
                </a:cubicBezTo>
                <a:lnTo>
                  <a:pt x="1071447" y="1274228"/>
                </a:lnTo>
                <a:lnTo>
                  <a:pt x="1215869" y="1024081"/>
                </a:lnTo>
                <a:cubicBezTo>
                  <a:pt x="1115458" y="961776"/>
                  <a:pt x="1023809" y="885272"/>
                  <a:pt x="943246" y="797103"/>
                </a:cubicBezTo>
                <a:close/>
                <a:moveTo>
                  <a:pt x="1777831" y="614825"/>
                </a:moveTo>
                <a:cubicBezTo>
                  <a:pt x="1828108" y="774217"/>
                  <a:pt x="1847177" y="940426"/>
                  <a:pt x="1835302" y="1104709"/>
                </a:cubicBezTo>
                <a:cubicBezTo>
                  <a:pt x="1912529" y="1111680"/>
                  <a:pt x="1991200" y="1110618"/>
                  <a:pt x="2070135" y="1099634"/>
                </a:cubicBezTo>
                <a:cubicBezTo>
                  <a:pt x="2023430" y="916066"/>
                  <a:pt x="1923963" y="746103"/>
                  <a:pt x="1777831" y="614825"/>
                </a:cubicBezTo>
                <a:close/>
                <a:moveTo>
                  <a:pt x="1613169" y="587153"/>
                </a:moveTo>
                <a:lnTo>
                  <a:pt x="1386789" y="979253"/>
                </a:lnTo>
                <a:cubicBezTo>
                  <a:pt x="1482593" y="1028182"/>
                  <a:pt x="1585369" y="1063521"/>
                  <a:pt x="1692132" y="1084514"/>
                </a:cubicBezTo>
                <a:cubicBezTo>
                  <a:pt x="1702376" y="916614"/>
                  <a:pt x="1676765" y="746730"/>
                  <a:pt x="1613169" y="587153"/>
                </a:cubicBezTo>
                <a:close/>
                <a:moveTo>
                  <a:pt x="1500307" y="531421"/>
                </a:moveTo>
                <a:cubicBezTo>
                  <a:pt x="1333628" y="560682"/>
                  <a:pt x="1177718" y="626786"/>
                  <a:pt x="1041762" y="721997"/>
                </a:cubicBezTo>
                <a:cubicBezTo>
                  <a:pt x="1111912" y="797410"/>
                  <a:pt x="1191076" y="863204"/>
                  <a:pt x="1277416" y="917480"/>
                </a:cubicBezTo>
                <a:close/>
                <a:moveTo>
                  <a:pt x="708730" y="442269"/>
                </a:moveTo>
                <a:cubicBezTo>
                  <a:pt x="536145" y="518354"/>
                  <a:pt x="384460" y="645249"/>
                  <a:pt x="277225" y="815684"/>
                </a:cubicBezTo>
                <a:lnTo>
                  <a:pt x="586010" y="993961"/>
                </a:lnTo>
                <a:cubicBezTo>
                  <a:pt x="658009" y="876621"/>
                  <a:pt x="747803" y="773217"/>
                  <a:pt x="850548" y="685844"/>
                </a:cubicBezTo>
                <a:cubicBezTo>
                  <a:pt x="795399" y="611028"/>
                  <a:pt x="747545" y="529652"/>
                  <a:pt x="708730" y="442269"/>
                </a:cubicBezTo>
                <a:close/>
                <a:moveTo>
                  <a:pt x="1114411" y="355452"/>
                </a:moveTo>
                <a:cubicBezTo>
                  <a:pt x="1016499" y="355167"/>
                  <a:pt x="919324" y="369705"/>
                  <a:pt x="826255" y="398131"/>
                </a:cubicBezTo>
                <a:cubicBezTo>
                  <a:pt x="858722" y="474940"/>
                  <a:pt x="900618" y="545829"/>
                  <a:pt x="948599" y="611249"/>
                </a:cubicBezTo>
                <a:cubicBezTo>
                  <a:pt x="1085375" y="512974"/>
                  <a:pt x="1240825" y="441488"/>
                  <a:pt x="1406980" y="401715"/>
                </a:cubicBezTo>
                <a:cubicBezTo>
                  <a:pt x="1310969" y="370847"/>
                  <a:pt x="1212322" y="355738"/>
                  <a:pt x="1114411" y="355452"/>
                </a:cubicBezTo>
                <a:close/>
                <a:moveTo>
                  <a:pt x="1776283" y="295101"/>
                </a:moveTo>
                <a:lnTo>
                  <a:pt x="1710896" y="408983"/>
                </a:lnTo>
                <a:cubicBezTo>
                  <a:pt x="2209777" y="726145"/>
                  <a:pt x="2373723" y="1383396"/>
                  <a:pt x="2075153" y="1900534"/>
                </a:cubicBezTo>
                <a:cubicBezTo>
                  <a:pt x="1777480" y="2416119"/>
                  <a:pt x="1129323" y="2603192"/>
                  <a:pt x="606057" y="2333243"/>
                </a:cubicBezTo>
                <a:lnTo>
                  <a:pt x="534769" y="2457402"/>
                </a:lnTo>
                <a:cubicBezTo>
                  <a:pt x="1115347" y="2755664"/>
                  <a:pt x="1834151" y="2554240"/>
                  <a:pt x="2173557" y="1987198"/>
                </a:cubicBezTo>
                <a:cubicBezTo>
                  <a:pt x="2520801" y="1407062"/>
                  <a:pt x="2343129" y="657734"/>
                  <a:pt x="1776283" y="295101"/>
                </a:cubicBezTo>
                <a:close/>
                <a:moveTo>
                  <a:pt x="1831804" y="0"/>
                </a:moveTo>
                <a:cubicBezTo>
                  <a:pt x="1881515" y="0"/>
                  <a:pt x="1921814" y="40299"/>
                  <a:pt x="1921814" y="90010"/>
                </a:cubicBezTo>
                <a:cubicBezTo>
                  <a:pt x="1921814" y="123853"/>
                  <a:pt x="1903137" y="153333"/>
                  <a:pt x="1874873" y="167531"/>
                </a:cubicBezTo>
                <a:cubicBezTo>
                  <a:pt x="2505724" y="579432"/>
                  <a:pt x="2701456" y="1419035"/>
                  <a:pt x="2311836" y="2069966"/>
                </a:cubicBezTo>
                <a:cubicBezTo>
                  <a:pt x="2067801" y="2477672"/>
                  <a:pt x="1650037" y="2717958"/>
                  <a:pt x="1209422" y="2750781"/>
                </a:cubicBezTo>
                <a:lnTo>
                  <a:pt x="1209422" y="3191198"/>
                </a:lnTo>
                <a:cubicBezTo>
                  <a:pt x="1228953" y="3190691"/>
                  <a:pt x="1248332" y="3191937"/>
                  <a:pt x="1267595" y="3193449"/>
                </a:cubicBezTo>
                <a:cubicBezTo>
                  <a:pt x="1660899" y="3224325"/>
                  <a:pt x="1926978" y="3358049"/>
                  <a:pt x="1884661" y="3503570"/>
                </a:cubicBezTo>
                <a:lnTo>
                  <a:pt x="318693" y="3505352"/>
                </a:lnTo>
                <a:cubicBezTo>
                  <a:pt x="273700" y="3359367"/>
                  <a:pt x="539657" y="3224666"/>
                  <a:pt x="934393" y="3193515"/>
                </a:cubicBezTo>
                <a:lnTo>
                  <a:pt x="993398" y="3191208"/>
                </a:lnTo>
                <a:lnTo>
                  <a:pt x="993398" y="2750894"/>
                </a:lnTo>
                <a:cubicBezTo>
                  <a:pt x="812915" y="2737642"/>
                  <a:pt x="632784" y="2688481"/>
                  <a:pt x="463078" y="2601537"/>
                </a:cubicBezTo>
                <a:cubicBezTo>
                  <a:pt x="463677" y="2602537"/>
                  <a:pt x="463694" y="2603560"/>
                  <a:pt x="463694" y="2604587"/>
                </a:cubicBezTo>
                <a:cubicBezTo>
                  <a:pt x="463694" y="2654298"/>
                  <a:pt x="423395" y="2694597"/>
                  <a:pt x="373684" y="2694597"/>
                </a:cubicBezTo>
                <a:cubicBezTo>
                  <a:pt x="323973" y="2694597"/>
                  <a:pt x="283674" y="2654298"/>
                  <a:pt x="283674" y="2604587"/>
                </a:cubicBezTo>
                <a:cubicBezTo>
                  <a:pt x="283674" y="2554876"/>
                  <a:pt x="323973" y="2514577"/>
                  <a:pt x="373684" y="2514577"/>
                </a:cubicBezTo>
                <a:lnTo>
                  <a:pt x="377019" y="2515250"/>
                </a:lnTo>
                <a:lnTo>
                  <a:pt x="511820" y="2280472"/>
                </a:lnTo>
                <a:lnTo>
                  <a:pt x="495824" y="2271237"/>
                </a:lnTo>
                <a:lnTo>
                  <a:pt x="496783" y="2269575"/>
                </a:lnTo>
                <a:cubicBezTo>
                  <a:pt x="34226" y="1964050"/>
                  <a:pt x="-130424" y="1362029"/>
                  <a:pt x="110016" y="864184"/>
                </a:cubicBezTo>
                <a:lnTo>
                  <a:pt x="106296" y="862036"/>
                </a:lnTo>
                <a:lnTo>
                  <a:pt x="148828" y="788370"/>
                </a:lnTo>
                <a:lnTo>
                  <a:pt x="169099" y="753258"/>
                </a:lnTo>
                <a:lnTo>
                  <a:pt x="170873" y="754281"/>
                </a:lnTo>
                <a:cubicBezTo>
                  <a:pt x="475914" y="264737"/>
                  <a:pt x="1106018" y="92008"/>
                  <a:pt x="1617242" y="355196"/>
                </a:cubicBezTo>
                <a:lnTo>
                  <a:pt x="1748044" y="127384"/>
                </a:lnTo>
                <a:lnTo>
                  <a:pt x="1751959" y="129632"/>
                </a:lnTo>
                <a:cubicBezTo>
                  <a:pt x="1745165" y="117975"/>
                  <a:pt x="1741794" y="104386"/>
                  <a:pt x="1741794" y="90010"/>
                </a:cubicBezTo>
                <a:cubicBezTo>
                  <a:pt x="1741794" y="40299"/>
                  <a:pt x="1782093" y="0"/>
                  <a:pt x="1831804" y="0"/>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a:endParaRPr lang="ko-KR" altLang="en-US" sz="1400">
              <a:solidFill>
                <a:srgbClr val="AE4500"/>
              </a:solidFill>
            </a:endParaRPr>
          </a:p>
        </p:txBody>
      </p:sp>
      <p:sp>
        <p:nvSpPr>
          <p:cNvPr id="67" name="Right Triangle 17">
            <a:extLst>
              <a:ext uri="{FF2B5EF4-FFF2-40B4-BE49-F238E27FC236}">
                <a16:creationId xmlns:a16="http://schemas.microsoft.com/office/drawing/2014/main" id="{6ADCC979-BA1C-4251-B6F5-CE5AA2B72FD0}"/>
              </a:ext>
            </a:extLst>
          </p:cNvPr>
          <p:cNvSpPr/>
          <p:nvPr/>
        </p:nvSpPr>
        <p:spPr>
          <a:xfrm>
            <a:off x="7705610" y="4600858"/>
            <a:ext cx="385757" cy="546345"/>
          </a:xfrm>
          <a:custGeom>
            <a:rect l="l" t="t" r="r" b="b"/>
            <a:pathLst>
              <a:path w="2387678" h="3240000">
                <a:moveTo>
                  <a:pt x="1645041" y="17032"/>
                </a:moveTo>
                <a:lnTo>
                  <a:pt x="2376264" y="17032"/>
                </a:lnTo>
                <a:lnTo>
                  <a:pt x="2376264" y="17033"/>
                </a:lnTo>
                <a:lnTo>
                  <a:pt x="1645042" y="17033"/>
                </a:lnTo>
                <a:close/>
                <a:moveTo>
                  <a:pt x="0" y="17032"/>
                </a:moveTo>
                <a:lnTo>
                  <a:pt x="1379678" y="17032"/>
                </a:lnTo>
                <a:lnTo>
                  <a:pt x="1379678" y="996125"/>
                </a:lnTo>
                <a:lnTo>
                  <a:pt x="2376264" y="996125"/>
                </a:lnTo>
                <a:lnTo>
                  <a:pt x="2376264" y="3240000"/>
                </a:lnTo>
                <a:lnTo>
                  <a:pt x="0" y="3240000"/>
                </a:lnTo>
                <a:close/>
                <a:moveTo>
                  <a:pt x="1498869" y="0"/>
                </a:moveTo>
                <a:lnTo>
                  <a:pt x="2387678" y="888809"/>
                </a:lnTo>
                <a:lnTo>
                  <a:pt x="1498869" y="888809"/>
                </a:ln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a:endParaRPr lang="ko-KR" altLang="en-US" sz="1400">
              <a:solidFill>
                <a:srgbClr val="AE4500"/>
              </a:solidFill>
            </a:endParaRPr>
          </a:p>
        </p:txBody>
      </p:sp>
      <p:sp>
        <p:nvSpPr>
          <p:cNvPr id="81" name="Oval 66">
            <a:extLst>
              <a:ext uri="{FF2B5EF4-FFF2-40B4-BE49-F238E27FC236}">
                <a16:creationId xmlns:a16="http://schemas.microsoft.com/office/drawing/2014/main" id="{64136ECC-E882-4D1E-8298-06A6A02A6E1A}"/>
              </a:ext>
            </a:extLst>
          </p:cNvPr>
          <p:cNvSpPr/>
          <p:nvPr/>
        </p:nvSpPr>
        <p:spPr>
          <a:xfrm rot="20700000">
            <a:off x="6137532" y="3634190"/>
            <a:ext cx="548633" cy="469947"/>
          </a:xfrm>
          <a:custGeom>
            <a:rect l="l" t="t" r="r" b="b"/>
            <a:pathLst>
              <a:path w="2901316" h="2485205">
                <a:moveTo>
                  <a:pt x="2901316" y="8833"/>
                </a:moveTo>
                <a:lnTo>
                  <a:pt x="2885407" y="69738"/>
                </a:lnTo>
                <a:lnTo>
                  <a:pt x="2890344" y="71061"/>
                </a:lnTo>
                <a:lnTo>
                  <a:pt x="2331295" y="2157461"/>
                </a:lnTo>
                <a:lnTo>
                  <a:pt x="2322295" y="2155049"/>
                </a:lnTo>
                <a:cubicBezTo>
                  <a:pt x="2311779" y="2339141"/>
                  <a:pt x="2127696" y="2485205"/>
                  <a:pt x="1902404" y="2485205"/>
                </a:cubicBezTo>
                <a:cubicBezTo>
                  <a:pt x="1669201" y="2485205"/>
                  <a:pt x="1480151" y="2328701"/>
                  <a:pt x="1480150" y="2135644"/>
                </a:cubicBezTo>
                <a:cubicBezTo>
                  <a:pt x="1480150" y="1942587"/>
                  <a:pt x="1669200" y="1786083"/>
                  <a:pt x="1902404" y="1786083"/>
                </a:cubicBezTo>
                <a:cubicBezTo>
                  <a:pt x="2026046" y="1786083"/>
                  <a:pt x="2137276" y="1830075"/>
                  <a:pt x="2213623" y="1901150"/>
                </a:cubicBezTo>
                <a:lnTo>
                  <a:pt x="2586815" y="508378"/>
                </a:lnTo>
                <a:lnTo>
                  <a:pt x="1283297" y="508378"/>
                </a:lnTo>
                <a:lnTo>
                  <a:pt x="847984" y="2132988"/>
                </a:lnTo>
                <a:lnTo>
                  <a:pt x="841776" y="2131324"/>
                </a:lnTo>
                <a:cubicBezTo>
                  <a:pt x="829584" y="2314002"/>
                  <a:pt x="646295" y="2458448"/>
                  <a:pt x="422254" y="2458448"/>
                </a:cubicBezTo>
                <a:cubicBezTo>
                  <a:pt x="189051" y="2458448"/>
                  <a:pt x="1" y="2301944"/>
                  <a:pt x="0" y="2108887"/>
                </a:cubicBezTo>
                <a:cubicBezTo>
                  <a:pt x="0" y="1915830"/>
                  <a:pt x="189051" y="1759326"/>
                  <a:pt x="422255" y="1759326"/>
                </a:cubicBezTo>
                <a:cubicBezTo>
                  <a:pt x="544771" y="1759326"/>
                  <a:pt x="655100" y="1802522"/>
                  <a:pt x="731465" y="1872378"/>
                </a:cubicBezTo>
                <a:lnTo>
                  <a:pt x="1233167" y="0"/>
                </a:lnTo>
                <a:lnTo>
                  <a:pt x="1266129" y="8833"/>
                </a:ln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a:endParaRPr lang="ko-KR" altLang="en-US" sz="1400">
              <a:solidFill>
                <a:srgbClr val="AE4500"/>
              </a:solidFill>
            </a:endParaRPr>
          </a:p>
        </p:txBody>
      </p:sp>
      <p:sp>
        <p:nvSpPr>
          <p:cNvPr id="89" name="Rectangle 9">
            <a:extLst>
              <a:ext uri="{FF2B5EF4-FFF2-40B4-BE49-F238E27FC236}">
                <a16:creationId xmlns:a16="http://schemas.microsoft.com/office/drawing/2014/main" id="{444E6227-4972-4DE6-BEB0-C3FC42991182}"/>
              </a:ext>
            </a:extLst>
          </p:cNvPr>
          <p:cNvSpPr/>
          <p:nvPr/>
        </p:nvSpPr>
        <p:spPr>
          <a:xfrm>
            <a:off x="4401325" y="3545241"/>
            <a:ext cx="527289" cy="493590"/>
          </a:xfrm>
          <a:custGeom>
            <a:gdLst>
              <a:gd name="connsiteX0" fmla="*/ 1576606 w 3239999"/>
              <a:gd name="connsiteY0" fmla="*/ 2778202 h 3032924"/>
              <a:gd name="connsiteX1" fmla="*/ 1663394 w 3239999"/>
              <a:gd name="connsiteY1" fmla="*/ 2778202 h 3032924"/>
              <a:gd name="connsiteX2" fmla="*/ 1663394 w 3239999"/>
              <a:gd name="connsiteY2" fmla="*/ 2776423 h 3032924"/>
              <a:gd name="connsiteX3" fmla="*/ 2991331 w 3239999"/>
              <a:gd name="connsiteY3" fmla="*/ 2709748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 name="connsiteX34" fmla="*/ 1668046 w 3239999"/>
              <a:gd name="connsiteY34" fmla="*/ 2869642 h 3032924"/>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239999" h="3032924">
                <a:moveTo>
                  <a:pt x="1576606" y="2778202"/>
                </a:moveTo>
                <a:cubicBezTo>
                  <a:pt x="1576606" y="2778795"/>
                  <a:pt x="1663394" y="2792670"/>
                  <a:pt x="1663394" y="2778202"/>
                </a:cubicBezTo>
                <a:lnTo>
                  <a:pt x="1663394" y="2776423"/>
                </a:lnTo>
                <a:cubicBezTo>
                  <a:pt x="2185083" y="2605634"/>
                  <a:pt x="2444552" y="2500589"/>
                  <a:pt x="2991331" y="2709748"/>
                </a:cubicBezTo>
                <a:lnTo>
                  <a:pt x="3000856" y="526981"/>
                </a:lnTo>
                <a:lnTo>
                  <a:pt x="2855082" y="526981"/>
                </a:lnTo>
                <a:cubicBezTo>
                  <a:pt x="2857178" y="1175360"/>
                  <a:pt x="2859273" y="1823738"/>
                  <a:pt x="2861369" y="2472117"/>
                </a:cubicBezTo>
                <a:cubicBezTo>
                  <a:pt x="2483869" y="2318121"/>
                  <a:pt x="2052449" y="2439541"/>
                  <a:pt x="1663394" y="2765302"/>
                </a:cubicBezTo>
                <a:lnTo>
                  <a:pt x="1663394" y="526981"/>
                </a:lnTo>
                <a:lnTo>
                  <a:pt x="1663394" y="430441"/>
                </a:lnTo>
                <a:lnTo>
                  <a:pt x="1663394" y="402054"/>
                </a:lnTo>
                <a:cubicBezTo>
                  <a:pt x="1896442" y="149589"/>
                  <a:pt x="2115835" y="2106"/>
                  <a:pt x="2406065" y="22"/>
                </a:cubicBezTo>
                <a:cubicBezTo>
                  <a:pt x="2537987" y="-925"/>
                  <a:pt x="2684544" y="28169"/>
                  <a:pt x="2853673" y="91100"/>
                </a:cubicBezTo>
                <a:cubicBezTo>
                  <a:pt x="2854039" y="204214"/>
                  <a:pt x="2854404" y="317327"/>
                  <a:pt x="2854770" y="430441"/>
                </a:cubicBezTo>
                <a:lnTo>
                  <a:pt x="3120669" y="428517"/>
                </a:lnTo>
                <a:lnTo>
                  <a:pt x="3120669" y="738345"/>
                </a:lnTo>
                <a:lnTo>
                  <a:pt x="3239999" y="738345"/>
                </a:lnTo>
                <a:lnTo>
                  <a:pt x="3239999" y="3032924"/>
                </a:lnTo>
                <a:lnTo>
                  <a:pt x="0" y="3032924"/>
                </a:lnTo>
                <a:lnTo>
                  <a:pt x="0" y="738345"/>
                </a:lnTo>
                <a:lnTo>
                  <a:pt x="102477" y="738345"/>
                </a:lnTo>
                <a:lnTo>
                  <a:pt x="102477" y="428517"/>
                </a:lnTo>
                <a:lnTo>
                  <a:pt x="385229" y="430441"/>
                </a:lnTo>
                <a:cubicBezTo>
                  <a:pt x="385595" y="317327"/>
                  <a:pt x="385960" y="204214"/>
                  <a:pt x="386326" y="91100"/>
                </a:cubicBezTo>
                <a:cubicBezTo>
                  <a:pt x="555455" y="28169"/>
                  <a:pt x="702013" y="-925"/>
                  <a:pt x="833935" y="22"/>
                </a:cubicBezTo>
                <a:cubicBezTo>
                  <a:pt x="1124164" y="2106"/>
                  <a:pt x="1343558" y="149589"/>
                  <a:pt x="1576606" y="402054"/>
                </a:cubicBezTo>
                <a:lnTo>
                  <a:pt x="1576606" y="430441"/>
                </a:lnTo>
                <a:lnTo>
                  <a:pt x="1576606" y="526981"/>
                </a:lnTo>
                <a:lnTo>
                  <a:pt x="1576606" y="2765302"/>
                </a:lnTo>
                <a:cubicBezTo>
                  <a:pt x="1187550" y="2439541"/>
                  <a:pt x="756130" y="2318121"/>
                  <a:pt x="378630" y="2472117"/>
                </a:cubicBezTo>
                <a:lnTo>
                  <a:pt x="384918" y="526981"/>
                </a:lnTo>
                <a:lnTo>
                  <a:pt x="239143" y="526981"/>
                </a:lnTo>
                <a:lnTo>
                  <a:pt x="229618" y="2690698"/>
                </a:lnTo>
                <a:cubicBezTo>
                  <a:pt x="773243" y="2466244"/>
                  <a:pt x="1081748" y="2626096"/>
                  <a:pt x="1576606" y="2776423"/>
                </a:cubicBezTo>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rgbClr val="AE4500"/>
              </a:solidFill>
            </a:endParaRPr>
          </a:p>
        </p:txBody>
      </p:sp>
      <p:sp>
        <p:nvSpPr>
          <p:cNvPr id="91" name="Frame 17">
            <a:extLst>
              <a:ext uri="{FF2B5EF4-FFF2-40B4-BE49-F238E27FC236}">
                <a16:creationId xmlns:a16="http://schemas.microsoft.com/office/drawing/2014/main" id="{1278BF84-DDF3-43F8-88E4-A0F28E4079EF}"/>
              </a:ext>
            </a:extLst>
          </p:cNvPr>
          <p:cNvSpPr/>
          <p:nvPr/>
        </p:nvSpPr>
        <p:spPr>
          <a:xfrm>
            <a:off x="4376388" y="4613318"/>
            <a:ext cx="508109" cy="508109"/>
          </a:xfrm>
          <a:custGeom>
            <a:rect l="l" t="t" r="r" b="b"/>
            <a:pathLst>
              <a:path w="3240000" h="3240000">
                <a:moveTo>
                  <a:pt x="415456" y="380544"/>
                </a:moveTo>
                <a:lnTo>
                  <a:pt x="415456" y="385333"/>
                </a:lnTo>
                <a:lnTo>
                  <a:pt x="385333" y="385333"/>
                </a:lnTo>
                <a:lnTo>
                  <a:pt x="385333" y="2854667"/>
                </a:lnTo>
                <a:lnTo>
                  <a:pt x="1529120" y="2854667"/>
                </a:lnTo>
                <a:cubicBezTo>
                  <a:pt x="1267123" y="2430711"/>
                  <a:pt x="997530" y="1721825"/>
                  <a:pt x="436017" y="1672600"/>
                </a:cubicBezTo>
                <a:lnTo>
                  <a:pt x="600235" y="1185112"/>
                </a:lnTo>
                <a:cubicBezTo>
                  <a:pt x="1132790" y="1359573"/>
                  <a:pt x="1278822" y="1550851"/>
                  <a:pt x="1544730" y="1923929"/>
                </a:cubicBezTo>
                <a:cubicBezTo>
                  <a:pt x="1789452" y="1379400"/>
                  <a:pt x="1927092" y="1088696"/>
                  <a:pt x="2233403" y="596568"/>
                </a:cubicBezTo>
                <a:lnTo>
                  <a:pt x="2770666" y="596568"/>
                </a:lnTo>
                <a:cubicBezTo>
                  <a:pt x="2331495" y="1220469"/>
                  <a:pt x="1907612" y="2113878"/>
                  <a:pt x="1578489" y="2854667"/>
                </a:cubicBezTo>
                <a:lnTo>
                  <a:pt x="2854667" y="2854667"/>
                </a:lnTo>
                <a:lnTo>
                  <a:pt x="2854667" y="596568"/>
                </a:lnTo>
                <a:lnTo>
                  <a:pt x="2858395" y="596568"/>
                </a:lnTo>
                <a:lnTo>
                  <a:pt x="2858395" y="380544"/>
                </a:lnTo>
                <a:close/>
                <a:moveTo>
                  <a:pt x="0" y="0"/>
                </a:moveTo>
                <a:lnTo>
                  <a:pt x="3240000" y="0"/>
                </a:lnTo>
                <a:lnTo>
                  <a:pt x="3240000" y="3240000"/>
                </a:lnTo>
                <a:lnTo>
                  <a:pt x="0" y="3240000"/>
                </a:ln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rgbClr val="AE4500"/>
              </a:solidFill>
            </a:endParaRPr>
          </a:p>
        </p:txBody>
      </p:sp>
      <p:sp>
        <p:nvSpPr>
          <p:cNvPr id="93" name="Teardrop 1">
            <a:extLst>
              <a:ext uri="{FF2B5EF4-FFF2-40B4-BE49-F238E27FC236}">
                <a16:creationId xmlns:a16="http://schemas.microsoft.com/office/drawing/2014/main" id="{45BBC696-75E7-44AB-A411-9B80C52FFE5A}"/>
              </a:ext>
            </a:extLst>
          </p:cNvPr>
          <p:cNvSpPr/>
          <p:nvPr/>
        </p:nvSpPr>
        <p:spPr>
          <a:xfrm rot="18805992">
            <a:off x="10126344" y="1539515"/>
            <a:ext cx="551795" cy="546039"/>
          </a:xfrm>
          <a:custGeom>
            <a:rect l="l" t="t" r="r" b="b"/>
            <a:pathLst>
              <a:path w="1807240" h="1788383">
                <a:moveTo>
                  <a:pt x="712876" y="1117592"/>
                </a:moveTo>
                <a:cubicBezTo>
                  <a:pt x="771173" y="1181828"/>
                  <a:pt x="811089" y="1255910"/>
                  <a:pt x="847925" y="1348018"/>
                </a:cubicBezTo>
                <a:cubicBezTo>
                  <a:pt x="814544" y="1418896"/>
                  <a:pt x="753893" y="1474052"/>
                  <a:pt x="679064" y="1498332"/>
                </a:cubicBezTo>
                <a:lnTo>
                  <a:pt x="308226" y="1106637"/>
                </a:lnTo>
                <a:cubicBezTo>
                  <a:pt x="336560" y="1033247"/>
                  <a:pt x="394949" y="975701"/>
                  <a:pt x="467546" y="946245"/>
                </a:cubicBezTo>
                <a:cubicBezTo>
                  <a:pt x="577903" y="998968"/>
                  <a:pt x="654580" y="1053357"/>
                  <a:pt x="712876" y="1117592"/>
                </a:cubicBezTo>
                <a:close/>
                <a:moveTo>
                  <a:pt x="1038527" y="398886"/>
                </a:moveTo>
                <a:lnTo>
                  <a:pt x="1405560" y="786562"/>
                </a:lnTo>
                <a:cubicBezTo>
                  <a:pt x="1374476" y="799049"/>
                  <a:pt x="1340402" y="804299"/>
                  <a:pt x="1305054" y="803332"/>
                </a:cubicBezTo>
                <a:lnTo>
                  <a:pt x="1008167" y="795212"/>
                </a:lnTo>
                <a:lnTo>
                  <a:pt x="1016288" y="498325"/>
                </a:lnTo>
                <a:cubicBezTo>
                  <a:pt x="1017255" y="462976"/>
                  <a:pt x="1024360" y="429240"/>
                  <a:pt x="1038527" y="398886"/>
                </a:cubicBezTo>
                <a:close/>
                <a:moveTo>
                  <a:pt x="1097925" y="218888"/>
                </a:moveTo>
                <a:cubicBezTo>
                  <a:pt x="992582" y="279303"/>
                  <a:pt x="921871" y="392886"/>
                  <a:pt x="921053" y="523256"/>
                </a:cubicBezTo>
                <a:lnTo>
                  <a:pt x="919136" y="828763"/>
                </a:lnTo>
                <a:lnTo>
                  <a:pt x="830924" y="915875"/>
                </a:lnTo>
                <a:lnTo>
                  <a:pt x="525417" y="913958"/>
                </a:lnTo>
                <a:cubicBezTo>
                  <a:pt x="403891" y="913196"/>
                  <a:pt x="296188" y="973343"/>
                  <a:pt x="234366" y="1067831"/>
                </a:cubicBezTo>
                <a:lnTo>
                  <a:pt x="710285" y="1570519"/>
                </a:lnTo>
                <a:cubicBezTo>
                  <a:pt x="811872" y="1510375"/>
                  <a:pt x="878808" y="1399439"/>
                  <a:pt x="879603" y="1272618"/>
                </a:cubicBezTo>
                <a:lnTo>
                  <a:pt x="881520" y="967111"/>
                </a:lnTo>
                <a:lnTo>
                  <a:pt x="969732" y="879999"/>
                </a:lnTo>
                <a:lnTo>
                  <a:pt x="1275239" y="881916"/>
                </a:lnTo>
                <a:cubicBezTo>
                  <a:pt x="1400271" y="882701"/>
                  <a:pt x="1510670" y="819011"/>
                  <a:pt x="1573529" y="721242"/>
                </a:cubicBezTo>
                <a:close/>
                <a:moveTo>
                  <a:pt x="1162945" y="27894"/>
                </a:moveTo>
                <a:lnTo>
                  <a:pt x="1782798" y="682611"/>
                </a:lnTo>
                <a:cubicBezTo>
                  <a:pt x="1816692" y="718411"/>
                  <a:pt x="1815147" y="774907"/>
                  <a:pt x="1779347" y="808801"/>
                </a:cubicBezTo>
                <a:cubicBezTo>
                  <a:pt x="1743547" y="842694"/>
                  <a:pt x="1687050" y="841149"/>
                  <a:pt x="1653157" y="805349"/>
                </a:cubicBezTo>
                <a:lnTo>
                  <a:pt x="1644015" y="795693"/>
                </a:lnTo>
                <a:cubicBezTo>
                  <a:pt x="1561789" y="910282"/>
                  <a:pt x="1426630" y="983636"/>
                  <a:pt x="1274606" y="982683"/>
                </a:cubicBezTo>
                <a:lnTo>
                  <a:pt x="980378" y="980836"/>
                </a:lnTo>
                <a:lnTo>
                  <a:pt x="980378" y="1270380"/>
                </a:lnTo>
                <a:cubicBezTo>
                  <a:pt x="980378" y="1427425"/>
                  <a:pt x="901198" y="1565976"/>
                  <a:pt x="779756" y="1647056"/>
                </a:cubicBezTo>
                <a:cubicBezTo>
                  <a:pt x="807405" y="1681913"/>
                  <a:pt x="803595" y="1732594"/>
                  <a:pt x="770486" y="1763941"/>
                </a:cubicBezTo>
                <a:cubicBezTo>
                  <a:pt x="734686" y="1797834"/>
                  <a:pt x="678189" y="1796289"/>
                  <a:pt x="644296" y="1760489"/>
                </a:cubicBezTo>
                <a:lnTo>
                  <a:pt x="24442" y="1105772"/>
                </a:lnTo>
                <a:cubicBezTo>
                  <a:pt x="-9451" y="1069973"/>
                  <a:pt x="-7906" y="1013476"/>
                  <a:pt x="27894" y="979583"/>
                </a:cubicBezTo>
                <a:cubicBezTo>
                  <a:pt x="63694" y="945689"/>
                  <a:pt x="120190" y="947235"/>
                  <a:pt x="154084" y="983034"/>
                </a:cubicBezTo>
                <a:lnTo>
                  <a:pt x="163237" y="992702"/>
                </a:lnTo>
                <a:cubicBezTo>
                  <a:pt x="244774" y="882877"/>
                  <a:pt x="375836" y="813180"/>
                  <a:pt x="523178" y="813180"/>
                </a:cubicBezTo>
                <a:lnTo>
                  <a:pt x="818460" y="813180"/>
                </a:lnTo>
                <a:lnTo>
                  <a:pt x="820284" y="522622"/>
                </a:lnTo>
                <a:cubicBezTo>
                  <a:pt x="821285" y="363119"/>
                  <a:pt x="903845" y="223207"/>
                  <a:pt x="1028952" y="143673"/>
                </a:cubicBezTo>
                <a:cubicBezTo>
                  <a:pt x="999689" y="108599"/>
                  <a:pt x="1002953" y="56445"/>
                  <a:pt x="1036755" y="24443"/>
                </a:cubicBezTo>
                <a:cubicBezTo>
                  <a:pt x="1072555" y="-9451"/>
                  <a:pt x="1129052" y="-7906"/>
                  <a:pt x="1162945" y="27894"/>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a:endParaRPr lang="ko-KR" altLang="en-US" sz="1400">
              <a:solidFill>
                <a:srgbClr val="AE4500"/>
              </a:solidFill>
            </a:endParaRPr>
          </a:p>
        </p:txBody>
      </p:sp>
      <p:sp>
        <p:nvSpPr>
          <p:cNvPr id="94" name="Rectangle 130">
            <a:extLst>
              <a:ext uri="{FF2B5EF4-FFF2-40B4-BE49-F238E27FC236}">
                <a16:creationId xmlns:a16="http://schemas.microsoft.com/office/drawing/2014/main" id="{F7759672-254A-46D2-98DF-B919494C603A}"/>
              </a:ext>
            </a:extLst>
          </p:cNvPr>
          <p:cNvSpPr/>
          <p:nvPr/>
        </p:nvSpPr>
        <p:spPr>
          <a:xfrm>
            <a:off x="10932405" y="1539582"/>
            <a:ext cx="544530" cy="547001"/>
          </a:xfrm>
          <a:custGeom>
            <a:rect l="l" t="t" r="r" b="b"/>
            <a:pathLst>
              <a:path w="371900" h="373588">
                <a:moveTo>
                  <a:pt x="297080" y="129105"/>
                </a:moveTo>
                <a:lnTo>
                  <a:pt x="284273" y="219737"/>
                </a:lnTo>
                <a:lnTo>
                  <a:pt x="305496" y="219737"/>
                </a:lnTo>
                <a:lnTo>
                  <a:pt x="333001" y="129105"/>
                </a:lnTo>
                <a:close/>
                <a:moveTo>
                  <a:pt x="228265" y="129105"/>
                </a:moveTo>
                <a:lnTo>
                  <a:pt x="228265" y="219737"/>
                </a:lnTo>
                <a:lnTo>
                  <a:pt x="250807" y="219737"/>
                </a:lnTo>
                <a:lnTo>
                  <a:pt x="263614" y="129105"/>
                </a:lnTo>
                <a:close/>
                <a:moveTo>
                  <a:pt x="157021" y="129105"/>
                </a:moveTo>
                <a:lnTo>
                  <a:pt x="175826" y="219737"/>
                </a:lnTo>
                <a:lnTo>
                  <a:pt x="195129" y="219737"/>
                </a:lnTo>
                <a:lnTo>
                  <a:pt x="195129" y="129105"/>
                </a:lnTo>
                <a:close/>
                <a:moveTo>
                  <a:pt x="93087" y="129105"/>
                </a:moveTo>
                <a:lnTo>
                  <a:pt x="117372" y="219737"/>
                </a:lnTo>
                <a:lnTo>
                  <a:pt x="141984" y="219737"/>
                </a:lnTo>
                <a:lnTo>
                  <a:pt x="123179" y="129105"/>
                </a:lnTo>
                <a:close/>
                <a:moveTo>
                  <a:pt x="58494" y="0"/>
                </a:moveTo>
                <a:lnTo>
                  <a:pt x="84208" y="95969"/>
                </a:lnTo>
                <a:lnTo>
                  <a:pt x="354346" y="95969"/>
                </a:lnTo>
                <a:lnTo>
                  <a:pt x="354346" y="97437"/>
                </a:lnTo>
                <a:cubicBezTo>
                  <a:pt x="356087" y="96136"/>
                  <a:pt x="357928" y="96353"/>
                  <a:pt x="359747" y="96905"/>
                </a:cubicBezTo>
                <a:lnTo>
                  <a:pt x="360371" y="97095"/>
                </a:lnTo>
                <a:cubicBezTo>
                  <a:pt x="368954" y="99700"/>
                  <a:pt x="373801" y="108770"/>
                  <a:pt x="371196" y="117354"/>
                </a:cubicBezTo>
                <a:lnTo>
                  <a:pt x="333339" y="242097"/>
                </a:lnTo>
                <a:cubicBezTo>
                  <a:pt x="331591" y="247858"/>
                  <a:pt x="326929" y="251935"/>
                  <a:pt x="321206" y="252122"/>
                </a:cubicBezTo>
                <a:lnTo>
                  <a:pt x="321206" y="252873"/>
                </a:lnTo>
                <a:lnTo>
                  <a:pt x="313576" y="252873"/>
                </a:lnTo>
                <a:cubicBezTo>
                  <a:pt x="313378" y="253010"/>
                  <a:pt x="313229" y="252967"/>
                  <a:pt x="313080" y="252922"/>
                </a:cubicBezTo>
                <a:lnTo>
                  <a:pt x="312919" y="252873"/>
                </a:lnTo>
                <a:lnTo>
                  <a:pt x="126251" y="252873"/>
                </a:lnTo>
                <a:lnTo>
                  <a:pt x="133971" y="281687"/>
                </a:lnTo>
                <a:lnTo>
                  <a:pt x="321075" y="281687"/>
                </a:lnTo>
                <a:lnTo>
                  <a:pt x="321075" y="314823"/>
                </a:lnTo>
                <a:lnTo>
                  <a:pt x="318480" y="314823"/>
                </a:lnTo>
                <a:cubicBezTo>
                  <a:pt x="329614" y="318311"/>
                  <a:pt x="336414" y="328969"/>
                  <a:pt x="336414" y="341215"/>
                </a:cubicBezTo>
                <a:cubicBezTo>
                  <a:pt x="336414" y="359094"/>
                  <a:pt x="321920" y="373588"/>
                  <a:pt x="304041" y="373588"/>
                </a:cubicBezTo>
                <a:cubicBezTo>
                  <a:pt x="286162" y="373588"/>
                  <a:pt x="271668" y="359094"/>
                  <a:pt x="271668" y="341215"/>
                </a:cubicBezTo>
                <a:cubicBezTo>
                  <a:pt x="271668" y="328969"/>
                  <a:pt x="278468" y="318311"/>
                  <a:pt x="289602" y="314823"/>
                </a:cubicBezTo>
                <a:lnTo>
                  <a:pt x="142850" y="314823"/>
                </a:lnTo>
                <a:lnTo>
                  <a:pt x="143397" y="316865"/>
                </a:lnTo>
                <a:cubicBezTo>
                  <a:pt x="151629" y="321811"/>
                  <a:pt x="156401" y="330956"/>
                  <a:pt x="156401" y="341215"/>
                </a:cubicBezTo>
                <a:cubicBezTo>
                  <a:pt x="156401" y="359094"/>
                  <a:pt x="141907" y="373588"/>
                  <a:pt x="124028" y="373588"/>
                </a:cubicBezTo>
                <a:cubicBezTo>
                  <a:pt x="106149" y="373588"/>
                  <a:pt x="91655" y="359094"/>
                  <a:pt x="91655" y="341215"/>
                </a:cubicBezTo>
                <a:cubicBezTo>
                  <a:pt x="91655" y="329356"/>
                  <a:pt x="98032" y="318986"/>
                  <a:pt x="108649" y="315212"/>
                </a:cubicBezTo>
                <a:lnTo>
                  <a:pt x="33542" y="34909"/>
                </a:lnTo>
                <a:lnTo>
                  <a:pt x="0" y="34909"/>
                </a:lnTo>
                <a:lnTo>
                  <a:pt x="0" y="1773"/>
                </a:lnTo>
                <a:lnTo>
                  <a:pt x="51879" y="1773"/>
                </a:ln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rgbClr val="AE4500"/>
              </a:solidFill>
            </a:endParaRPr>
          </a:p>
        </p:txBody>
      </p:sp>
      <p:sp>
        <p:nvSpPr>
          <p:cNvPr id="95" name="Right Triangle 17">
            <a:extLst>
              <a:ext uri="{FF2B5EF4-FFF2-40B4-BE49-F238E27FC236}">
                <a16:creationId xmlns:a16="http://schemas.microsoft.com/office/drawing/2014/main" id="{5B989D8F-E127-48E7-B329-C52CA522C191}"/>
              </a:ext>
            </a:extLst>
          </p:cNvPr>
          <p:cNvSpPr>
            <a:spLocks noChangeAspect="1"/>
          </p:cNvSpPr>
          <p:nvPr/>
        </p:nvSpPr>
        <p:spPr>
          <a:xfrm>
            <a:off x="9363191" y="4577927"/>
            <a:ext cx="478107" cy="569275"/>
          </a:xfrm>
          <a:custGeom>
            <a:rect l="l" t="t" r="r" b="b"/>
            <a:pathLst>
              <a:path w="2721114" h="3240000">
                <a:moveTo>
                  <a:pt x="1999321" y="2603448"/>
                </a:moveTo>
                <a:lnTo>
                  <a:pt x="1999321" y="2772810"/>
                </a:lnTo>
                <a:lnTo>
                  <a:pt x="2528507" y="2772810"/>
                </a:lnTo>
                <a:lnTo>
                  <a:pt x="2528507" y="2603448"/>
                </a:lnTo>
                <a:close/>
                <a:moveTo>
                  <a:pt x="2263914" y="2230929"/>
                </a:moveTo>
                <a:cubicBezTo>
                  <a:pt x="2516419" y="2230929"/>
                  <a:pt x="2721114" y="2435624"/>
                  <a:pt x="2721114" y="2688129"/>
                </a:cubicBezTo>
                <a:cubicBezTo>
                  <a:pt x="2721114" y="2940634"/>
                  <a:pt x="2516419" y="3145329"/>
                  <a:pt x="2263914" y="3145329"/>
                </a:cubicBezTo>
                <a:cubicBezTo>
                  <a:pt x="2011409" y="3145329"/>
                  <a:pt x="1806714" y="2940634"/>
                  <a:pt x="1806714" y="2688129"/>
                </a:cubicBezTo>
                <a:cubicBezTo>
                  <a:pt x="1806714" y="2435624"/>
                  <a:pt x="2011409" y="2230929"/>
                  <a:pt x="2263914" y="2230929"/>
                </a:cubicBezTo>
                <a:close/>
                <a:moveTo>
                  <a:pt x="1576134" y="17032"/>
                </a:moveTo>
                <a:lnTo>
                  <a:pt x="2276728" y="17032"/>
                </a:lnTo>
                <a:lnTo>
                  <a:pt x="2276728" y="17033"/>
                </a:lnTo>
                <a:lnTo>
                  <a:pt x="1576135" y="17033"/>
                </a:lnTo>
                <a:close/>
                <a:moveTo>
                  <a:pt x="0" y="17032"/>
                </a:moveTo>
                <a:lnTo>
                  <a:pt x="1321887" y="17032"/>
                </a:lnTo>
                <a:lnTo>
                  <a:pt x="1321887" y="996125"/>
                </a:lnTo>
                <a:lnTo>
                  <a:pt x="2276728" y="996125"/>
                </a:lnTo>
                <a:lnTo>
                  <a:pt x="2276728" y="2160187"/>
                </a:lnTo>
                <a:cubicBezTo>
                  <a:pt x="1979345" y="2161001"/>
                  <a:pt x="1738579" y="2402384"/>
                  <a:pt x="1738579" y="2700000"/>
                </a:cubicBezTo>
                <a:cubicBezTo>
                  <a:pt x="1738579" y="2997617"/>
                  <a:pt x="1979345" y="3238999"/>
                  <a:pt x="2276728" y="3239814"/>
                </a:cubicBezTo>
                <a:lnTo>
                  <a:pt x="2276728" y="3240000"/>
                </a:lnTo>
                <a:lnTo>
                  <a:pt x="0" y="3240000"/>
                </a:lnTo>
                <a:close/>
                <a:moveTo>
                  <a:pt x="1436085" y="0"/>
                </a:moveTo>
                <a:lnTo>
                  <a:pt x="2287664" y="888809"/>
                </a:lnTo>
                <a:lnTo>
                  <a:pt x="1436085" y="888809"/>
                </a:ln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a:endParaRPr lang="ko-KR" altLang="en-US" sz="1400">
              <a:solidFill>
                <a:srgbClr val="AE4500"/>
              </a:solidFill>
            </a:endParaRPr>
          </a:p>
        </p:txBody>
      </p:sp>
      <p:sp>
        <p:nvSpPr>
          <p:cNvPr id="96" name="Right Triangle 17">
            <a:extLst>
              <a:ext uri="{FF2B5EF4-FFF2-40B4-BE49-F238E27FC236}">
                <a16:creationId xmlns:a16="http://schemas.microsoft.com/office/drawing/2014/main" id="{D61B263F-9E2B-4D6D-AE92-C6B011C62C98}"/>
              </a:ext>
            </a:extLst>
          </p:cNvPr>
          <p:cNvSpPr>
            <a:spLocks noChangeAspect="1"/>
          </p:cNvSpPr>
          <p:nvPr/>
        </p:nvSpPr>
        <p:spPr>
          <a:xfrm>
            <a:off x="8488223" y="4577927"/>
            <a:ext cx="478107" cy="569275"/>
          </a:xfrm>
          <a:custGeom>
            <a:rect l="l" t="t" r="r" b="b"/>
            <a:pathLst>
              <a:path w="2721114" h="3240000">
                <a:moveTo>
                  <a:pt x="2179233" y="2431577"/>
                </a:moveTo>
                <a:lnTo>
                  <a:pt x="2179233" y="2611489"/>
                </a:lnTo>
                <a:lnTo>
                  <a:pt x="1999321" y="2611489"/>
                </a:lnTo>
                <a:lnTo>
                  <a:pt x="1999321" y="2780851"/>
                </a:lnTo>
                <a:lnTo>
                  <a:pt x="2179233" y="2780851"/>
                </a:lnTo>
                <a:lnTo>
                  <a:pt x="2179233" y="2960763"/>
                </a:lnTo>
                <a:lnTo>
                  <a:pt x="2348595" y="2960763"/>
                </a:lnTo>
                <a:lnTo>
                  <a:pt x="2348595" y="2780851"/>
                </a:lnTo>
                <a:lnTo>
                  <a:pt x="2528507" y="2780851"/>
                </a:lnTo>
                <a:lnTo>
                  <a:pt x="2528507" y="2611489"/>
                </a:lnTo>
                <a:lnTo>
                  <a:pt x="2348595" y="2611489"/>
                </a:lnTo>
                <a:lnTo>
                  <a:pt x="2348595" y="2431577"/>
                </a:lnTo>
                <a:close/>
                <a:moveTo>
                  <a:pt x="2263914" y="2238970"/>
                </a:moveTo>
                <a:cubicBezTo>
                  <a:pt x="2516419" y="2238970"/>
                  <a:pt x="2721114" y="2443665"/>
                  <a:pt x="2721114" y="2696170"/>
                </a:cubicBezTo>
                <a:cubicBezTo>
                  <a:pt x="2721114" y="2948675"/>
                  <a:pt x="2516419" y="3153370"/>
                  <a:pt x="2263914" y="3153370"/>
                </a:cubicBezTo>
                <a:cubicBezTo>
                  <a:pt x="2011409" y="3153370"/>
                  <a:pt x="1806714" y="2948675"/>
                  <a:pt x="1806714" y="2696170"/>
                </a:cubicBezTo>
                <a:cubicBezTo>
                  <a:pt x="1806714" y="2443665"/>
                  <a:pt x="2011409" y="2238970"/>
                  <a:pt x="2263914" y="2238970"/>
                </a:cubicBezTo>
                <a:close/>
                <a:moveTo>
                  <a:pt x="1576134" y="17032"/>
                </a:moveTo>
                <a:lnTo>
                  <a:pt x="2276728" y="17032"/>
                </a:lnTo>
                <a:lnTo>
                  <a:pt x="2276728" y="17033"/>
                </a:lnTo>
                <a:lnTo>
                  <a:pt x="1576135" y="17033"/>
                </a:lnTo>
                <a:close/>
                <a:moveTo>
                  <a:pt x="0" y="17032"/>
                </a:moveTo>
                <a:lnTo>
                  <a:pt x="1321887" y="17032"/>
                </a:lnTo>
                <a:lnTo>
                  <a:pt x="1321887" y="996125"/>
                </a:lnTo>
                <a:lnTo>
                  <a:pt x="2276728" y="996125"/>
                </a:lnTo>
                <a:lnTo>
                  <a:pt x="2276728" y="2160187"/>
                </a:lnTo>
                <a:cubicBezTo>
                  <a:pt x="1979345" y="2161001"/>
                  <a:pt x="1738579" y="2402384"/>
                  <a:pt x="1738579" y="2700000"/>
                </a:cubicBezTo>
                <a:cubicBezTo>
                  <a:pt x="1738579" y="2997617"/>
                  <a:pt x="1979345" y="3238999"/>
                  <a:pt x="2276728" y="3239814"/>
                </a:cubicBezTo>
                <a:lnTo>
                  <a:pt x="2276728" y="3240000"/>
                </a:lnTo>
                <a:lnTo>
                  <a:pt x="0" y="3240000"/>
                </a:lnTo>
                <a:close/>
                <a:moveTo>
                  <a:pt x="1436085" y="0"/>
                </a:moveTo>
                <a:lnTo>
                  <a:pt x="2287664" y="888809"/>
                </a:lnTo>
                <a:lnTo>
                  <a:pt x="1436085" y="888809"/>
                </a:ln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a:endParaRPr lang="ko-KR" altLang="en-US" sz="1400">
              <a:solidFill>
                <a:srgbClr val="AE4500"/>
              </a:solidFill>
            </a:endParaRPr>
          </a:p>
        </p:txBody>
      </p:sp>
      <p:sp>
        <p:nvSpPr>
          <p:cNvPr id="97" name="Right Triangle 17">
            <a:extLst>
              <a:ext uri="{FF2B5EF4-FFF2-40B4-BE49-F238E27FC236}">
                <a16:creationId xmlns:a16="http://schemas.microsoft.com/office/drawing/2014/main" id="{5E5AE7B0-988E-44BF-89EA-013033086F96}"/>
              </a:ext>
            </a:extLst>
          </p:cNvPr>
          <p:cNvSpPr>
            <a:spLocks noChangeAspect="1"/>
          </p:cNvSpPr>
          <p:nvPr/>
        </p:nvSpPr>
        <p:spPr>
          <a:xfrm>
            <a:off x="10238155" y="4577927"/>
            <a:ext cx="478107" cy="569275"/>
          </a:xfrm>
          <a:custGeom>
            <a:rect l="l" t="t" r="r" b="b"/>
            <a:pathLst>
              <a:path w="2721114" h="3240000">
                <a:moveTo>
                  <a:pt x="2136698" y="2449196"/>
                </a:moveTo>
                <a:lnTo>
                  <a:pt x="2016940" y="2568954"/>
                </a:lnTo>
                <a:lnTo>
                  <a:pt x="2144156" y="2696170"/>
                </a:lnTo>
                <a:lnTo>
                  <a:pt x="2016940" y="2823386"/>
                </a:lnTo>
                <a:lnTo>
                  <a:pt x="2136698" y="2943144"/>
                </a:lnTo>
                <a:lnTo>
                  <a:pt x="2263914" y="2815928"/>
                </a:lnTo>
                <a:lnTo>
                  <a:pt x="2391130" y="2943144"/>
                </a:lnTo>
                <a:lnTo>
                  <a:pt x="2510888" y="2823386"/>
                </a:lnTo>
                <a:lnTo>
                  <a:pt x="2383672" y="2696170"/>
                </a:lnTo>
                <a:lnTo>
                  <a:pt x="2510888" y="2568954"/>
                </a:lnTo>
                <a:lnTo>
                  <a:pt x="2391130" y="2449196"/>
                </a:lnTo>
                <a:lnTo>
                  <a:pt x="2263914" y="2576412"/>
                </a:lnTo>
                <a:close/>
                <a:moveTo>
                  <a:pt x="2263914" y="2238970"/>
                </a:moveTo>
                <a:cubicBezTo>
                  <a:pt x="2516419" y="2238970"/>
                  <a:pt x="2721114" y="2443665"/>
                  <a:pt x="2721114" y="2696170"/>
                </a:cubicBezTo>
                <a:cubicBezTo>
                  <a:pt x="2721114" y="2948675"/>
                  <a:pt x="2516419" y="3153370"/>
                  <a:pt x="2263914" y="3153370"/>
                </a:cubicBezTo>
                <a:cubicBezTo>
                  <a:pt x="2011409" y="3153370"/>
                  <a:pt x="1806714" y="2948675"/>
                  <a:pt x="1806714" y="2696170"/>
                </a:cubicBezTo>
                <a:cubicBezTo>
                  <a:pt x="1806714" y="2443665"/>
                  <a:pt x="2011409" y="2238970"/>
                  <a:pt x="2263914" y="2238970"/>
                </a:cubicBezTo>
                <a:close/>
                <a:moveTo>
                  <a:pt x="1576134" y="17032"/>
                </a:moveTo>
                <a:lnTo>
                  <a:pt x="2276728" y="17032"/>
                </a:lnTo>
                <a:lnTo>
                  <a:pt x="2276728" y="17033"/>
                </a:lnTo>
                <a:lnTo>
                  <a:pt x="1576135" y="17033"/>
                </a:lnTo>
                <a:close/>
                <a:moveTo>
                  <a:pt x="0" y="17032"/>
                </a:moveTo>
                <a:lnTo>
                  <a:pt x="1321887" y="17032"/>
                </a:lnTo>
                <a:lnTo>
                  <a:pt x="1321887" y="996125"/>
                </a:lnTo>
                <a:lnTo>
                  <a:pt x="2276728" y="996125"/>
                </a:lnTo>
                <a:lnTo>
                  <a:pt x="2276728" y="2160187"/>
                </a:lnTo>
                <a:cubicBezTo>
                  <a:pt x="1979345" y="2161001"/>
                  <a:pt x="1738579" y="2402384"/>
                  <a:pt x="1738579" y="2700000"/>
                </a:cubicBezTo>
                <a:cubicBezTo>
                  <a:pt x="1738579" y="2997617"/>
                  <a:pt x="1979345" y="3238999"/>
                  <a:pt x="2276728" y="3239814"/>
                </a:cubicBezTo>
                <a:lnTo>
                  <a:pt x="2276728" y="3240000"/>
                </a:lnTo>
                <a:lnTo>
                  <a:pt x="0" y="3240000"/>
                </a:lnTo>
                <a:close/>
                <a:moveTo>
                  <a:pt x="1436085" y="0"/>
                </a:moveTo>
                <a:lnTo>
                  <a:pt x="2287664" y="888809"/>
                </a:lnTo>
                <a:lnTo>
                  <a:pt x="1436085" y="888809"/>
                </a:ln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a:endParaRPr lang="ko-KR" altLang="en-US" sz="1400">
              <a:solidFill>
                <a:srgbClr val="AE4500"/>
              </a:solidFill>
            </a:endParaRPr>
          </a:p>
        </p:txBody>
      </p:sp>
      <p:sp>
        <p:nvSpPr>
          <p:cNvPr id="98" name="Oval 44">
            <a:extLst>
              <a:ext uri="{FF2B5EF4-FFF2-40B4-BE49-F238E27FC236}">
                <a16:creationId xmlns:a16="http://schemas.microsoft.com/office/drawing/2014/main" id="{94195A6D-E3B2-4E10-BD54-AC5E4FED7A15}"/>
              </a:ext>
            </a:extLst>
          </p:cNvPr>
          <p:cNvSpPr>
            <a:spLocks noChangeAspect="1"/>
          </p:cNvSpPr>
          <p:nvPr/>
        </p:nvSpPr>
        <p:spPr>
          <a:xfrm>
            <a:off x="11113123" y="4577927"/>
            <a:ext cx="478107" cy="569275"/>
          </a:xfrm>
          <a:custGeom>
            <a:rect l="l" t="t" r="r" b="b"/>
            <a:pathLst>
              <a:path w="2721114" h="3240000">
                <a:moveTo>
                  <a:pt x="2519839" y="2469622"/>
                </a:moveTo>
                <a:lnTo>
                  <a:pt x="2201779" y="2787682"/>
                </a:lnTo>
                <a:lnTo>
                  <a:pt x="2003023" y="2588926"/>
                </a:lnTo>
                <a:lnTo>
                  <a:pt x="1901669" y="2690281"/>
                </a:lnTo>
                <a:lnTo>
                  <a:pt x="2203868" y="2992480"/>
                </a:lnTo>
                <a:lnTo>
                  <a:pt x="2305222" y="2891125"/>
                </a:lnTo>
                <a:lnTo>
                  <a:pt x="2303133" y="2889037"/>
                </a:lnTo>
                <a:lnTo>
                  <a:pt x="2621194" y="2570977"/>
                </a:lnTo>
                <a:close/>
                <a:moveTo>
                  <a:pt x="2263914" y="2238970"/>
                </a:moveTo>
                <a:cubicBezTo>
                  <a:pt x="2516419" y="2238970"/>
                  <a:pt x="2721114" y="2443665"/>
                  <a:pt x="2721114" y="2696170"/>
                </a:cubicBezTo>
                <a:cubicBezTo>
                  <a:pt x="2721114" y="2948675"/>
                  <a:pt x="2516419" y="3153370"/>
                  <a:pt x="2263914" y="3153370"/>
                </a:cubicBezTo>
                <a:cubicBezTo>
                  <a:pt x="2011409" y="3153370"/>
                  <a:pt x="1806714" y="2948675"/>
                  <a:pt x="1806714" y="2696170"/>
                </a:cubicBezTo>
                <a:cubicBezTo>
                  <a:pt x="1806714" y="2443665"/>
                  <a:pt x="2011409" y="2238970"/>
                  <a:pt x="2263914" y="2238970"/>
                </a:cubicBezTo>
                <a:close/>
                <a:moveTo>
                  <a:pt x="1576134" y="17032"/>
                </a:moveTo>
                <a:lnTo>
                  <a:pt x="2276728" y="17032"/>
                </a:lnTo>
                <a:lnTo>
                  <a:pt x="2276728" y="17033"/>
                </a:lnTo>
                <a:lnTo>
                  <a:pt x="1576135" y="17033"/>
                </a:lnTo>
                <a:close/>
                <a:moveTo>
                  <a:pt x="0" y="17032"/>
                </a:moveTo>
                <a:lnTo>
                  <a:pt x="1321887" y="17032"/>
                </a:lnTo>
                <a:lnTo>
                  <a:pt x="1321887" y="996125"/>
                </a:lnTo>
                <a:lnTo>
                  <a:pt x="2276728" y="996125"/>
                </a:lnTo>
                <a:lnTo>
                  <a:pt x="2276728" y="2160187"/>
                </a:lnTo>
                <a:cubicBezTo>
                  <a:pt x="1979345" y="2161001"/>
                  <a:pt x="1738579" y="2402384"/>
                  <a:pt x="1738579" y="2700000"/>
                </a:cubicBezTo>
                <a:cubicBezTo>
                  <a:pt x="1738579" y="2997617"/>
                  <a:pt x="1979345" y="3238999"/>
                  <a:pt x="2276728" y="3239814"/>
                </a:cubicBezTo>
                <a:lnTo>
                  <a:pt x="2276728" y="3240000"/>
                </a:lnTo>
                <a:lnTo>
                  <a:pt x="0" y="3240000"/>
                </a:lnTo>
                <a:close/>
                <a:moveTo>
                  <a:pt x="1436085" y="0"/>
                </a:moveTo>
                <a:lnTo>
                  <a:pt x="2287664" y="888809"/>
                </a:lnTo>
                <a:lnTo>
                  <a:pt x="1436085" y="888809"/>
                </a:ln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a:endParaRPr lang="ko-KR" altLang="en-US" sz="1400">
              <a:solidFill>
                <a:srgbClr val="AE4500"/>
              </a:solidFill>
            </a:endParaRPr>
          </a:p>
        </p:txBody>
      </p:sp>
      <p:sp>
        <p:nvSpPr>
          <p:cNvPr id="122" name="Google Shape;6000;p67"/>
          <p:cNvSpPr/>
          <p:nvPr/>
        </p:nvSpPr>
        <p:spPr>
          <a:xfrm>
            <a:off x="4351348" y="1478943"/>
            <a:ext cx="604193" cy="616425"/>
          </a:xfrm>
          <a:custGeom>
            <a:rect l="l" t="t" r="r" b="b"/>
            <a:pathLst>
              <a:path w="12446" h="12698" extrusionOk="0">
                <a:moveTo>
                  <a:pt x="6239" y="1"/>
                </a:moveTo>
                <a:cubicBezTo>
                  <a:pt x="5105" y="1"/>
                  <a:pt x="4191" y="915"/>
                  <a:pt x="4159" y="2112"/>
                </a:cubicBezTo>
                <a:cubicBezTo>
                  <a:pt x="4159" y="3088"/>
                  <a:pt x="4852" y="3939"/>
                  <a:pt x="5798" y="4097"/>
                </a:cubicBezTo>
                <a:lnTo>
                  <a:pt x="5798" y="5294"/>
                </a:lnTo>
                <a:cubicBezTo>
                  <a:pt x="4852" y="5483"/>
                  <a:pt x="4159" y="6333"/>
                  <a:pt x="4159" y="7310"/>
                </a:cubicBezTo>
                <a:cubicBezTo>
                  <a:pt x="4159" y="7657"/>
                  <a:pt x="4222" y="7972"/>
                  <a:pt x="4380" y="8255"/>
                </a:cubicBezTo>
                <a:lnTo>
                  <a:pt x="3403" y="9043"/>
                </a:lnTo>
                <a:cubicBezTo>
                  <a:pt x="3057" y="8728"/>
                  <a:pt x="2584" y="8570"/>
                  <a:pt x="2112" y="8570"/>
                </a:cubicBezTo>
                <a:cubicBezTo>
                  <a:pt x="946" y="8602"/>
                  <a:pt x="1" y="9515"/>
                  <a:pt x="1" y="10650"/>
                </a:cubicBezTo>
                <a:cubicBezTo>
                  <a:pt x="1" y="11784"/>
                  <a:pt x="946" y="12697"/>
                  <a:pt x="2112" y="12697"/>
                </a:cubicBezTo>
                <a:cubicBezTo>
                  <a:pt x="3246" y="12697"/>
                  <a:pt x="4128" y="11752"/>
                  <a:pt x="4191" y="10650"/>
                </a:cubicBezTo>
                <a:cubicBezTo>
                  <a:pt x="4191" y="10303"/>
                  <a:pt x="4096" y="9988"/>
                  <a:pt x="3939" y="9704"/>
                </a:cubicBezTo>
                <a:lnTo>
                  <a:pt x="4947" y="8917"/>
                </a:lnTo>
                <a:cubicBezTo>
                  <a:pt x="5294" y="9232"/>
                  <a:pt x="5766" y="9389"/>
                  <a:pt x="6239" y="9389"/>
                </a:cubicBezTo>
                <a:cubicBezTo>
                  <a:pt x="6743" y="9389"/>
                  <a:pt x="7184" y="9200"/>
                  <a:pt x="7530" y="8917"/>
                </a:cubicBezTo>
                <a:lnTo>
                  <a:pt x="8507" y="9704"/>
                </a:lnTo>
                <a:cubicBezTo>
                  <a:pt x="8350" y="9988"/>
                  <a:pt x="8287" y="10303"/>
                  <a:pt x="8287" y="10650"/>
                </a:cubicBezTo>
                <a:cubicBezTo>
                  <a:pt x="8287" y="11784"/>
                  <a:pt x="9232" y="12697"/>
                  <a:pt x="10366" y="12697"/>
                </a:cubicBezTo>
                <a:cubicBezTo>
                  <a:pt x="11500" y="12697"/>
                  <a:pt x="12414" y="11752"/>
                  <a:pt x="12445" y="10650"/>
                </a:cubicBezTo>
                <a:cubicBezTo>
                  <a:pt x="12445" y="9515"/>
                  <a:pt x="11563" y="8602"/>
                  <a:pt x="10366" y="8570"/>
                </a:cubicBezTo>
                <a:cubicBezTo>
                  <a:pt x="9862" y="8570"/>
                  <a:pt x="9421" y="8759"/>
                  <a:pt x="9074" y="9043"/>
                </a:cubicBezTo>
                <a:lnTo>
                  <a:pt x="8097" y="8255"/>
                </a:lnTo>
                <a:cubicBezTo>
                  <a:pt x="8255" y="7972"/>
                  <a:pt x="8318" y="7657"/>
                  <a:pt x="8318" y="7310"/>
                </a:cubicBezTo>
                <a:cubicBezTo>
                  <a:pt x="8318" y="6333"/>
                  <a:pt x="7625" y="5451"/>
                  <a:pt x="6680" y="5294"/>
                </a:cubicBezTo>
                <a:lnTo>
                  <a:pt x="6680" y="4097"/>
                </a:lnTo>
                <a:cubicBezTo>
                  <a:pt x="7625" y="3908"/>
                  <a:pt x="8318" y="3088"/>
                  <a:pt x="8318" y="2112"/>
                </a:cubicBezTo>
                <a:cubicBezTo>
                  <a:pt x="8318" y="946"/>
                  <a:pt x="7404" y="64"/>
                  <a:pt x="6239" y="1"/>
                </a:cubicBezTo>
                <a:close/>
              </a:path>
            </a:pathLst>
          </a:custGeom>
          <a:solidFill>
            <a:srgbClr val="00677F"/>
          </a:solidFill>
          <a:ln>
            <a:noFill/>
          </a:ln>
        </p:spPr>
        <p:txBody>
          <a:bodyPr spcFirstLastPara="1" wrap="square" lIns="91417" tIns="91417" rIns="91417" bIns="91417" anchor="ctr" anchorCtr="0">
            <a:noAutofit/>
          </a:bodyPr>
          <a:lstStyle/>
          <a:p>
            <a:endParaRPr sz="1400">
              <a:solidFill>
                <a:srgbClr val="AE4500"/>
              </a:solidFill>
            </a:endParaRPr>
          </a:p>
        </p:txBody>
      </p:sp>
      <p:grpSp>
        <p:nvGrpSpPr>
          <p:cNvPr id="151" name="Google Shape;6029;p67"/>
          <p:cNvGrpSpPr/>
          <p:nvPr/>
        </p:nvGrpSpPr>
        <p:grpSpPr>
          <a:xfrm>
            <a:off x="9367529" y="5419730"/>
            <a:ext cx="404112" cy="560193"/>
            <a:chOff x="-38860326" y="3221750"/>
            <a:chExt cx="228425" cy="316650"/>
          </a:xfrm>
          <a:solidFill>
            <a:srgbClr val="00677F"/>
          </a:solidFill>
        </p:grpSpPr>
        <p:sp>
          <p:nvSpPr>
            <p:cNvPr id="152" name="Google Shape;6030;p67"/>
            <p:cNvSpPr/>
            <p:nvPr/>
          </p:nvSpPr>
          <p:spPr>
            <a:xfrm>
              <a:off x="-38735874" y="3222550"/>
              <a:ext cx="103975" cy="123675"/>
            </a:xfrm>
            <a:custGeom>
              <a:rect l="l" t="t" r="r" b="b"/>
              <a:pathLst>
                <a:path w="4159" h="4947" extrusionOk="0">
                  <a:moveTo>
                    <a:pt x="0" y="0"/>
                  </a:moveTo>
                  <a:lnTo>
                    <a:pt x="0" y="2552"/>
                  </a:lnTo>
                  <a:cubicBezTo>
                    <a:pt x="473" y="2710"/>
                    <a:pt x="851" y="3182"/>
                    <a:pt x="851" y="3750"/>
                  </a:cubicBezTo>
                  <a:lnTo>
                    <a:pt x="851" y="4947"/>
                  </a:lnTo>
                  <a:lnTo>
                    <a:pt x="4159" y="4947"/>
                  </a:lnTo>
                  <a:lnTo>
                    <a:pt x="4159" y="3687"/>
                  </a:lnTo>
                  <a:cubicBezTo>
                    <a:pt x="4159" y="1639"/>
                    <a:pt x="2489" y="0"/>
                    <a:pt x="441" y="0"/>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153" name="Google Shape;6031;p67"/>
            <p:cNvSpPr/>
            <p:nvPr/>
          </p:nvSpPr>
          <p:spPr>
            <a:xfrm>
              <a:off x="-38756375" y="3302875"/>
              <a:ext cx="22075" cy="63050"/>
            </a:xfrm>
            <a:custGeom>
              <a:rect l="l" t="t" r="r" b="b"/>
              <a:pathLst>
                <a:path w="883" h="2522" extrusionOk="0">
                  <a:moveTo>
                    <a:pt x="474" y="1"/>
                  </a:moveTo>
                  <a:cubicBezTo>
                    <a:pt x="253" y="1"/>
                    <a:pt x="95" y="222"/>
                    <a:pt x="95" y="442"/>
                  </a:cubicBezTo>
                  <a:lnTo>
                    <a:pt x="95" y="2112"/>
                  </a:lnTo>
                  <a:cubicBezTo>
                    <a:pt x="1" y="2332"/>
                    <a:pt x="190" y="2521"/>
                    <a:pt x="442" y="2521"/>
                  </a:cubicBezTo>
                  <a:cubicBezTo>
                    <a:pt x="663" y="2521"/>
                    <a:pt x="820" y="2332"/>
                    <a:pt x="883" y="2112"/>
                  </a:cubicBezTo>
                  <a:lnTo>
                    <a:pt x="883" y="442"/>
                  </a:lnTo>
                  <a:cubicBezTo>
                    <a:pt x="883" y="222"/>
                    <a:pt x="663" y="64"/>
                    <a:pt x="474" y="1"/>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154" name="Google Shape;6032;p67"/>
            <p:cNvSpPr/>
            <p:nvPr/>
          </p:nvSpPr>
          <p:spPr>
            <a:xfrm>
              <a:off x="-38859551" y="3221750"/>
              <a:ext cx="103200" cy="122900"/>
            </a:xfrm>
            <a:custGeom>
              <a:rect l="l" t="t" r="r" b="b"/>
              <a:pathLst>
                <a:path w="4128" h="4916" extrusionOk="0">
                  <a:moveTo>
                    <a:pt x="3687" y="1"/>
                  </a:moveTo>
                  <a:cubicBezTo>
                    <a:pt x="1671" y="1"/>
                    <a:pt x="1" y="1639"/>
                    <a:pt x="1" y="3687"/>
                  </a:cubicBezTo>
                  <a:lnTo>
                    <a:pt x="1" y="4916"/>
                  </a:lnTo>
                  <a:lnTo>
                    <a:pt x="3309" y="4916"/>
                  </a:lnTo>
                  <a:lnTo>
                    <a:pt x="3309" y="3687"/>
                  </a:lnTo>
                  <a:cubicBezTo>
                    <a:pt x="3309" y="3151"/>
                    <a:pt x="3655" y="2710"/>
                    <a:pt x="4128" y="2521"/>
                  </a:cubicBezTo>
                  <a:lnTo>
                    <a:pt x="4128" y="1"/>
                  </a:ln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155" name="Google Shape;6033;p67"/>
            <p:cNvSpPr/>
            <p:nvPr/>
          </p:nvSpPr>
          <p:spPr>
            <a:xfrm>
              <a:off x="-38860326" y="3367475"/>
              <a:ext cx="228425" cy="170925"/>
            </a:xfrm>
            <a:custGeom>
              <a:rect l="l" t="t" r="r" b="b"/>
              <a:pathLst>
                <a:path w="9137" h="6837" extrusionOk="0">
                  <a:moveTo>
                    <a:pt x="0" y="0"/>
                  </a:moveTo>
                  <a:lnTo>
                    <a:pt x="0" y="3151"/>
                  </a:lnTo>
                  <a:cubicBezTo>
                    <a:pt x="0" y="5199"/>
                    <a:pt x="1639" y="6837"/>
                    <a:pt x="3686" y="6837"/>
                  </a:cubicBezTo>
                  <a:lnTo>
                    <a:pt x="5356" y="6837"/>
                  </a:lnTo>
                  <a:cubicBezTo>
                    <a:pt x="7467" y="6837"/>
                    <a:pt x="9137" y="5199"/>
                    <a:pt x="9137" y="3151"/>
                  </a:cubicBezTo>
                  <a:lnTo>
                    <a:pt x="9137" y="0"/>
                  </a:lnTo>
                  <a:lnTo>
                    <a:pt x="5734" y="0"/>
                  </a:lnTo>
                  <a:cubicBezTo>
                    <a:pt x="5577" y="473"/>
                    <a:pt x="5104" y="819"/>
                    <a:pt x="4568" y="819"/>
                  </a:cubicBezTo>
                  <a:cubicBezTo>
                    <a:pt x="4001" y="819"/>
                    <a:pt x="3560" y="473"/>
                    <a:pt x="3371" y="0"/>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grpSp>
      <p:grpSp>
        <p:nvGrpSpPr>
          <p:cNvPr id="188" name="Google Shape;6066;p67"/>
          <p:cNvGrpSpPr/>
          <p:nvPr/>
        </p:nvGrpSpPr>
        <p:grpSpPr>
          <a:xfrm>
            <a:off x="4313957" y="2400987"/>
            <a:ext cx="644147" cy="640959"/>
            <a:chOff x="-38538975" y="3954250"/>
            <a:chExt cx="318225" cy="316650"/>
          </a:xfrm>
          <a:solidFill>
            <a:srgbClr val="00677F"/>
          </a:solidFill>
        </p:grpSpPr>
        <p:sp>
          <p:nvSpPr>
            <p:cNvPr id="189" name="Google Shape;6067;p67"/>
            <p:cNvSpPr/>
            <p:nvPr/>
          </p:nvSpPr>
          <p:spPr>
            <a:xfrm>
              <a:off x="-38538975" y="3954250"/>
              <a:ext cx="254425" cy="253625"/>
            </a:xfrm>
            <a:custGeom>
              <a:rect l="l" t="t" r="r" b="b"/>
              <a:pathLst>
                <a:path w="10177" h="10145" extrusionOk="0">
                  <a:moveTo>
                    <a:pt x="5104" y="3813"/>
                  </a:moveTo>
                  <a:cubicBezTo>
                    <a:pt x="5797" y="3813"/>
                    <a:pt x="6364" y="4348"/>
                    <a:pt x="6364" y="5073"/>
                  </a:cubicBezTo>
                  <a:cubicBezTo>
                    <a:pt x="6364" y="5766"/>
                    <a:pt x="5797" y="6333"/>
                    <a:pt x="5104" y="6333"/>
                  </a:cubicBezTo>
                  <a:cubicBezTo>
                    <a:pt x="4379" y="6333"/>
                    <a:pt x="3844" y="5766"/>
                    <a:pt x="3844" y="5073"/>
                  </a:cubicBezTo>
                  <a:cubicBezTo>
                    <a:pt x="3844" y="4411"/>
                    <a:pt x="4411" y="3813"/>
                    <a:pt x="5104" y="3813"/>
                  </a:cubicBezTo>
                  <a:close/>
                  <a:moveTo>
                    <a:pt x="5104" y="0"/>
                  </a:moveTo>
                  <a:cubicBezTo>
                    <a:pt x="2300" y="0"/>
                    <a:pt x="0" y="2269"/>
                    <a:pt x="0" y="5073"/>
                  </a:cubicBezTo>
                  <a:cubicBezTo>
                    <a:pt x="63" y="7908"/>
                    <a:pt x="2300" y="10145"/>
                    <a:pt x="5104" y="10145"/>
                  </a:cubicBezTo>
                  <a:cubicBezTo>
                    <a:pt x="7877" y="10145"/>
                    <a:pt x="10176" y="7877"/>
                    <a:pt x="10176" y="5073"/>
                  </a:cubicBezTo>
                  <a:cubicBezTo>
                    <a:pt x="10176" y="2269"/>
                    <a:pt x="7877" y="0"/>
                    <a:pt x="5104" y="0"/>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190" name="Google Shape;6068;p67"/>
            <p:cNvSpPr/>
            <p:nvPr/>
          </p:nvSpPr>
          <p:spPr>
            <a:xfrm>
              <a:off x="-38496450" y="4081725"/>
              <a:ext cx="275700" cy="189175"/>
            </a:xfrm>
            <a:custGeom>
              <a:rect l="l" t="t" r="r" b="b"/>
              <a:pathLst>
                <a:path w="11028" h="7566" extrusionOk="0">
                  <a:moveTo>
                    <a:pt x="9774" y="0"/>
                  </a:moveTo>
                  <a:cubicBezTo>
                    <a:pt x="9040" y="0"/>
                    <a:pt x="8444" y="548"/>
                    <a:pt x="8444" y="1265"/>
                  </a:cubicBezTo>
                  <a:cubicBezTo>
                    <a:pt x="8444" y="1801"/>
                    <a:pt x="8790" y="2305"/>
                    <a:pt x="9295" y="2463"/>
                  </a:cubicBezTo>
                  <a:lnTo>
                    <a:pt x="9295" y="2967"/>
                  </a:lnTo>
                  <a:cubicBezTo>
                    <a:pt x="9295" y="4416"/>
                    <a:pt x="8192" y="5645"/>
                    <a:pt x="6774" y="5834"/>
                  </a:cubicBezTo>
                  <a:lnTo>
                    <a:pt x="6774" y="4825"/>
                  </a:lnTo>
                  <a:cubicBezTo>
                    <a:pt x="5829" y="5487"/>
                    <a:pt x="4663" y="5865"/>
                    <a:pt x="3403" y="5865"/>
                  </a:cubicBezTo>
                  <a:cubicBezTo>
                    <a:pt x="2143" y="5865"/>
                    <a:pt x="977" y="5487"/>
                    <a:pt x="1" y="4825"/>
                  </a:cubicBezTo>
                  <a:lnTo>
                    <a:pt x="1" y="6306"/>
                  </a:lnTo>
                  <a:cubicBezTo>
                    <a:pt x="1" y="7031"/>
                    <a:pt x="568" y="7566"/>
                    <a:pt x="1261" y="7566"/>
                  </a:cubicBezTo>
                  <a:lnTo>
                    <a:pt x="5388" y="7566"/>
                  </a:lnTo>
                  <a:cubicBezTo>
                    <a:pt x="5955" y="7566"/>
                    <a:pt x="6459" y="7220"/>
                    <a:pt x="6617" y="6716"/>
                  </a:cubicBezTo>
                  <a:cubicBezTo>
                    <a:pt x="8601" y="6495"/>
                    <a:pt x="10082" y="4920"/>
                    <a:pt x="10114" y="2904"/>
                  </a:cubicBezTo>
                  <a:lnTo>
                    <a:pt x="10114" y="2400"/>
                  </a:lnTo>
                  <a:cubicBezTo>
                    <a:pt x="10649" y="2211"/>
                    <a:pt x="11027" y="1706"/>
                    <a:pt x="10996" y="1108"/>
                  </a:cubicBezTo>
                  <a:cubicBezTo>
                    <a:pt x="10964" y="572"/>
                    <a:pt x="10492" y="100"/>
                    <a:pt x="9893" y="5"/>
                  </a:cubicBezTo>
                  <a:cubicBezTo>
                    <a:pt x="9853" y="2"/>
                    <a:pt x="9813" y="0"/>
                    <a:pt x="9774" y="0"/>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grpSp>
      <p:grpSp>
        <p:nvGrpSpPr>
          <p:cNvPr id="53" name="Google Shape;5976;p67"/>
          <p:cNvGrpSpPr/>
          <p:nvPr/>
        </p:nvGrpSpPr>
        <p:grpSpPr>
          <a:xfrm>
            <a:off x="4400033" y="5618736"/>
            <a:ext cx="495352" cy="442029"/>
            <a:chOff x="-42996151" y="3612600"/>
            <a:chExt cx="323750" cy="288900"/>
          </a:xfrm>
          <a:solidFill>
            <a:srgbClr val="00677F"/>
          </a:solidFill>
        </p:grpSpPr>
        <p:sp>
          <p:nvSpPr>
            <p:cNvPr id="99" name="Google Shape;5977;p67"/>
            <p:cNvSpPr/>
            <p:nvPr/>
          </p:nvSpPr>
          <p:spPr>
            <a:xfrm>
              <a:off x="-42914224" y="3612600"/>
              <a:ext cx="241825" cy="239275"/>
            </a:xfrm>
            <a:custGeom>
              <a:rect l="l" t="t" r="r" b="b"/>
              <a:pathLst>
                <a:path w="9673" h="9571" extrusionOk="0">
                  <a:moveTo>
                    <a:pt x="5963" y="1"/>
                  </a:moveTo>
                  <a:cubicBezTo>
                    <a:pt x="5661" y="1"/>
                    <a:pt x="5365" y="127"/>
                    <a:pt x="5136" y="371"/>
                  </a:cubicBezTo>
                  <a:lnTo>
                    <a:pt x="0" y="5507"/>
                  </a:lnTo>
                  <a:lnTo>
                    <a:pt x="4064" y="9571"/>
                  </a:lnTo>
                  <a:lnTo>
                    <a:pt x="9200" y="4436"/>
                  </a:lnTo>
                  <a:cubicBezTo>
                    <a:pt x="9672" y="3963"/>
                    <a:pt x="9672" y="3207"/>
                    <a:pt x="9200" y="2734"/>
                  </a:cubicBezTo>
                  <a:lnTo>
                    <a:pt x="6868" y="434"/>
                  </a:lnTo>
                  <a:cubicBezTo>
                    <a:pt x="6609" y="143"/>
                    <a:pt x="6283" y="1"/>
                    <a:pt x="5963" y="1"/>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100" name="Google Shape;5978;p67"/>
            <p:cNvSpPr/>
            <p:nvPr/>
          </p:nvSpPr>
          <p:spPr>
            <a:xfrm>
              <a:off x="-42946526" y="3762850"/>
              <a:ext cx="118950" cy="118950"/>
            </a:xfrm>
            <a:custGeom>
              <a:rect l="l" t="t" r="r" b="b"/>
              <a:pathLst>
                <a:path w="4758" h="4758" extrusionOk="0">
                  <a:moveTo>
                    <a:pt x="725" y="1"/>
                  </a:moveTo>
                  <a:lnTo>
                    <a:pt x="473" y="284"/>
                  </a:lnTo>
                  <a:cubicBezTo>
                    <a:pt x="253" y="505"/>
                    <a:pt x="95" y="820"/>
                    <a:pt x="95" y="1198"/>
                  </a:cubicBezTo>
                  <a:cubicBezTo>
                    <a:pt x="95" y="1450"/>
                    <a:pt x="190" y="1765"/>
                    <a:pt x="442" y="1986"/>
                  </a:cubicBezTo>
                  <a:cubicBezTo>
                    <a:pt x="631" y="2112"/>
                    <a:pt x="599" y="2458"/>
                    <a:pt x="442" y="2616"/>
                  </a:cubicBezTo>
                  <a:lnTo>
                    <a:pt x="1" y="3025"/>
                  </a:lnTo>
                  <a:lnTo>
                    <a:pt x="1733" y="4758"/>
                  </a:lnTo>
                  <a:lnTo>
                    <a:pt x="2174" y="4348"/>
                  </a:lnTo>
                  <a:cubicBezTo>
                    <a:pt x="2253" y="4270"/>
                    <a:pt x="2363" y="4230"/>
                    <a:pt x="2478" y="4230"/>
                  </a:cubicBezTo>
                  <a:cubicBezTo>
                    <a:pt x="2592" y="4230"/>
                    <a:pt x="2710" y="4270"/>
                    <a:pt x="2804" y="4348"/>
                  </a:cubicBezTo>
                  <a:cubicBezTo>
                    <a:pt x="3025" y="4569"/>
                    <a:pt x="3340" y="4695"/>
                    <a:pt x="3655" y="4695"/>
                  </a:cubicBezTo>
                  <a:cubicBezTo>
                    <a:pt x="3970" y="4695"/>
                    <a:pt x="4254" y="4569"/>
                    <a:pt x="4506" y="4348"/>
                  </a:cubicBezTo>
                  <a:lnTo>
                    <a:pt x="4758" y="4065"/>
                  </a:lnTo>
                  <a:lnTo>
                    <a:pt x="725" y="1"/>
                  </a:ln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101" name="Google Shape;5979;p67"/>
            <p:cNvSpPr/>
            <p:nvPr/>
          </p:nvSpPr>
          <p:spPr>
            <a:xfrm>
              <a:off x="-42996151" y="3855800"/>
              <a:ext cx="78000" cy="45700"/>
            </a:xfrm>
            <a:custGeom>
              <a:rect l="l" t="t" r="r" b="b"/>
              <a:pathLst>
                <a:path w="3120" h="1828" extrusionOk="0">
                  <a:moveTo>
                    <a:pt x="1450" y="0"/>
                  </a:moveTo>
                  <a:lnTo>
                    <a:pt x="253" y="1166"/>
                  </a:lnTo>
                  <a:cubicBezTo>
                    <a:pt x="1" y="1355"/>
                    <a:pt x="190" y="1828"/>
                    <a:pt x="536" y="1828"/>
                  </a:cubicBezTo>
                  <a:lnTo>
                    <a:pt x="2773" y="1828"/>
                  </a:lnTo>
                  <a:cubicBezTo>
                    <a:pt x="2931" y="1828"/>
                    <a:pt x="3025" y="1765"/>
                    <a:pt x="3120" y="1670"/>
                  </a:cubicBezTo>
                  <a:lnTo>
                    <a:pt x="1450" y="0"/>
                  </a:ln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grpSp>
      <p:grpSp>
        <p:nvGrpSpPr>
          <p:cNvPr id="111" name="Google Shape;5989;p67"/>
          <p:cNvGrpSpPr/>
          <p:nvPr/>
        </p:nvGrpSpPr>
        <p:grpSpPr>
          <a:xfrm>
            <a:off x="8432502" y="5501783"/>
            <a:ext cx="496498" cy="485789"/>
            <a:chOff x="-41117651" y="3605525"/>
            <a:chExt cx="324500" cy="317500"/>
          </a:xfrm>
          <a:solidFill>
            <a:srgbClr val="00677F"/>
          </a:solidFill>
        </p:grpSpPr>
        <p:sp>
          <p:nvSpPr>
            <p:cNvPr id="112" name="Google Shape;5990;p67"/>
            <p:cNvSpPr/>
            <p:nvPr/>
          </p:nvSpPr>
          <p:spPr>
            <a:xfrm>
              <a:off x="-41016851" y="3605525"/>
              <a:ext cx="106350" cy="105375"/>
            </a:xfrm>
            <a:custGeom>
              <a:rect l="l" t="t" r="r" b="b"/>
              <a:pathLst>
                <a:path w="4254" h="4215" extrusionOk="0">
                  <a:moveTo>
                    <a:pt x="2064" y="1"/>
                  </a:moveTo>
                  <a:cubicBezTo>
                    <a:pt x="1954" y="1"/>
                    <a:pt x="1844" y="40"/>
                    <a:pt x="1765" y="119"/>
                  </a:cubicBezTo>
                  <a:lnTo>
                    <a:pt x="1" y="1883"/>
                  </a:lnTo>
                  <a:lnTo>
                    <a:pt x="2332" y="4214"/>
                  </a:lnTo>
                  <a:lnTo>
                    <a:pt x="4096" y="2450"/>
                  </a:lnTo>
                  <a:cubicBezTo>
                    <a:pt x="4254" y="2293"/>
                    <a:pt x="4254" y="2009"/>
                    <a:pt x="4096" y="1852"/>
                  </a:cubicBezTo>
                  <a:lnTo>
                    <a:pt x="2364" y="119"/>
                  </a:lnTo>
                  <a:cubicBezTo>
                    <a:pt x="2285" y="40"/>
                    <a:pt x="2175" y="1"/>
                    <a:pt x="2064" y="1"/>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113" name="Google Shape;5991;p67"/>
            <p:cNvSpPr/>
            <p:nvPr/>
          </p:nvSpPr>
          <p:spPr>
            <a:xfrm>
              <a:off x="-40900276" y="3721300"/>
              <a:ext cx="107125" cy="105375"/>
            </a:xfrm>
            <a:custGeom>
              <a:rect l="l" t="t" r="r" b="b"/>
              <a:pathLst>
                <a:path w="4285" h="4215" extrusionOk="0">
                  <a:moveTo>
                    <a:pt x="2064" y="1"/>
                  </a:moveTo>
                  <a:cubicBezTo>
                    <a:pt x="1954" y="1"/>
                    <a:pt x="1843" y="40"/>
                    <a:pt x="1765" y="119"/>
                  </a:cubicBezTo>
                  <a:lnTo>
                    <a:pt x="0" y="1915"/>
                  </a:lnTo>
                  <a:lnTo>
                    <a:pt x="2300" y="4215"/>
                  </a:lnTo>
                  <a:lnTo>
                    <a:pt x="4128" y="2482"/>
                  </a:lnTo>
                  <a:cubicBezTo>
                    <a:pt x="4285" y="2324"/>
                    <a:pt x="4285" y="2072"/>
                    <a:pt x="4128" y="1915"/>
                  </a:cubicBezTo>
                  <a:lnTo>
                    <a:pt x="2363" y="119"/>
                  </a:lnTo>
                  <a:cubicBezTo>
                    <a:pt x="2285" y="40"/>
                    <a:pt x="2174" y="1"/>
                    <a:pt x="2064" y="1"/>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114" name="Google Shape;5992;p67"/>
            <p:cNvSpPr/>
            <p:nvPr/>
          </p:nvSpPr>
          <p:spPr>
            <a:xfrm>
              <a:off x="-41117651" y="3668350"/>
              <a:ext cx="262300" cy="254675"/>
            </a:xfrm>
            <a:custGeom>
              <a:rect l="l" t="t" r="r" b="b"/>
              <a:pathLst>
                <a:path w="10492" h="10187" extrusionOk="0">
                  <a:moveTo>
                    <a:pt x="3497" y="0"/>
                  </a:moveTo>
                  <a:lnTo>
                    <a:pt x="1764" y="1733"/>
                  </a:lnTo>
                  <a:cubicBezTo>
                    <a:pt x="1166" y="2332"/>
                    <a:pt x="725" y="3088"/>
                    <a:pt x="504" y="3812"/>
                  </a:cubicBezTo>
                  <a:cubicBezTo>
                    <a:pt x="0" y="5514"/>
                    <a:pt x="410" y="7404"/>
                    <a:pt x="1764" y="8759"/>
                  </a:cubicBezTo>
                  <a:cubicBezTo>
                    <a:pt x="2667" y="9661"/>
                    <a:pt x="3919" y="10187"/>
                    <a:pt x="5273" y="10187"/>
                  </a:cubicBezTo>
                  <a:cubicBezTo>
                    <a:pt x="5384" y="10187"/>
                    <a:pt x="5496" y="10183"/>
                    <a:pt x="5608" y="10176"/>
                  </a:cubicBezTo>
                  <a:cubicBezTo>
                    <a:pt x="6679" y="10082"/>
                    <a:pt x="7876" y="9609"/>
                    <a:pt x="8758" y="8759"/>
                  </a:cubicBezTo>
                  <a:lnTo>
                    <a:pt x="10491" y="7026"/>
                  </a:lnTo>
                  <a:lnTo>
                    <a:pt x="8191" y="4694"/>
                  </a:lnTo>
                  <a:lnTo>
                    <a:pt x="6396" y="6396"/>
                  </a:lnTo>
                  <a:cubicBezTo>
                    <a:pt x="6077" y="6715"/>
                    <a:pt x="5645" y="6880"/>
                    <a:pt x="5214" y="6880"/>
                  </a:cubicBezTo>
                  <a:cubicBezTo>
                    <a:pt x="4794" y="6880"/>
                    <a:pt x="4375" y="6722"/>
                    <a:pt x="4064" y="6396"/>
                  </a:cubicBezTo>
                  <a:cubicBezTo>
                    <a:pt x="3434" y="5766"/>
                    <a:pt x="3434" y="4694"/>
                    <a:pt x="4064" y="4064"/>
                  </a:cubicBezTo>
                  <a:lnTo>
                    <a:pt x="5797" y="2332"/>
                  </a:lnTo>
                  <a:lnTo>
                    <a:pt x="3497" y="0"/>
                  </a:ln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grpSp>
      <p:grpSp>
        <p:nvGrpSpPr>
          <p:cNvPr id="129" name="Google Shape;6007;p67"/>
          <p:cNvGrpSpPr/>
          <p:nvPr/>
        </p:nvGrpSpPr>
        <p:grpSpPr>
          <a:xfrm>
            <a:off x="5285624" y="5542539"/>
            <a:ext cx="469646" cy="475651"/>
            <a:chOff x="-42617299" y="3587775"/>
            <a:chExt cx="306950" cy="310875"/>
          </a:xfrm>
          <a:solidFill>
            <a:srgbClr val="00677F"/>
          </a:solidFill>
        </p:grpSpPr>
        <p:sp>
          <p:nvSpPr>
            <p:cNvPr id="130" name="Google Shape;6008;p67"/>
            <p:cNvSpPr/>
            <p:nvPr/>
          </p:nvSpPr>
          <p:spPr>
            <a:xfrm>
              <a:off x="-42617299" y="3587775"/>
              <a:ext cx="306950" cy="310875"/>
            </a:xfrm>
            <a:custGeom>
              <a:rect l="l" t="t" r="r" b="b"/>
              <a:pathLst>
                <a:path w="12278" h="12435" extrusionOk="0">
                  <a:moveTo>
                    <a:pt x="5905" y="860"/>
                  </a:moveTo>
                  <a:cubicBezTo>
                    <a:pt x="6421" y="860"/>
                    <a:pt x="6926" y="1412"/>
                    <a:pt x="7341" y="2467"/>
                  </a:cubicBezTo>
                  <a:cubicBezTo>
                    <a:pt x="6837" y="2593"/>
                    <a:pt x="6365" y="2782"/>
                    <a:pt x="5892" y="3003"/>
                  </a:cubicBezTo>
                  <a:cubicBezTo>
                    <a:pt x="5419" y="2782"/>
                    <a:pt x="4947" y="2593"/>
                    <a:pt x="4443" y="2467"/>
                  </a:cubicBezTo>
                  <a:cubicBezTo>
                    <a:pt x="4893" y="1381"/>
                    <a:pt x="5404" y="860"/>
                    <a:pt x="5905" y="860"/>
                  </a:cubicBezTo>
                  <a:close/>
                  <a:moveTo>
                    <a:pt x="4191" y="3255"/>
                  </a:moveTo>
                  <a:cubicBezTo>
                    <a:pt x="4443" y="3349"/>
                    <a:pt x="4632" y="3381"/>
                    <a:pt x="4884" y="3475"/>
                  </a:cubicBezTo>
                  <a:cubicBezTo>
                    <a:pt x="4726" y="3538"/>
                    <a:pt x="4600" y="3601"/>
                    <a:pt x="4443" y="3696"/>
                  </a:cubicBezTo>
                  <a:cubicBezTo>
                    <a:pt x="4285" y="3790"/>
                    <a:pt x="4159" y="3853"/>
                    <a:pt x="4002" y="3948"/>
                  </a:cubicBezTo>
                  <a:cubicBezTo>
                    <a:pt x="4096" y="3727"/>
                    <a:pt x="4159" y="3507"/>
                    <a:pt x="4191" y="3255"/>
                  </a:cubicBezTo>
                  <a:close/>
                  <a:moveTo>
                    <a:pt x="7625" y="3318"/>
                  </a:moveTo>
                  <a:cubicBezTo>
                    <a:pt x="7688" y="3507"/>
                    <a:pt x="7751" y="3727"/>
                    <a:pt x="7782" y="3979"/>
                  </a:cubicBezTo>
                  <a:cubicBezTo>
                    <a:pt x="7499" y="3790"/>
                    <a:pt x="7247" y="3633"/>
                    <a:pt x="6963" y="3507"/>
                  </a:cubicBezTo>
                  <a:cubicBezTo>
                    <a:pt x="7184" y="3412"/>
                    <a:pt x="7404" y="3349"/>
                    <a:pt x="7625" y="3318"/>
                  </a:cubicBezTo>
                  <a:close/>
                  <a:moveTo>
                    <a:pt x="2611" y="3034"/>
                  </a:moveTo>
                  <a:cubicBezTo>
                    <a:pt x="2846" y="3034"/>
                    <a:pt x="3110" y="3054"/>
                    <a:pt x="3403" y="3097"/>
                  </a:cubicBezTo>
                  <a:cubicBezTo>
                    <a:pt x="3309" y="3570"/>
                    <a:pt x="3183" y="4042"/>
                    <a:pt x="3151" y="4609"/>
                  </a:cubicBezTo>
                  <a:cubicBezTo>
                    <a:pt x="2742" y="4924"/>
                    <a:pt x="2363" y="5240"/>
                    <a:pt x="1954" y="5586"/>
                  </a:cubicBezTo>
                  <a:cubicBezTo>
                    <a:pt x="712" y="4068"/>
                    <a:pt x="945" y="3034"/>
                    <a:pt x="2611" y="3034"/>
                  </a:cubicBezTo>
                  <a:close/>
                  <a:moveTo>
                    <a:pt x="9301" y="3075"/>
                  </a:moveTo>
                  <a:cubicBezTo>
                    <a:pt x="10879" y="3075"/>
                    <a:pt x="11079" y="4102"/>
                    <a:pt x="9862" y="5618"/>
                  </a:cubicBezTo>
                  <a:cubicBezTo>
                    <a:pt x="9515" y="5271"/>
                    <a:pt x="9137" y="4924"/>
                    <a:pt x="8696" y="4641"/>
                  </a:cubicBezTo>
                  <a:cubicBezTo>
                    <a:pt x="8601" y="4137"/>
                    <a:pt x="8538" y="3601"/>
                    <a:pt x="8412" y="3160"/>
                  </a:cubicBezTo>
                  <a:cubicBezTo>
                    <a:pt x="8746" y="3102"/>
                    <a:pt x="9042" y="3075"/>
                    <a:pt x="9301" y="3075"/>
                  </a:cubicBezTo>
                  <a:close/>
                  <a:moveTo>
                    <a:pt x="8822" y="5744"/>
                  </a:moveTo>
                  <a:cubicBezTo>
                    <a:pt x="9011" y="5901"/>
                    <a:pt x="9169" y="6059"/>
                    <a:pt x="9326" y="6216"/>
                  </a:cubicBezTo>
                  <a:cubicBezTo>
                    <a:pt x="9169" y="6374"/>
                    <a:pt x="8980" y="6531"/>
                    <a:pt x="8822" y="6689"/>
                  </a:cubicBezTo>
                  <a:lnTo>
                    <a:pt x="8822" y="5744"/>
                  </a:lnTo>
                  <a:close/>
                  <a:moveTo>
                    <a:pt x="3025" y="5775"/>
                  </a:moveTo>
                  <a:lnTo>
                    <a:pt x="3025" y="6720"/>
                  </a:lnTo>
                  <a:cubicBezTo>
                    <a:pt x="2836" y="6563"/>
                    <a:pt x="2679" y="6405"/>
                    <a:pt x="2521" y="6248"/>
                  </a:cubicBezTo>
                  <a:cubicBezTo>
                    <a:pt x="2679" y="6090"/>
                    <a:pt x="2868" y="5933"/>
                    <a:pt x="3025" y="5775"/>
                  </a:cubicBezTo>
                  <a:close/>
                  <a:moveTo>
                    <a:pt x="5892" y="3885"/>
                  </a:moveTo>
                  <a:cubicBezTo>
                    <a:pt x="6617" y="4200"/>
                    <a:pt x="7278" y="4609"/>
                    <a:pt x="7908" y="5082"/>
                  </a:cubicBezTo>
                  <a:cubicBezTo>
                    <a:pt x="8003" y="5838"/>
                    <a:pt x="8003" y="6626"/>
                    <a:pt x="7908" y="7413"/>
                  </a:cubicBezTo>
                  <a:cubicBezTo>
                    <a:pt x="7278" y="7823"/>
                    <a:pt x="6585" y="8232"/>
                    <a:pt x="5892" y="8579"/>
                  </a:cubicBezTo>
                  <a:cubicBezTo>
                    <a:pt x="5545" y="8421"/>
                    <a:pt x="5230" y="8232"/>
                    <a:pt x="4884" y="8043"/>
                  </a:cubicBezTo>
                  <a:cubicBezTo>
                    <a:pt x="4537" y="7823"/>
                    <a:pt x="4191" y="7634"/>
                    <a:pt x="3876" y="7413"/>
                  </a:cubicBezTo>
                  <a:cubicBezTo>
                    <a:pt x="3844" y="6657"/>
                    <a:pt x="3844" y="5870"/>
                    <a:pt x="3876" y="5082"/>
                  </a:cubicBezTo>
                  <a:cubicBezTo>
                    <a:pt x="4191" y="4830"/>
                    <a:pt x="4537" y="4641"/>
                    <a:pt x="4884" y="4452"/>
                  </a:cubicBezTo>
                  <a:cubicBezTo>
                    <a:pt x="5230" y="4263"/>
                    <a:pt x="5577" y="4042"/>
                    <a:pt x="5892" y="3885"/>
                  </a:cubicBezTo>
                  <a:close/>
                  <a:moveTo>
                    <a:pt x="4033" y="8516"/>
                  </a:moveTo>
                  <a:cubicBezTo>
                    <a:pt x="4159" y="8579"/>
                    <a:pt x="4317" y="8674"/>
                    <a:pt x="4474" y="8737"/>
                  </a:cubicBezTo>
                  <a:cubicBezTo>
                    <a:pt x="4632" y="8831"/>
                    <a:pt x="4758" y="8894"/>
                    <a:pt x="4915" y="8989"/>
                  </a:cubicBezTo>
                  <a:cubicBezTo>
                    <a:pt x="4663" y="9052"/>
                    <a:pt x="4474" y="9146"/>
                    <a:pt x="4254" y="9178"/>
                  </a:cubicBezTo>
                  <a:cubicBezTo>
                    <a:pt x="4159" y="8926"/>
                    <a:pt x="4096" y="8737"/>
                    <a:pt x="4033" y="8516"/>
                  </a:cubicBezTo>
                  <a:close/>
                  <a:moveTo>
                    <a:pt x="7782" y="8516"/>
                  </a:moveTo>
                  <a:cubicBezTo>
                    <a:pt x="7751" y="8737"/>
                    <a:pt x="7688" y="8989"/>
                    <a:pt x="7625" y="9178"/>
                  </a:cubicBezTo>
                  <a:cubicBezTo>
                    <a:pt x="7404" y="9083"/>
                    <a:pt x="7184" y="9052"/>
                    <a:pt x="6963" y="8989"/>
                  </a:cubicBezTo>
                  <a:cubicBezTo>
                    <a:pt x="7278" y="8831"/>
                    <a:pt x="7499" y="8674"/>
                    <a:pt x="7782" y="8516"/>
                  </a:cubicBezTo>
                  <a:close/>
                  <a:moveTo>
                    <a:pt x="1954" y="6846"/>
                  </a:moveTo>
                  <a:cubicBezTo>
                    <a:pt x="2300" y="7193"/>
                    <a:pt x="2710" y="7571"/>
                    <a:pt x="3151" y="7823"/>
                  </a:cubicBezTo>
                  <a:cubicBezTo>
                    <a:pt x="3214" y="8358"/>
                    <a:pt x="3309" y="8863"/>
                    <a:pt x="3403" y="9335"/>
                  </a:cubicBezTo>
                  <a:cubicBezTo>
                    <a:pt x="3090" y="9388"/>
                    <a:pt x="2806" y="9414"/>
                    <a:pt x="2555" y="9414"/>
                  </a:cubicBezTo>
                  <a:cubicBezTo>
                    <a:pt x="1015" y="9414"/>
                    <a:pt x="681" y="8445"/>
                    <a:pt x="1954" y="6846"/>
                  </a:cubicBezTo>
                  <a:close/>
                  <a:moveTo>
                    <a:pt x="9925" y="6846"/>
                  </a:moveTo>
                  <a:lnTo>
                    <a:pt x="9925" y="6846"/>
                  </a:lnTo>
                  <a:cubicBezTo>
                    <a:pt x="11167" y="8392"/>
                    <a:pt x="10934" y="9430"/>
                    <a:pt x="9267" y="9430"/>
                  </a:cubicBezTo>
                  <a:cubicBezTo>
                    <a:pt x="9032" y="9430"/>
                    <a:pt x="8768" y="9410"/>
                    <a:pt x="8475" y="9367"/>
                  </a:cubicBezTo>
                  <a:cubicBezTo>
                    <a:pt x="8538" y="8894"/>
                    <a:pt x="8664" y="8390"/>
                    <a:pt x="8727" y="7823"/>
                  </a:cubicBezTo>
                  <a:cubicBezTo>
                    <a:pt x="9137" y="7508"/>
                    <a:pt x="9515" y="7193"/>
                    <a:pt x="9925" y="6846"/>
                  </a:cubicBezTo>
                  <a:close/>
                  <a:moveTo>
                    <a:pt x="5924" y="9461"/>
                  </a:moveTo>
                  <a:cubicBezTo>
                    <a:pt x="6396" y="9650"/>
                    <a:pt x="6869" y="9839"/>
                    <a:pt x="7404" y="9965"/>
                  </a:cubicBezTo>
                  <a:cubicBezTo>
                    <a:pt x="6962" y="11056"/>
                    <a:pt x="6440" y="11607"/>
                    <a:pt x="5922" y="11607"/>
                  </a:cubicBezTo>
                  <a:cubicBezTo>
                    <a:pt x="5408" y="11607"/>
                    <a:pt x="4898" y="11064"/>
                    <a:pt x="4474" y="9965"/>
                  </a:cubicBezTo>
                  <a:cubicBezTo>
                    <a:pt x="4978" y="9839"/>
                    <a:pt x="5451" y="9650"/>
                    <a:pt x="5924" y="9461"/>
                  </a:cubicBezTo>
                  <a:close/>
                  <a:moveTo>
                    <a:pt x="5931" y="1"/>
                  </a:moveTo>
                  <a:cubicBezTo>
                    <a:pt x="5817" y="1"/>
                    <a:pt x="5699" y="14"/>
                    <a:pt x="5577" y="41"/>
                  </a:cubicBezTo>
                  <a:cubicBezTo>
                    <a:pt x="4632" y="262"/>
                    <a:pt x="4002" y="1333"/>
                    <a:pt x="3655" y="2278"/>
                  </a:cubicBezTo>
                  <a:cubicBezTo>
                    <a:pt x="3326" y="2223"/>
                    <a:pt x="2973" y="2187"/>
                    <a:pt x="2624" y="2187"/>
                  </a:cubicBezTo>
                  <a:cubicBezTo>
                    <a:pt x="1770" y="2187"/>
                    <a:pt x="939" y="2404"/>
                    <a:pt x="536" y="3097"/>
                  </a:cubicBezTo>
                  <a:cubicBezTo>
                    <a:pt x="1" y="4074"/>
                    <a:pt x="662" y="5334"/>
                    <a:pt x="1387" y="6216"/>
                  </a:cubicBezTo>
                  <a:cubicBezTo>
                    <a:pt x="788" y="6972"/>
                    <a:pt x="158" y="8043"/>
                    <a:pt x="379" y="8926"/>
                  </a:cubicBezTo>
                  <a:cubicBezTo>
                    <a:pt x="599" y="9650"/>
                    <a:pt x="1166" y="10028"/>
                    <a:pt x="1922" y="10186"/>
                  </a:cubicBezTo>
                  <a:cubicBezTo>
                    <a:pt x="2157" y="10241"/>
                    <a:pt x="2410" y="10266"/>
                    <a:pt x="2668" y="10266"/>
                  </a:cubicBezTo>
                  <a:cubicBezTo>
                    <a:pt x="2998" y="10266"/>
                    <a:pt x="3337" y="10225"/>
                    <a:pt x="3655" y="10154"/>
                  </a:cubicBezTo>
                  <a:cubicBezTo>
                    <a:pt x="4221" y="11678"/>
                    <a:pt x="5076" y="12434"/>
                    <a:pt x="5929" y="12434"/>
                  </a:cubicBezTo>
                  <a:cubicBezTo>
                    <a:pt x="6786" y="12434"/>
                    <a:pt x="7639" y="11670"/>
                    <a:pt x="8192" y="10154"/>
                  </a:cubicBezTo>
                  <a:cubicBezTo>
                    <a:pt x="8550" y="10215"/>
                    <a:pt x="8882" y="10243"/>
                    <a:pt x="9186" y="10243"/>
                  </a:cubicBezTo>
                  <a:cubicBezTo>
                    <a:pt x="11589" y="10243"/>
                    <a:pt x="12278" y="8453"/>
                    <a:pt x="10460" y="6216"/>
                  </a:cubicBezTo>
                  <a:cubicBezTo>
                    <a:pt x="12272" y="4014"/>
                    <a:pt x="11618" y="2182"/>
                    <a:pt x="9217" y="2182"/>
                  </a:cubicBezTo>
                  <a:cubicBezTo>
                    <a:pt x="8904" y="2182"/>
                    <a:pt x="8562" y="2213"/>
                    <a:pt x="8192" y="2278"/>
                  </a:cubicBezTo>
                  <a:cubicBezTo>
                    <a:pt x="7765" y="1139"/>
                    <a:pt x="7004" y="1"/>
                    <a:pt x="5931" y="1"/>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131" name="Google Shape;6009;p67"/>
            <p:cNvSpPr/>
            <p:nvPr/>
          </p:nvSpPr>
          <p:spPr>
            <a:xfrm>
              <a:off x="-42500724" y="3712425"/>
              <a:ext cx="63025" cy="62275"/>
            </a:xfrm>
            <a:custGeom>
              <a:rect l="l" t="t" r="r" b="b"/>
              <a:pathLst>
                <a:path w="2521" h="2491" extrusionOk="0">
                  <a:moveTo>
                    <a:pt x="1313" y="0"/>
                  </a:moveTo>
                  <a:cubicBezTo>
                    <a:pt x="1295" y="0"/>
                    <a:pt x="1278" y="1"/>
                    <a:pt x="1261" y="1"/>
                  </a:cubicBezTo>
                  <a:cubicBezTo>
                    <a:pt x="599" y="1"/>
                    <a:pt x="0" y="569"/>
                    <a:pt x="63" y="1230"/>
                  </a:cubicBezTo>
                  <a:cubicBezTo>
                    <a:pt x="0" y="1955"/>
                    <a:pt x="567" y="2490"/>
                    <a:pt x="1261" y="2490"/>
                  </a:cubicBezTo>
                  <a:cubicBezTo>
                    <a:pt x="1954" y="2490"/>
                    <a:pt x="2521" y="1955"/>
                    <a:pt x="2489" y="1230"/>
                  </a:cubicBezTo>
                  <a:cubicBezTo>
                    <a:pt x="2489" y="585"/>
                    <a:pt x="1980" y="0"/>
                    <a:pt x="1313" y="0"/>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grpSp>
      <p:grpSp>
        <p:nvGrpSpPr>
          <p:cNvPr id="140" name="Google Shape;6018;p67"/>
          <p:cNvGrpSpPr/>
          <p:nvPr/>
        </p:nvGrpSpPr>
        <p:grpSpPr>
          <a:xfrm>
            <a:off x="10220880" y="5564498"/>
            <a:ext cx="486897" cy="443521"/>
            <a:chOff x="-40745125" y="3632900"/>
            <a:chExt cx="318225" cy="289875"/>
          </a:xfrm>
          <a:solidFill>
            <a:srgbClr val="00677F"/>
          </a:solidFill>
        </p:grpSpPr>
        <p:sp>
          <p:nvSpPr>
            <p:cNvPr id="141" name="Google Shape;6019;p67"/>
            <p:cNvSpPr/>
            <p:nvPr/>
          </p:nvSpPr>
          <p:spPr>
            <a:xfrm>
              <a:off x="-40745125" y="3632900"/>
              <a:ext cx="300125" cy="82725"/>
            </a:xfrm>
            <a:custGeom>
              <a:rect l="l" t="t" r="r" b="b"/>
              <a:pathLst>
                <a:path w="12005" h="3309" extrusionOk="0">
                  <a:moveTo>
                    <a:pt x="1671" y="0"/>
                  </a:moveTo>
                  <a:cubicBezTo>
                    <a:pt x="757" y="0"/>
                    <a:pt x="1" y="757"/>
                    <a:pt x="1" y="1670"/>
                  </a:cubicBezTo>
                  <a:cubicBezTo>
                    <a:pt x="1" y="2552"/>
                    <a:pt x="757" y="3308"/>
                    <a:pt x="1671" y="3308"/>
                  </a:cubicBezTo>
                  <a:lnTo>
                    <a:pt x="11469" y="3308"/>
                  </a:lnTo>
                  <a:cubicBezTo>
                    <a:pt x="11815" y="3308"/>
                    <a:pt x="12004" y="2930"/>
                    <a:pt x="11784" y="2647"/>
                  </a:cubicBezTo>
                  <a:cubicBezTo>
                    <a:pt x="11595" y="2363"/>
                    <a:pt x="11469" y="2017"/>
                    <a:pt x="11469" y="1670"/>
                  </a:cubicBezTo>
                  <a:cubicBezTo>
                    <a:pt x="11469" y="1292"/>
                    <a:pt x="11595" y="946"/>
                    <a:pt x="11784" y="662"/>
                  </a:cubicBezTo>
                  <a:cubicBezTo>
                    <a:pt x="11973" y="410"/>
                    <a:pt x="11784" y="0"/>
                    <a:pt x="11469" y="0"/>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142" name="Google Shape;6020;p67"/>
            <p:cNvSpPr/>
            <p:nvPr/>
          </p:nvSpPr>
          <p:spPr>
            <a:xfrm>
              <a:off x="-40508051" y="3736075"/>
              <a:ext cx="21300" cy="82725"/>
            </a:xfrm>
            <a:custGeom>
              <a:rect l="l" t="t" r="r" b="b"/>
              <a:pathLst>
                <a:path w="852" h="3309" extrusionOk="0">
                  <a:moveTo>
                    <a:pt x="1" y="1"/>
                  </a:moveTo>
                  <a:lnTo>
                    <a:pt x="1" y="3309"/>
                  </a:lnTo>
                  <a:lnTo>
                    <a:pt x="852" y="3309"/>
                  </a:lnTo>
                  <a:lnTo>
                    <a:pt x="852" y="1"/>
                  </a:ln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143" name="Google Shape;6021;p67"/>
            <p:cNvSpPr/>
            <p:nvPr/>
          </p:nvSpPr>
          <p:spPr>
            <a:xfrm>
              <a:off x="-40466299" y="3736875"/>
              <a:ext cx="39400" cy="82725"/>
            </a:xfrm>
            <a:custGeom>
              <a:rect l="l" t="t" r="r" b="b"/>
              <a:pathLst>
                <a:path w="1576" h="3309" extrusionOk="0">
                  <a:moveTo>
                    <a:pt x="1" y="0"/>
                  </a:moveTo>
                  <a:lnTo>
                    <a:pt x="1" y="3308"/>
                  </a:lnTo>
                  <a:lnTo>
                    <a:pt x="1198" y="3308"/>
                  </a:lnTo>
                  <a:cubicBezTo>
                    <a:pt x="1387" y="3277"/>
                    <a:pt x="1576" y="3088"/>
                    <a:pt x="1576" y="2899"/>
                  </a:cubicBezTo>
                  <a:lnTo>
                    <a:pt x="1576" y="410"/>
                  </a:lnTo>
                  <a:cubicBezTo>
                    <a:pt x="1576" y="158"/>
                    <a:pt x="1387" y="0"/>
                    <a:pt x="1198" y="0"/>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144" name="Google Shape;6022;p67"/>
            <p:cNvSpPr/>
            <p:nvPr/>
          </p:nvSpPr>
          <p:spPr>
            <a:xfrm>
              <a:off x="-40723049" y="3736075"/>
              <a:ext cx="194550" cy="82725"/>
            </a:xfrm>
            <a:custGeom>
              <a:rect l="l" t="t" r="r" b="b"/>
              <a:pathLst>
                <a:path w="7782" h="3309" extrusionOk="0">
                  <a:moveTo>
                    <a:pt x="441" y="1"/>
                  </a:moveTo>
                  <a:cubicBezTo>
                    <a:pt x="189" y="1"/>
                    <a:pt x="0" y="221"/>
                    <a:pt x="0" y="442"/>
                  </a:cubicBezTo>
                  <a:lnTo>
                    <a:pt x="0" y="2931"/>
                  </a:lnTo>
                  <a:cubicBezTo>
                    <a:pt x="0" y="3151"/>
                    <a:pt x="189" y="3309"/>
                    <a:pt x="441" y="3309"/>
                  </a:cubicBezTo>
                  <a:lnTo>
                    <a:pt x="7782" y="3309"/>
                  </a:lnTo>
                  <a:lnTo>
                    <a:pt x="7782" y="1"/>
                  </a:ln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145" name="Google Shape;6023;p67"/>
            <p:cNvSpPr/>
            <p:nvPr/>
          </p:nvSpPr>
          <p:spPr>
            <a:xfrm>
              <a:off x="-40681325" y="3839250"/>
              <a:ext cx="21300" cy="82725"/>
            </a:xfrm>
            <a:custGeom>
              <a:rect l="l" t="t" r="r" b="b"/>
              <a:pathLst>
                <a:path w="852" h="3309" extrusionOk="0">
                  <a:moveTo>
                    <a:pt x="1" y="1"/>
                  </a:moveTo>
                  <a:lnTo>
                    <a:pt x="1" y="3309"/>
                  </a:lnTo>
                  <a:lnTo>
                    <a:pt x="851" y="3309"/>
                  </a:lnTo>
                  <a:lnTo>
                    <a:pt x="851" y="1"/>
                  </a:ln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146" name="Google Shape;6024;p67"/>
            <p:cNvSpPr/>
            <p:nvPr/>
          </p:nvSpPr>
          <p:spPr>
            <a:xfrm>
              <a:off x="-40639575" y="3840825"/>
              <a:ext cx="190625" cy="81950"/>
            </a:xfrm>
            <a:custGeom>
              <a:rect l="l" t="t" r="r" b="b"/>
              <a:pathLst>
                <a:path w="7625" h="3278" extrusionOk="0">
                  <a:moveTo>
                    <a:pt x="1" y="1"/>
                  </a:moveTo>
                  <a:lnTo>
                    <a:pt x="1" y="3277"/>
                  </a:lnTo>
                  <a:lnTo>
                    <a:pt x="7247" y="3277"/>
                  </a:lnTo>
                  <a:cubicBezTo>
                    <a:pt x="7467" y="3277"/>
                    <a:pt x="7625" y="3057"/>
                    <a:pt x="7625" y="2868"/>
                  </a:cubicBezTo>
                  <a:lnTo>
                    <a:pt x="7625" y="379"/>
                  </a:lnTo>
                  <a:cubicBezTo>
                    <a:pt x="7625" y="158"/>
                    <a:pt x="7436" y="1"/>
                    <a:pt x="7247" y="1"/>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147" name="Google Shape;6025;p67"/>
            <p:cNvSpPr/>
            <p:nvPr/>
          </p:nvSpPr>
          <p:spPr>
            <a:xfrm>
              <a:off x="-40745125" y="3840050"/>
              <a:ext cx="43350" cy="82725"/>
            </a:xfrm>
            <a:custGeom>
              <a:rect l="l" t="t" r="r" b="b"/>
              <a:pathLst>
                <a:path w="1733" h="3309" extrusionOk="0">
                  <a:moveTo>
                    <a:pt x="442" y="0"/>
                  </a:moveTo>
                  <a:cubicBezTo>
                    <a:pt x="190" y="0"/>
                    <a:pt x="1" y="189"/>
                    <a:pt x="1" y="378"/>
                  </a:cubicBezTo>
                  <a:lnTo>
                    <a:pt x="1" y="2867"/>
                  </a:lnTo>
                  <a:cubicBezTo>
                    <a:pt x="1" y="3088"/>
                    <a:pt x="190" y="3308"/>
                    <a:pt x="442" y="3308"/>
                  </a:cubicBezTo>
                  <a:lnTo>
                    <a:pt x="1734" y="3308"/>
                  </a:lnTo>
                  <a:lnTo>
                    <a:pt x="1734" y="0"/>
                  </a:ln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grpSp>
      <p:sp>
        <p:nvSpPr>
          <p:cNvPr id="165" name="Google Shape;6043;p67"/>
          <p:cNvSpPr/>
          <p:nvPr/>
        </p:nvSpPr>
        <p:spPr>
          <a:xfrm>
            <a:off x="6077470" y="5543418"/>
            <a:ext cx="412193" cy="486897"/>
          </a:xfrm>
          <a:custGeom>
            <a:rect l="l" t="t" r="r" b="b"/>
            <a:pathLst>
              <a:path w="10776" h="12729" extrusionOk="0">
                <a:moveTo>
                  <a:pt x="1670" y="851"/>
                </a:moveTo>
                <a:lnTo>
                  <a:pt x="1670" y="9326"/>
                </a:lnTo>
                <a:cubicBezTo>
                  <a:pt x="1355" y="9326"/>
                  <a:pt x="1072" y="9421"/>
                  <a:pt x="851" y="9578"/>
                </a:cubicBezTo>
                <a:lnTo>
                  <a:pt x="851" y="2049"/>
                </a:lnTo>
                <a:cubicBezTo>
                  <a:pt x="851" y="1481"/>
                  <a:pt x="1198" y="1072"/>
                  <a:pt x="1670" y="851"/>
                </a:cubicBezTo>
                <a:close/>
                <a:moveTo>
                  <a:pt x="9925" y="10177"/>
                </a:moveTo>
                <a:lnTo>
                  <a:pt x="9925" y="10208"/>
                </a:lnTo>
                <a:lnTo>
                  <a:pt x="9925" y="11846"/>
                </a:lnTo>
                <a:lnTo>
                  <a:pt x="1670" y="11846"/>
                </a:lnTo>
                <a:cubicBezTo>
                  <a:pt x="1229" y="11846"/>
                  <a:pt x="851" y="11468"/>
                  <a:pt x="851" y="11027"/>
                </a:cubicBezTo>
                <a:cubicBezTo>
                  <a:pt x="851" y="10586"/>
                  <a:pt x="1229" y="10177"/>
                  <a:pt x="1670" y="10177"/>
                </a:cubicBezTo>
                <a:close/>
                <a:moveTo>
                  <a:pt x="2111" y="1"/>
                </a:moveTo>
                <a:cubicBezTo>
                  <a:pt x="914" y="1"/>
                  <a:pt x="1" y="946"/>
                  <a:pt x="1" y="2080"/>
                </a:cubicBezTo>
                <a:lnTo>
                  <a:pt x="1" y="11059"/>
                </a:lnTo>
                <a:cubicBezTo>
                  <a:pt x="1" y="11973"/>
                  <a:pt x="757" y="12729"/>
                  <a:pt x="1670" y="12729"/>
                </a:cubicBezTo>
                <a:lnTo>
                  <a:pt x="10334" y="12729"/>
                </a:lnTo>
                <a:cubicBezTo>
                  <a:pt x="10586" y="12729"/>
                  <a:pt x="10775" y="12508"/>
                  <a:pt x="10775" y="12319"/>
                </a:cubicBezTo>
                <a:lnTo>
                  <a:pt x="10775" y="473"/>
                </a:lnTo>
                <a:cubicBezTo>
                  <a:pt x="10775" y="221"/>
                  <a:pt x="10586" y="64"/>
                  <a:pt x="10334" y="64"/>
                </a:cubicBezTo>
                <a:lnTo>
                  <a:pt x="9105" y="64"/>
                </a:lnTo>
                <a:lnTo>
                  <a:pt x="9105" y="3781"/>
                </a:lnTo>
                <a:cubicBezTo>
                  <a:pt x="9105" y="4011"/>
                  <a:pt x="8912" y="4171"/>
                  <a:pt x="8708" y="4171"/>
                </a:cubicBezTo>
                <a:cubicBezTo>
                  <a:pt x="8604" y="4171"/>
                  <a:pt x="8498" y="4129"/>
                  <a:pt x="8412" y="4033"/>
                </a:cubicBezTo>
                <a:lnTo>
                  <a:pt x="7845" y="3498"/>
                </a:lnTo>
                <a:lnTo>
                  <a:pt x="7310" y="4033"/>
                </a:lnTo>
                <a:cubicBezTo>
                  <a:pt x="7214" y="4129"/>
                  <a:pt x="7100" y="4171"/>
                  <a:pt x="6991" y="4171"/>
                </a:cubicBezTo>
                <a:cubicBezTo>
                  <a:pt x="6778" y="4171"/>
                  <a:pt x="6585" y="4011"/>
                  <a:pt x="6585" y="3781"/>
                </a:cubicBezTo>
                <a:lnTo>
                  <a:pt x="6585" y="64"/>
                </a:lnTo>
                <a:lnTo>
                  <a:pt x="2111" y="64"/>
                </a:lnTo>
                <a:lnTo>
                  <a:pt x="2111" y="1"/>
                </a:lnTo>
                <a:close/>
              </a:path>
            </a:pathLst>
          </a:custGeom>
          <a:solidFill>
            <a:srgbClr val="00677F"/>
          </a:solidFill>
          <a:ln>
            <a:noFill/>
          </a:ln>
        </p:spPr>
        <p:txBody>
          <a:bodyPr spcFirstLastPara="1" wrap="square" lIns="91417" tIns="91417" rIns="91417" bIns="91417" anchor="ctr" anchorCtr="0">
            <a:noAutofit/>
          </a:bodyPr>
          <a:lstStyle/>
          <a:p>
            <a:endParaRPr sz="1400">
              <a:solidFill>
                <a:srgbClr val="AE4500"/>
              </a:solidFill>
            </a:endParaRPr>
          </a:p>
        </p:txBody>
      </p:sp>
      <p:grpSp>
        <p:nvGrpSpPr>
          <p:cNvPr id="174" name="Google Shape;6052;p67"/>
          <p:cNvGrpSpPr/>
          <p:nvPr/>
        </p:nvGrpSpPr>
        <p:grpSpPr>
          <a:xfrm>
            <a:off x="11104827" y="5520904"/>
            <a:ext cx="476074" cy="484489"/>
            <a:chOff x="-40372574" y="3604550"/>
            <a:chExt cx="311150" cy="316650"/>
          </a:xfrm>
          <a:solidFill>
            <a:srgbClr val="00677F"/>
          </a:solidFill>
        </p:grpSpPr>
        <p:sp>
          <p:nvSpPr>
            <p:cNvPr id="175" name="Google Shape;6053;p67"/>
            <p:cNvSpPr/>
            <p:nvPr/>
          </p:nvSpPr>
          <p:spPr>
            <a:xfrm>
              <a:off x="-40372574" y="3604550"/>
              <a:ext cx="311150" cy="134475"/>
            </a:xfrm>
            <a:custGeom>
              <a:rect l="l" t="t" r="r" b="b"/>
              <a:pathLst>
                <a:path w="12446" h="5379" extrusionOk="0">
                  <a:moveTo>
                    <a:pt x="3088" y="0"/>
                  </a:moveTo>
                  <a:cubicBezTo>
                    <a:pt x="1639" y="0"/>
                    <a:pt x="316" y="1008"/>
                    <a:pt x="95" y="2489"/>
                  </a:cubicBezTo>
                  <a:cubicBezTo>
                    <a:pt x="1" y="3214"/>
                    <a:pt x="190" y="3938"/>
                    <a:pt x="568" y="4506"/>
                  </a:cubicBezTo>
                  <a:cubicBezTo>
                    <a:pt x="962" y="5071"/>
                    <a:pt x="1607" y="5366"/>
                    <a:pt x="2240" y="5366"/>
                  </a:cubicBezTo>
                  <a:cubicBezTo>
                    <a:pt x="2772" y="5366"/>
                    <a:pt x="3296" y="5157"/>
                    <a:pt x="3655" y="4726"/>
                  </a:cubicBezTo>
                  <a:cubicBezTo>
                    <a:pt x="4569" y="3655"/>
                    <a:pt x="3844" y="2489"/>
                    <a:pt x="2836" y="2489"/>
                  </a:cubicBezTo>
                  <a:cubicBezTo>
                    <a:pt x="2584" y="2489"/>
                    <a:pt x="2427" y="2678"/>
                    <a:pt x="2427" y="2899"/>
                  </a:cubicBezTo>
                  <a:cubicBezTo>
                    <a:pt x="2427" y="3151"/>
                    <a:pt x="2616" y="3308"/>
                    <a:pt x="2836" y="3340"/>
                  </a:cubicBezTo>
                  <a:cubicBezTo>
                    <a:pt x="3057" y="3340"/>
                    <a:pt x="3214" y="3529"/>
                    <a:pt x="3214" y="3749"/>
                  </a:cubicBezTo>
                  <a:cubicBezTo>
                    <a:pt x="3214" y="3970"/>
                    <a:pt x="3025" y="4127"/>
                    <a:pt x="2836" y="4127"/>
                  </a:cubicBezTo>
                  <a:cubicBezTo>
                    <a:pt x="2049" y="4127"/>
                    <a:pt x="1450" y="3434"/>
                    <a:pt x="1608" y="2584"/>
                  </a:cubicBezTo>
                  <a:cubicBezTo>
                    <a:pt x="1754" y="1999"/>
                    <a:pt x="2279" y="1632"/>
                    <a:pt x="2882" y="1632"/>
                  </a:cubicBezTo>
                  <a:cubicBezTo>
                    <a:pt x="2930" y="1632"/>
                    <a:pt x="2977" y="1634"/>
                    <a:pt x="3025" y="1639"/>
                  </a:cubicBezTo>
                  <a:cubicBezTo>
                    <a:pt x="3624" y="1733"/>
                    <a:pt x="4128" y="2048"/>
                    <a:pt x="4474" y="2489"/>
                  </a:cubicBezTo>
                  <a:lnTo>
                    <a:pt x="7908" y="2489"/>
                  </a:lnTo>
                  <a:cubicBezTo>
                    <a:pt x="8255" y="2017"/>
                    <a:pt x="8759" y="1702"/>
                    <a:pt x="9358" y="1639"/>
                  </a:cubicBezTo>
                  <a:cubicBezTo>
                    <a:pt x="9406" y="1634"/>
                    <a:pt x="9453" y="1632"/>
                    <a:pt x="9501" y="1632"/>
                  </a:cubicBezTo>
                  <a:cubicBezTo>
                    <a:pt x="10104" y="1632"/>
                    <a:pt x="10629" y="1999"/>
                    <a:pt x="10775" y="2584"/>
                  </a:cubicBezTo>
                  <a:cubicBezTo>
                    <a:pt x="10964" y="3434"/>
                    <a:pt x="10334" y="4127"/>
                    <a:pt x="9547" y="4127"/>
                  </a:cubicBezTo>
                  <a:cubicBezTo>
                    <a:pt x="9326" y="4127"/>
                    <a:pt x="9137" y="3938"/>
                    <a:pt x="9137" y="3749"/>
                  </a:cubicBezTo>
                  <a:cubicBezTo>
                    <a:pt x="9137" y="3497"/>
                    <a:pt x="9326" y="3340"/>
                    <a:pt x="9547" y="3340"/>
                  </a:cubicBezTo>
                  <a:cubicBezTo>
                    <a:pt x="9799" y="3340"/>
                    <a:pt x="9956" y="3151"/>
                    <a:pt x="9956" y="2899"/>
                  </a:cubicBezTo>
                  <a:cubicBezTo>
                    <a:pt x="9956" y="2678"/>
                    <a:pt x="9767" y="2521"/>
                    <a:pt x="9547" y="2489"/>
                  </a:cubicBezTo>
                  <a:cubicBezTo>
                    <a:pt x="8539" y="2489"/>
                    <a:pt x="7814" y="3686"/>
                    <a:pt x="8728" y="4726"/>
                  </a:cubicBezTo>
                  <a:cubicBezTo>
                    <a:pt x="9099" y="5169"/>
                    <a:pt x="9626" y="5379"/>
                    <a:pt x="10158" y="5379"/>
                  </a:cubicBezTo>
                  <a:cubicBezTo>
                    <a:pt x="10800" y="5379"/>
                    <a:pt x="11451" y="5074"/>
                    <a:pt x="11847" y="4506"/>
                  </a:cubicBezTo>
                  <a:cubicBezTo>
                    <a:pt x="12225" y="3970"/>
                    <a:pt x="12445" y="3277"/>
                    <a:pt x="12319" y="2489"/>
                  </a:cubicBezTo>
                  <a:cubicBezTo>
                    <a:pt x="12130" y="1008"/>
                    <a:pt x="10775" y="0"/>
                    <a:pt x="9326" y="0"/>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176" name="Google Shape;6054;p67"/>
            <p:cNvSpPr/>
            <p:nvPr/>
          </p:nvSpPr>
          <p:spPr>
            <a:xfrm>
              <a:off x="-40312699" y="3730575"/>
              <a:ext cx="185100" cy="190625"/>
            </a:xfrm>
            <a:custGeom>
              <a:rect l="l" t="t" r="r" b="b"/>
              <a:pathLst>
                <a:path w="7404" h="7625" extrusionOk="0">
                  <a:moveTo>
                    <a:pt x="2426" y="0"/>
                  </a:moveTo>
                  <a:lnTo>
                    <a:pt x="2426" y="5639"/>
                  </a:lnTo>
                  <a:cubicBezTo>
                    <a:pt x="2426" y="5860"/>
                    <a:pt x="2237" y="6017"/>
                    <a:pt x="2048" y="6017"/>
                  </a:cubicBezTo>
                  <a:cubicBezTo>
                    <a:pt x="1796" y="6017"/>
                    <a:pt x="1638" y="5828"/>
                    <a:pt x="1638" y="5639"/>
                  </a:cubicBezTo>
                  <a:lnTo>
                    <a:pt x="1638" y="473"/>
                  </a:lnTo>
                  <a:cubicBezTo>
                    <a:pt x="1229" y="851"/>
                    <a:pt x="630" y="1103"/>
                    <a:pt x="0" y="1134"/>
                  </a:cubicBezTo>
                  <a:lnTo>
                    <a:pt x="0" y="7246"/>
                  </a:lnTo>
                  <a:cubicBezTo>
                    <a:pt x="0" y="7467"/>
                    <a:pt x="189" y="7624"/>
                    <a:pt x="378" y="7624"/>
                  </a:cubicBezTo>
                  <a:lnTo>
                    <a:pt x="6994" y="7624"/>
                  </a:lnTo>
                  <a:cubicBezTo>
                    <a:pt x="7246" y="7624"/>
                    <a:pt x="7404" y="7435"/>
                    <a:pt x="7404" y="7246"/>
                  </a:cubicBezTo>
                  <a:lnTo>
                    <a:pt x="7404" y="1134"/>
                  </a:lnTo>
                  <a:cubicBezTo>
                    <a:pt x="6774" y="1071"/>
                    <a:pt x="6175" y="788"/>
                    <a:pt x="5734" y="315"/>
                  </a:cubicBezTo>
                  <a:lnTo>
                    <a:pt x="5734" y="5639"/>
                  </a:lnTo>
                  <a:cubicBezTo>
                    <a:pt x="5734" y="5860"/>
                    <a:pt x="5545" y="6017"/>
                    <a:pt x="5324" y="6017"/>
                  </a:cubicBezTo>
                  <a:cubicBezTo>
                    <a:pt x="5072" y="6017"/>
                    <a:pt x="4915" y="5828"/>
                    <a:pt x="4915" y="5639"/>
                  </a:cubicBezTo>
                  <a:lnTo>
                    <a:pt x="4915" y="0"/>
                  </a:lnTo>
                  <a:lnTo>
                    <a:pt x="4096" y="0"/>
                  </a:lnTo>
                  <a:lnTo>
                    <a:pt x="4096" y="5639"/>
                  </a:lnTo>
                  <a:cubicBezTo>
                    <a:pt x="4096" y="5860"/>
                    <a:pt x="3907" y="6017"/>
                    <a:pt x="3686" y="6017"/>
                  </a:cubicBezTo>
                  <a:cubicBezTo>
                    <a:pt x="3466" y="6017"/>
                    <a:pt x="3277" y="5828"/>
                    <a:pt x="3277" y="5639"/>
                  </a:cubicBezTo>
                  <a:lnTo>
                    <a:pt x="3277" y="0"/>
                  </a:ln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177" name="Google Shape;6055;p67"/>
            <p:cNvSpPr/>
            <p:nvPr/>
          </p:nvSpPr>
          <p:spPr>
            <a:xfrm>
              <a:off x="-40250476" y="3688025"/>
              <a:ext cx="66950" cy="20500"/>
            </a:xfrm>
            <a:custGeom>
              <a:rect l="l" t="t" r="r" b="b"/>
              <a:pathLst>
                <a:path w="2678" h="820" extrusionOk="0">
                  <a:moveTo>
                    <a:pt x="0" y="1"/>
                  </a:moveTo>
                  <a:cubicBezTo>
                    <a:pt x="32" y="127"/>
                    <a:pt x="32" y="284"/>
                    <a:pt x="32" y="379"/>
                  </a:cubicBezTo>
                  <a:cubicBezTo>
                    <a:pt x="32" y="536"/>
                    <a:pt x="32" y="662"/>
                    <a:pt x="0" y="788"/>
                  </a:cubicBezTo>
                  <a:lnTo>
                    <a:pt x="2666" y="788"/>
                  </a:lnTo>
                  <a:cubicBezTo>
                    <a:pt x="2615" y="649"/>
                    <a:pt x="2615" y="555"/>
                    <a:pt x="2615" y="379"/>
                  </a:cubicBezTo>
                  <a:cubicBezTo>
                    <a:pt x="2615" y="284"/>
                    <a:pt x="2615" y="127"/>
                    <a:pt x="2678" y="1"/>
                  </a:cubicBezTo>
                  <a:close/>
                  <a:moveTo>
                    <a:pt x="2666" y="788"/>
                  </a:moveTo>
                  <a:cubicBezTo>
                    <a:pt x="2670" y="799"/>
                    <a:pt x="2674" y="809"/>
                    <a:pt x="2678" y="820"/>
                  </a:cubicBezTo>
                  <a:lnTo>
                    <a:pt x="2678" y="788"/>
                  </a:ln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grpSp>
      <p:grpSp>
        <p:nvGrpSpPr>
          <p:cNvPr id="200" name="Google Shape;6078;p67"/>
          <p:cNvGrpSpPr/>
          <p:nvPr/>
        </p:nvGrpSpPr>
        <p:grpSpPr>
          <a:xfrm>
            <a:off x="6834938" y="5544622"/>
            <a:ext cx="486897" cy="484489"/>
            <a:chOff x="-41893474" y="3584850"/>
            <a:chExt cx="318225" cy="316650"/>
          </a:xfrm>
          <a:solidFill>
            <a:srgbClr val="00677F"/>
          </a:solidFill>
        </p:grpSpPr>
        <p:sp>
          <p:nvSpPr>
            <p:cNvPr id="201" name="Google Shape;6079;p67"/>
            <p:cNvSpPr/>
            <p:nvPr/>
          </p:nvSpPr>
          <p:spPr>
            <a:xfrm>
              <a:off x="-41827301" y="3715600"/>
              <a:ext cx="186675" cy="185900"/>
            </a:xfrm>
            <a:custGeom>
              <a:rect l="l" t="t" r="r" b="b"/>
              <a:pathLst>
                <a:path w="7465" h="7436" extrusionOk="0">
                  <a:moveTo>
                    <a:pt x="3686" y="1465"/>
                  </a:moveTo>
                  <a:cubicBezTo>
                    <a:pt x="3836" y="1465"/>
                    <a:pt x="3985" y="1544"/>
                    <a:pt x="4064" y="1702"/>
                  </a:cubicBezTo>
                  <a:lnTo>
                    <a:pt x="4537" y="2678"/>
                  </a:lnTo>
                  <a:lnTo>
                    <a:pt x="5608" y="2836"/>
                  </a:lnTo>
                  <a:cubicBezTo>
                    <a:pt x="5955" y="2867"/>
                    <a:pt x="6081" y="3308"/>
                    <a:pt x="5829" y="3561"/>
                  </a:cubicBezTo>
                  <a:lnTo>
                    <a:pt x="5041" y="4285"/>
                  </a:lnTo>
                  <a:lnTo>
                    <a:pt x="5261" y="5356"/>
                  </a:lnTo>
                  <a:cubicBezTo>
                    <a:pt x="5286" y="5630"/>
                    <a:pt x="5075" y="5845"/>
                    <a:pt x="4845" y="5845"/>
                  </a:cubicBezTo>
                  <a:cubicBezTo>
                    <a:pt x="4784" y="5845"/>
                    <a:pt x="4722" y="5830"/>
                    <a:pt x="4663" y="5797"/>
                  </a:cubicBezTo>
                  <a:lnTo>
                    <a:pt x="3686" y="5262"/>
                  </a:lnTo>
                  <a:lnTo>
                    <a:pt x="2678" y="5797"/>
                  </a:lnTo>
                  <a:cubicBezTo>
                    <a:pt x="2616" y="5828"/>
                    <a:pt x="2553" y="5842"/>
                    <a:pt x="2492" y="5842"/>
                  </a:cubicBezTo>
                  <a:cubicBezTo>
                    <a:pt x="2244" y="5842"/>
                    <a:pt x="2035" y="5609"/>
                    <a:pt x="2111" y="5356"/>
                  </a:cubicBezTo>
                  <a:lnTo>
                    <a:pt x="2300" y="4285"/>
                  </a:lnTo>
                  <a:lnTo>
                    <a:pt x="1512" y="3561"/>
                  </a:lnTo>
                  <a:cubicBezTo>
                    <a:pt x="1323" y="3308"/>
                    <a:pt x="1418" y="2867"/>
                    <a:pt x="1796" y="2836"/>
                  </a:cubicBezTo>
                  <a:lnTo>
                    <a:pt x="2836" y="2678"/>
                  </a:lnTo>
                  <a:lnTo>
                    <a:pt x="3308" y="1702"/>
                  </a:lnTo>
                  <a:cubicBezTo>
                    <a:pt x="3387" y="1544"/>
                    <a:pt x="3537" y="1465"/>
                    <a:pt x="3686" y="1465"/>
                  </a:cubicBezTo>
                  <a:close/>
                  <a:moveTo>
                    <a:pt x="3718" y="0"/>
                  </a:moveTo>
                  <a:cubicBezTo>
                    <a:pt x="1670" y="0"/>
                    <a:pt x="32" y="1670"/>
                    <a:pt x="32" y="3750"/>
                  </a:cubicBezTo>
                  <a:cubicBezTo>
                    <a:pt x="0" y="5766"/>
                    <a:pt x="1670" y="7436"/>
                    <a:pt x="3718" y="7436"/>
                  </a:cubicBezTo>
                  <a:cubicBezTo>
                    <a:pt x="5765" y="7436"/>
                    <a:pt x="7404" y="5797"/>
                    <a:pt x="7467" y="3750"/>
                  </a:cubicBezTo>
                  <a:cubicBezTo>
                    <a:pt x="7467" y="1702"/>
                    <a:pt x="5797" y="32"/>
                    <a:pt x="3718" y="0"/>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202" name="Google Shape;6080;p67"/>
            <p:cNvSpPr/>
            <p:nvPr/>
          </p:nvSpPr>
          <p:spPr>
            <a:xfrm>
              <a:off x="-41726501" y="3586725"/>
              <a:ext cx="151250" cy="147800"/>
            </a:xfrm>
            <a:custGeom>
              <a:rect l="l" t="t" r="r" b="b"/>
              <a:pathLst>
                <a:path w="6050" h="5912" extrusionOk="0">
                  <a:moveTo>
                    <a:pt x="3829" y="0"/>
                  </a:moveTo>
                  <a:cubicBezTo>
                    <a:pt x="3706" y="0"/>
                    <a:pt x="3580" y="47"/>
                    <a:pt x="3498" y="146"/>
                  </a:cubicBezTo>
                  <a:lnTo>
                    <a:pt x="1" y="4336"/>
                  </a:lnTo>
                  <a:cubicBezTo>
                    <a:pt x="1229" y="4399"/>
                    <a:pt x="2332" y="4998"/>
                    <a:pt x="3088" y="5912"/>
                  </a:cubicBezTo>
                  <a:lnTo>
                    <a:pt x="5861" y="2446"/>
                  </a:lnTo>
                  <a:cubicBezTo>
                    <a:pt x="6050" y="2289"/>
                    <a:pt x="6050" y="2037"/>
                    <a:pt x="5924" y="1879"/>
                  </a:cubicBezTo>
                  <a:lnTo>
                    <a:pt x="4128" y="115"/>
                  </a:lnTo>
                  <a:cubicBezTo>
                    <a:pt x="4053" y="40"/>
                    <a:pt x="3942" y="0"/>
                    <a:pt x="3829" y="0"/>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203" name="Google Shape;6081;p67"/>
            <p:cNvSpPr/>
            <p:nvPr/>
          </p:nvSpPr>
          <p:spPr>
            <a:xfrm>
              <a:off x="-41808400" y="3584850"/>
              <a:ext cx="148100" cy="89825"/>
            </a:xfrm>
            <a:custGeom>
              <a:rect l="l" t="t" r="r" b="b"/>
              <a:pathLst>
                <a:path w="5924" h="3593" extrusionOk="0">
                  <a:moveTo>
                    <a:pt x="0" y="1"/>
                  </a:moveTo>
                  <a:lnTo>
                    <a:pt x="2962" y="3592"/>
                  </a:lnTo>
                  <a:lnTo>
                    <a:pt x="5923" y="1"/>
                  </a:ln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204" name="Google Shape;6082;p67"/>
            <p:cNvSpPr/>
            <p:nvPr/>
          </p:nvSpPr>
          <p:spPr>
            <a:xfrm>
              <a:off x="-41893474" y="3586725"/>
              <a:ext cx="148875" cy="147025"/>
            </a:xfrm>
            <a:custGeom>
              <a:rect l="l" t="t" r="r" b="b"/>
              <a:pathLst>
                <a:path w="5955" h="5881" extrusionOk="0">
                  <a:moveTo>
                    <a:pt x="2194" y="0"/>
                  </a:moveTo>
                  <a:cubicBezTo>
                    <a:pt x="2084" y="0"/>
                    <a:pt x="1965" y="40"/>
                    <a:pt x="1859" y="115"/>
                  </a:cubicBezTo>
                  <a:lnTo>
                    <a:pt x="95" y="1879"/>
                  </a:lnTo>
                  <a:cubicBezTo>
                    <a:pt x="1" y="2037"/>
                    <a:pt x="1" y="2289"/>
                    <a:pt x="95" y="2446"/>
                  </a:cubicBezTo>
                  <a:lnTo>
                    <a:pt x="2899" y="5880"/>
                  </a:lnTo>
                  <a:cubicBezTo>
                    <a:pt x="3655" y="4998"/>
                    <a:pt x="4758" y="4399"/>
                    <a:pt x="5955" y="4305"/>
                  </a:cubicBezTo>
                  <a:lnTo>
                    <a:pt x="2490" y="146"/>
                  </a:lnTo>
                  <a:cubicBezTo>
                    <a:pt x="2424" y="47"/>
                    <a:pt x="2315" y="0"/>
                    <a:pt x="2194" y="0"/>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grpSp>
      <p:grpSp>
        <p:nvGrpSpPr>
          <p:cNvPr id="231" name="Google Shape;6110;p67"/>
          <p:cNvGrpSpPr/>
          <p:nvPr/>
        </p:nvGrpSpPr>
        <p:grpSpPr>
          <a:xfrm>
            <a:off x="7643919" y="5591138"/>
            <a:ext cx="483301" cy="378456"/>
            <a:chOff x="-41526451" y="3653375"/>
            <a:chExt cx="315875" cy="247350"/>
          </a:xfrm>
          <a:solidFill>
            <a:srgbClr val="00677F"/>
          </a:solidFill>
        </p:grpSpPr>
        <p:sp>
          <p:nvSpPr>
            <p:cNvPr id="232" name="Google Shape;6111;p67"/>
            <p:cNvSpPr/>
            <p:nvPr/>
          </p:nvSpPr>
          <p:spPr>
            <a:xfrm>
              <a:off x="-41526451" y="3860525"/>
              <a:ext cx="315875" cy="40200"/>
            </a:xfrm>
            <a:custGeom>
              <a:rect l="l" t="t" r="r" b="b"/>
              <a:pathLst>
                <a:path w="12635" h="1608" extrusionOk="0">
                  <a:moveTo>
                    <a:pt x="379" y="0"/>
                  </a:moveTo>
                  <a:cubicBezTo>
                    <a:pt x="159" y="0"/>
                    <a:pt x="1" y="189"/>
                    <a:pt x="1" y="378"/>
                  </a:cubicBezTo>
                  <a:cubicBezTo>
                    <a:pt x="1" y="1040"/>
                    <a:pt x="537" y="1607"/>
                    <a:pt x="1198" y="1607"/>
                  </a:cubicBezTo>
                  <a:lnTo>
                    <a:pt x="11406" y="1607"/>
                  </a:lnTo>
                  <a:cubicBezTo>
                    <a:pt x="12067" y="1607"/>
                    <a:pt x="12634" y="1072"/>
                    <a:pt x="12634" y="378"/>
                  </a:cubicBezTo>
                  <a:cubicBezTo>
                    <a:pt x="12603" y="158"/>
                    <a:pt x="12445" y="0"/>
                    <a:pt x="12193" y="0"/>
                  </a:cubicBezTo>
                  <a:lnTo>
                    <a:pt x="10965" y="0"/>
                  </a:lnTo>
                  <a:lnTo>
                    <a:pt x="10965" y="378"/>
                  </a:lnTo>
                  <a:cubicBezTo>
                    <a:pt x="10965" y="630"/>
                    <a:pt x="10776" y="819"/>
                    <a:pt x="10555" y="819"/>
                  </a:cubicBezTo>
                  <a:cubicBezTo>
                    <a:pt x="10303" y="819"/>
                    <a:pt x="10146" y="630"/>
                    <a:pt x="10146" y="378"/>
                  </a:cubicBezTo>
                  <a:lnTo>
                    <a:pt x="10146" y="0"/>
                  </a:lnTo>
                  <a:lnTo>
                    <a:pt x="9326" y="0"/>
                  </a:lnTo>
                  <a:lnTo>
                    <a:pt x="9326" y="378"/>
                  </a:lnTo>
                  <a:cubicBezTo>
                    <a:pt x="9326" y="630"/>
                    <a:pt x="9137" y="819"/>
                    <a:pt x="8917" y="819"/>
                  </a:cubicBezTo>
                  <a:cubicBezTo>
                    <a:pt x="8696" y="819"/>
                    <a:pt x="8507" y="630"/>
                    <a:pt x="8507" y="378"/>
                  </a:cubicBezTo>
                  <a:lnTo>
                    <a:pt x="8507" y="0"/>
                  </a:ln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233" name="Google Shape;6112;p67"/>
            <p:cNvSpPr/>
            <p:nvPr/>
          </p:nvSpPr>
          <p:spPr>
            <a:xfrm>
              <a:off x="-41506750" y="3653375"/>
              <a:ext cx="275700" cy="186700"/>
            </a:xfrm>
            <a:custGeom>
              <a:rect l="l" t="t" r="r" b="b"/>
              <a:pathLst>
                <a:path w="11028" h="7468" extrusionOk="0">
                  <a:moveTo>
                    <a:pt x="3794" y="1673"/>
                  </a:moveTo>
                  <a:cubicBezTo>
                    <a:pt x="3841" y="1673"/>
                    <a:pt x="3890" y="1682"/>
                    <a:pt x="3939" y="1702"/>
                  </a:cubicBezTo>
                  <a:lnTo>
                    <a:pt x="6428" y="2521"/>
                  </a:lnTo>
                  <a:cubicBezTo>
                    <a:pt x="6680" y="2616"/>
                    <a:pt x="6806" y="2994"/>
                    <a:pt x="6585" y="3214"/>
                  </a:cubicBezTo>
                  <a:lnTo>
                    <a:pt x="6018" y="3750"/>
                  </a:lnTo>
                  <a:lnTo>
                    <a:pt x="7404" y="5136"/>
                  </a:lnTo>
                  <a:cubicBezTo>
                    <a:pt x="7593" y="5262"/>
                    <a:pt x="7593" y="5514"/>
                    <a:pt x="7436" y="5671"/>
                  </a:cubicBezTo>
                  <a:cubicBezTo>
                    <a:pt x="7357" y="5750"/>
                    <a:pt x="7247" y="5790"/>
                    <a:pt x="7136" y="5790"/>
                  </a:cubicBezTo>
                  <a:cubicBezTo>
                    <a:pt x="7026" y="5790"/>
                    <a:pt x="6916" y="5750"/>
                    <a:pt x="6837" y="5671"/>
                  </a:cubicBezTo>
                  <a:lnTo>
                    <a:pt x="5451" y="4317"/>
                  </a:lnTo>
                  <a:lnTo>
                    <a:pt x="4915" y="4852"/>
                  </a:lnTo>
                  <a:cubicBezTo>
                    <a:pt x="4821" y="4947"/>
                    <a:pt x="4714" y="4988"/>
                    <a:pt x="4613" y="4988"/>
                  </a:cubicBezTo>
                  <a:cubicBezTo>
                    <a:pt x="4444" y="4988"/>
                    <a:pt x="4293" y="4872"/>
                    <a:pt x="4254" y="4695"/>
                  </a:cubicBezTo>
                  <a:lnTo>
                    <a:pt x="3435" y="2206"/>
                  </a:lnTo>
                  <a:cubicBezTo>
                    <a:pt x="3328" y="1940"/>
                    <a:pt x="3537" y="1673"/>
                    <a:pt x="3794" y="1673"/>
                  </a:cubicBezTo>
                  <a:close/>
                  <a:moveTo>
                    <a:pt x="1198" y="1"/>
                  </a:moveTo>
                  <a:cubicBezTo>
                    <a:pt x="536" y="1"/>
                    <a:pt x="1" y="568"/>
                    <a:pt x="1" y="1229"/>
                  </a:cubicBezTo>
                  <a:lnTo>
                    <a:pt x="1" y="7467"/>
                  </a:lnTo>
                  <a:lnTo>
                    <a:pt x="11027" y="7467"/>
                  </a:lnTo>
                  <a:lnTo>
                    <a:pt x="11027" y="1229"/>
                  </a:lnTo>
                  <a:cubicBezTo>
                    <a:pt x="11027" y="568"/>
                    <a:pt x="10460" y="1"/>
                    <a:pt x="9767" y="1"/>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grpSp>
      <p:grpSp>
        <p:nvGrpSpPr>
          <p:cNvPr id="256" name="Google Shape;5972;p67"/>
          <p:cNvGrpSpPr/>
          <p:nvPr/>
        </p:nvGrpSpPr>
        <p:grpSpPr>
          <a:xfrm>
            <a:off x="5231564" y="2522408"/>
            <a:ext cx="480630" cy="552897"/>
            <a:chOff x="-42971724" y="3217825"/>
            <a:chExt cx="275675" cy="317125"/>
          </a:xfrm>
          <a:solidFill>
            <a:srgbClr val="00677F"/>
          </a:solidFill>
        </p:grpSpPr>
        <p:sp>
          <p:nvSpPr>
            <p:cNvPr id="257" name="Google Shape;5973;p67"/>
            <p:cNvSpPr/>
            <p:nvPr/>
          </p:nvSpPr>
          <p:spPr>
            <a:xfrm>
              <a:off x="-42951251" y="3279250"/>
              <a:ext cx="233950" cy="152050"/>
            </a:xfrm>
            <a:custGeom>
              <a:rect l="l" t="t" r="r" b="b"/>
              <a:pathLst>
                <a:path w="9358" h="6082" extrusionOk="0">
                  <a:moveTo>
                    <a:pt x="379" y="1"/>
                  </a:moveTo>
                  <a:cubicBezTo>
                    <a:pt x="158" y="1"/>
                    <a:pt x="1" y="221"/>
                    <a:pt x="1" y="410"/>
                  </a:cubicBezTo>
                  <a:lnTo>
                    <a:pt x="1" y="6081"/>
                  </a:lnTo>
                  <a:lnTo>
                    <a:pt x="9357" y="6081"/>
                  </a:lnTo>
                  <a:lnTo>
                    <a:pt x="9357" y="410"/>
                  </a:lnTo>
                  <a:cubicBezTo>
                    <a:pt x="9357" y="158"/>
                    <a:pt x="9168" y="1"/>
                    <a:pt x="8979" y="1"/>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258" name="Google Shape;5974;p67"/>
            <p:cNvSpPr/>
            <p:nvPr/>
          </p:nvSpPr>
          <p:spPr>
            <a:xfrm>
              <a:off x="-42971724" y="3451750"/>
              <a:ext cx="275675" cy="83200"/>
            </a:xfrm>
            <a:custGeom>
              <a:rect l="l" t="t" r="r" b="b"/>
              <a:pathLst>
                <a:path w="11027" h="3328" extrusionOk="0">
                  <a:moveTo>
                    <a:pt x="63" y="0"/>
                  </a:moveTo>
                  <a:cubicBezTo>
                    <a:pt x="32" y="126"/>
                    <a:pt x="0" y="284"/>
                    <a:pt x="0" y="410"/>
                  </a:cubicBezTo>
                  <a:cubicBezTo>
                    <a:pt x="0" y="1103"/>
                    <a:pt x="536" y="1670"/>
                    <a:pt x="1198" y="1670"/>
                  </a:cubicBezTo>
                  <a:lnTo>
                    <a:pt x="3151" y="1670"/>
                  </a:lnTo>
                  <a:lnTo>
                    <a:pt x="2615" y="2710"/>
                  </a:lnTo>
                  <a:cubicBezTo>
                    <a:pt x="2521" y="2930"/>
                    <a:pt x="2615" y="3182"/>
                    <a:pt x="2836" y="3277"/>
                  </a:cubicBezTo>
                  <a:cubicBezTo>
                    <a:pt x="2889" y="3312"/>
                    <a:pt x="2949" y="3328"/>
                    <a:pt x="3009" y="3328"/>
                  </a:cubicBezTo>
                  <a:cubicBezTo>
                    <a:pt x="3166" y="3328"/>
                    <a:pt x="3326" y="3224"/>
                    <a:pt x="3371" y="3088"/>
                  </a:cubicBezTo>
                  <a:lnTo>
                    <a:pt x="4096" y="1639"/>
                  </a:lnTo>
                  <a:lnTo>
                    <a:pt x="5073" y="1639"/>
                  </a:lnTo>
                  <a:lnTo>
                    <a:pt x="5073" y="2867"/>
                  </a:lnTo>
                  <a:cubicBezTo>
                    <a:pt x="5073" y="3119"/>
                    <a:pt x="5262" y="3308"/>
                    <a:pt x="5514" y="3308"/>
                  </a:cubicBezTo>
                  <a:cubicBezTo>
                    <a:pt x="5734" y="3308"/>
                    <a:pt x="5892" y="3119"/>
                    <a:pt x="5892" y="2867"/>
                  </a:cubicBezTo>
                  <a:lnTo>
                    <a:pt x="5892" y="1639"/>
                  </a:lnTo>
                  <a:lnTo>
                    <a:pt x="6868" y="1639"/>
                  </a:lnTo>
                  <a:lnTo>
                    <a:pt x="7593" y="3088"/>
                  </a:lnTo>
                  <a:cubicBezTo>
                    <a:pt x="7688" y="3230"/>
                    <a:pt x="7835" y="3301"/>
                    <a:pt x="7983" y="3301"/>
                  </a:cubicBezTo>
                  <a:cubicBezTo>
                    <a:pt x="8032" y="3301"/>
                    <a:pt x="8081" y="3293"/>
                    <a:pt x="8129" y="3277"/>
                  </a:cubicBezTo>
                  <a:cubicBezTo>
                    <a:pt x="8349" y="3151"/>
                    <a:pt x="8412" y="2930"/>
                    <a:pt x="8349" y="2710"/>
                  </a:cubicBezTo>
                  <a:lnTo>
                    <a:pt x="7814" y="1670"/>
                  </a:lnTo>
                  <a:lnTo>
                    <a:pt x="9767" y="1670"/>
                  </a:lnTo>
                  <a:cubicBezTo>
                    <a:pt x="10429" y="1670"/>
                    <a:pt x="11027" y="1103"/>
                    <a:pt x="11027" y="410"/>
                  </a:cubicBezTo>
                  <a:cubicBezTo>
                    <a:pt x="11027" y="252"/>
                    <a:pt x="10964" y="126"/>
                    <a:pt x="10933" y="0"/>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259" name="Google Shape;5975;p67"/>
            <p:cNvSpPr/>
            <p:nvPr/>
          </p:nvSpPr>
          <p:spPr>
            <a:xfrm>
              <a:off x="-42866974" y="3217825"/>
              <a:ext cx="63025" cy="40975"/>
            </a:xfrm>
            <a:custGeom>
              <a:rect l="l" t="t" r="r" b="b"/>
              <a:pathLst>
                <a:path w="2521" h="1639" extrusionOk="0">
                  <a:moveTo>
                    <a:pt x="442" y="0"/>
                  </a:moveTo>
                  <a:cubicBezTo>
                    <a:pt x="221" y="0"/>
                    <a:pt x="1" y="189"/>
                    <a:pt x="1" y="410"/>
                  </a:cubicBezTo>
                  <a:lnTo>
                    <a:pt x="1" y="1639"/>
                  </a:lnTo>
                  <a:lnTo>
                    <a:pt x="2489" y="1639"/>
                  </a:lnTo>
                  <a:lnTo>
                    <a:pt x="2489" y="410"/>
                  </a:lnTo>
                  <a:lnTo>
                    <a:pt x="2521" y="410"/>
                  </a:lnTo>
                  <a:cubicBezTo>
                    <a:pt x="2521" y="189"/>
                    <a:pt x="2332" y="0"/>
                    <a:pt x="2111" y="0"/>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grpSp>
      <p:grpSp>
        <p:nvGrpSpPr>
          <p:cNvPr id="260" name="Google Shape;5984;p67"/>
          <p:cNvGrpSpPr/>
          <p:nvPr/>
        </p:nvGrpSpPr>
        <p:grpSpPr>
          <a:xfrm>
            <a:off x="9324361" y="2518321"/>
            <a:ext cx="554771" cy="553419"/>
            <a:chOff x="-41111351" y="3239100"/>
            <a:chExt cx="318200" cy="317425"/>
          </a:xfrm>
          <a:solidFill>
            <a:srgbClr val="00677F"/>
          </a:solidFill>
        </p:grpSpPr>
        <p:sp>
          <p:nvSpPr>
            <p:cNvPr id="261" name="Google Shape;5985;p67"/>
            <p:cNvSpPr/>
            <p:nvPr/>
          </p:nvSpPr>
          <p:spPr>
            <a:xfrm>
              <a:off x="-41111351" y="3239100"/>
              <a:ext cx="145725" cy="144925"/>
            </a:xfrm>
            <a:custGeom>
              <a:rect l="l" t="t" r="r" b="b"/>
              <a:pathLst>
                <a:path w="5829" h="5797" extrusionOk="0">
                  <a:moveTo>
                    <a:pt x="2930" y="1670"/>
                  </a:moveTo>
                  <a:cubicBezTo>
                    <a:pt x="3119" y="1670"/>
                    <a:pt x="3308" y="1859"/>
                    <a:pt x="3308" y="2048"/>
                  </a:cubicBezTo>
                  <a:lnTo>
                    <a:pt x="3308" y="2489"/>
                  </a:lnTo>
                  <a:lnTo>
                    <a:pt x="3749" y="2489"/>
                  </a:lnTo>
                  <a:cubicBezTo>
                    <a:pt x="4001" y="2489"/>
                    <a:pt x="4159" y="2678"/>
                    <a:pt x="4159" y="2930"/>
                  </a:cubicBezTo>
                  <a:cubicBezTo>
                    <a:pt x="4159" y="3151"/>
                    <a:pt x="3938" y="3340"/>
                    <a:pt x="3749" y="3340"/>
                  </a:cubicBezTo>
                  <a:lnTo>
                    <a:pt x="3308" y="3340"/>
                  </a:lnTo>
                  <a:lnTo>
                    <a:pt x="3308" y="3781"/>
                  </a:lnTo>
                  <a:cubicBezTo>
                    <a:pt x="3308" y="4001"/>
                    <a:pt x="3119" y="4159"/>
                    <a:pt x="2930" y="4159"/>
                  </a:cubicBezTo>
                  <a:cubicBezTo>
                    <a:pt x="2710" y="4159"/>
                    <a:pt x="2520" y="3970"/>
                    <a:pt x="2520" y="3781"/>
                  </a:cubicBezTo>
                  <a:lnTo>
                    <a:pt x="2520" y="3340"/>
                  </a:lnTo>
                  <a:lnTo>
                    <a:pt x="2079" y="3340"/>
                  </a:lnTo>
                  <a:cubicBezTo>
                    <a:pt x="1859" y="3340"/>
                    <a:pt x="1701" y="3151"/>
                    <a:pt x="1701" y="2930"/>
                  </a:cubicBezTo>
                  <a:cubicBezTo>
                    <a:pt x="1701" y="2678"/>
                    <a:pt x="1859" y="2489"/>
                    <a:pt x="2079" y="2489"/>
                  </a:cubicBezTo>
                  <a:lnTo>
                    <a:pt x="2520" y="2489"/>
                  </a:lnTo>
                  <a:lnTo>
                    <a:pt x="2520" y="2048"/>
                  </a:lnTo>
                  <a:cubicBezTo>
                    <a:pt x="2520" y="1827"/>
                    <a:pt x="2710" y="1670"/>
                    <a:pt x="2930" y="1670"/>
                  </a:cubicBezTo>
                  <a:close/>
                  <a:moveTo>
                    <a:pt x="441" y="0"/>
                  </a:moveTo>
                  <a:cubicBezTo>
                    <a:pt x="189" y="0"/>
                    <a:pt x="0" y="189"/>
                    <a:pt x="0" y="441"/>
                  </a:cubicBezTo>
                  <a:lnTo>
                    <a:pt x="0" y="5387"/>
                  </a:lnTo>
                  <a:cubicBezTo>
                    <a:pt x="32" y="5639"/>
                    <a:pt x="221" y="5797"/>
                    <a:pt x="441" y="5797"/>
                  </a:cubicBezTo>
                  <a:lnTo>
                    <a:pt x="5387" y="5797"/>
                  </a:lnTo>
                  <a:cubicBezTo>
                    <a:pt x="5639" y="5797"/>
                    <a:pt x="5829" y="5608"/>
                    <a:pt x="5829" y="5387"/>
                  </a:cubicBezTo>
                  <a:lnTo>
                    <a:pt x="5829" y="441"/>
                  </a:lnTo>
                  <a:cubicBezTo>
                    <a:pt x="5829" y="189"/>
                    <a:pt x="5639" y="0"/>
                    <a:pt x="5387" y="0"/>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262" name="Google Shape;5986;p67"/>
            <p:cNvSpPr/>
            <p:nvPr/>
          </p:nvSpPr>
          <p:spPr>
            <a:xfrm>
              <a:off x="-41110576" y="3412375"/>
              <a:ext cx="146525" cy="144150"/>
            </a:xfrm>
            <a:custGeom>
              <a:rect l="l" t="t" r="r" b="b"/>
              <a:pathLst>
                <a:path w="5861" h="5766" extrusionOk="0">
                  <a:moveTo>
                    <a:pt x="3450" y="1859"/>
                  </a:moveTo>
                  <a:cubicBezTo>
                    <a:pt x="3561" y="1859"/>
                    <a:pt x="3671" y="1890"/>
                    <a:pt x="3750" y="1953"/>
                  </a:cubicBezTo>
                  <a:cubicBezTo>
                    <a:pt x="3907" y="2111"/>
                    <a:pt x="3907" y="2395"/>
                    <a:pt x="3750" y="2552"/>
                  </a:cubicBezTo>
                  <a:lnTo>
                    <a:pt x="3466" y="2836"/>
                  </a:lnTo>
                  <a:lnTo>
                    <a:pt x="3750" y="3119"/>
                  </a:lnTo>
                  <a:cubicBezTo>
                    <a:pt x="3907" y="3277"/>
                    <a:pt x="3907" y="3529"/>
                    <a:pt x="3750" y="3686"/>
                  </a:cubicBezTo>
                  <a:cubicBezTo>
                    <a:pt x="3671" y="3765"/>
                    <a:pt x="3561" y="3804"/>
                    <a:pt x="3450" y="3804"/>
                  </a:cubicBezTo>
                  <a:cubicBezTo>
                    <a:pt x="3340" y="3804"/>
                    <a:pt x="3230" y="3765"/>
                    <a:pt x="3151" y="3686"/>
                  </a:cubicBezTo>
                  <a:lnTo>
                    <a:pt x="2899" y="3434"/>
                  </a:lnTo>
                  <a:lnTo>
                    <a:pt x="2616" y="3686"/>
                  </a:lnTo>
                  <a:cubicBezTo>
                    <a:pt x="2537" y="3765"/>
                    <a:pt x="2426" y="3804"/>
                    <a:pt x="2316" y="3804"/>
                  </a:cubicBezTo>
                  <a:cubicBezTo>
                    <a:pt x="2206" y="3804"/>
                    <a:pt x="2096" y="3765"/>
                    <a:pt x="2017" y="3686"/>
                  </a:cubicBezTo>
                  <a:cubicBezTo>
                    <a:pt x="1859" y="3529"/>
                    <a:pt x="1859" y="3277"/>
                    <a:pt x="2017" y="3119"/>
                  </a:cubicBezTo>
                  <a:lnTo>
                    <a:pt x="2300" y="2836"/>
                  </a:lnTo>
                  <a:lnTo>
                    <a:pt x="2017" y="2552"/>
                  </a:lnTo>
                  <a:cubicBezTo>
                    <a:pt x="1859" y="2395"/>
                    <a:pt x="1859" y="2111"/>
                    <a:pt x="2017" y="1953"/>
                  </a:cubicBezTo>
                  <a:cubicBezTo>
                    <a:pt x="2096" y="1890"/>
                    <a:pt x="2206" y="1859"/>
                    <a:pt x="2316" y="1859"/>
                  </a:cubicBezTo>
                  <a:cubicBezTo>
                    <a:pt x="2426" y="1859"/>
                    <a:pt x="2537" y="1890"/>
                    <a:pt x="2616" y="1953"/>
                  </a:cubicBezTo>
                  <a:lnTo>
                    <a:pt x="2899" y="2237"/>
                  </a:lnTo>
                  <a:lnTo>
                    <a:pt x="3151" y="1953"/>
                  </a:lnTo>
                  <a:cubicBezTo>
                    <a:pt x="3230" y="1890"/>
                    <a:pt x="3340" y="1859"/>
                    <a:pt x="3450" y="1859"/>
                  </a:cubicBezTo>
                  <a:close/>
                  <a:moveTo>
                    <a:pt x="442" y="0"/>
                  </a:moveTo>
                  <a:cubicBezTo>
                    <a:pt x="221" y="0"/>
                    <a:pt x="1" y="189"/>
                    <a:pt x="1" y="378"/>
                  </a:cubicBezTo>
                  <a:lnTo>
                    <a:pt x="1" y="5356"/>
                  </a:lnTo>
                  <a:cubicBezTo>
                    <a:pt x="1" y="5608"/>
                    <a:pt x="221" y="5766"/>
                    <a:pt x="442" y="5766"/>
                  </a:cubicBezTo>
                  <a:lnTo>
                    <a:pt x="5419" y="5766"/>
                  </a:lnTo>
                  <a:cubicBezTo>
                    <a:pt x="5640" y="5766"/>
                    <a:pt x="5861" y="5545"/>
                    <a:pt x="5861" y="5356"/>
                  </a:cubicBezTo>
                  <a:lnTo>
                    <a:pt x="5861" y="378"/>
                  </a:lnTo>
                  <a:cubicBezTo>
                    <a:pt x="5861" y="158"/>
                    <a:pt x="5640" y="0"/>
                    <a:pt x="5419" y="0"/>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263" name="Google Shape;5987;p67"/>
            <p:cNvSpPr/>
            <p:nvPr/>
          </p:nvSpPr>
          <p:spPr>
            <a:xfrm>
              <a:off x="-40938875" y="3239100"/>
              <a:ext cx="145725" cy="144925"/>
            </a:xfrm>
            <a:custGeom>
              <a:rect l="l" t="t" r="r" b="b"/>
              <a:pathLst>
                <a:path w="5829" h="5797" extrusionOk="0">
                  <a:moveTo>
                    <a:pt x="3750" y="2457"/>
                  </a:moveTo>
                  <a:cubicBezTo>
                    <a:pt x="3970" y="2457"/>
                    <a:pt x="4128" y="2646"/>
                    <a:pt x="4128" y="2867"/>
                  </a:cubicBezTo>
                  <a:cubicBezTo>
                    <a:pt x="4159" y="3151"/>
                    <a:pt x="3970" y="3308"/>
                    <a:pt x="3750" y="3308"/>
                  </a:cubicBezTo>
                  <a:lnTo>
                    <a:pt x="2080" y="3308"/>
                  </a:lnTo>
                  <a:cubicBezTo>
                    <a:pt x="1859" y="3308"/>
                    <a:pt x="1702" y="3119"/>
                    <a:pt x="1702" y="2867"/>
                  </a:cubicBezTo>
                  <a:cubicBezTo>
                    <a:pt x="1702" y="2646"/>
                    <a:pt x="1891" y="2457"/>
                    <a:pt x="2080" y="2457"/>
                  </a:cubicBezTo>
                  <a:close/>
                  <a:moveTo>
                    <a:pt x="442" y="0"/>
                  </a:moveTo>
                  <a:cubicBezTo>
                    <a:pt x="190" y="0"/>
                    <a:pt x="1" y="189"/>
                    <a:pt x="1" y="441"/>
                  </a:cubicBezTo>
                  <a:lnTo>
                    <a:pt x="1" y="5387"/>
                  </a:lnTo>
                  <a:cubicBezTo>
                    <a:pt x="1" y="5639"/>
                    <a:pt x="190" y="5797"/>
                    <a:pt x="442" y="5797"/>
                  </a:cubicBezTo>
                  <a:lnTo>
                    <a:pt x="5388" y="5797"/>
                  </a:lnTo>
                  <a:cubicBezTo>
                    <a:pt x="5640" y="5797"/>
                    <a:pt x="5829" y="5608"/>
                    <a:pt x="5829" y="5387"/>
                  </a:cubicBezTo>
                  <a:lnTo>
                    <a:pt x="5829" y="441"/>
                  </a:lnTo>
                  <a:cubicBezTo>
                    <a:pt x="5829" y="189"/>
                    <a:pt x="5640" y="0"/>
                    <a:pt x="5388" y="0"/>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264" name="Google Shape;5988;p67"/>
            <p:cNvSpPr/>
            <p:nvPr/>
          </p:nvSpPr>
          <p:spPr>
            <a:xfrm>
              <a:off x="-40938875" y="3411575"/>
              <a:ext cx="145725" cy="144950"/>
            </a:xfrm>
            <a:custGeom>
              <a:rect l="l" t="t" r="r" b="b"/>
              <a:pathLst>
                <a:path w="5829" h="5798" extrusionOk="0">
                  <a:moveTo>
                    <a:pt x="3750" y="1639"/>
                  </a:moveTo>
                  <a:cubicBezTo>
                    <a:pt x="3970" y="1639"/>
                    <a:pt x="4128" y="1859"/>
                    <a:pt x="4128" y="2080"/>
                  </a:cubicBezTo>
                  <a:cubicBezTo>
                    <a:pt x="4159" y="2332"/>
                    <a:pt x="3970" y="2490"/>
                    <a:pt x="3750" y="2490"/>
                  </a:cubicBezTo>
                  <a:lnTo>
                    <a:pt x="2080" y="2490"/>
                  </a:lnTo>
                  <a:cubicBezTo>
                    <a:pt x="1859" y="2490"/>
                    <a:pt x="1702" y="2269"/>
                    <a:pt x="1702" y="2080"/>
                  </a:cubicBezTo>
                  <a:cubicBezTo>
                    <a:pt x="1702" y="1859"/>
                    <a:pt x="1891" y="1639"/>
                    <a:pt x="2080" y="1639"/>
                  </a:cubicBezTo>
                  <a:close/>
                  <a:moveTo>
                    <a:pt x="3750" y="3309"/>
                  </a:moveTo>
                  <a:cubicBezTo>
                    <a:pt x="3970" y="3309"/>
                    <a:pt x="4128" y="3498"/>
                    <a:pt x="4128" y="3687"/>
                  </a:cubicBezTo>
                  <a:cubicBezTo>
                    <a:pt x="4159" y="3970"/>
                    <a:pt x="3970" y="4128"/>
                    <a:pt x="3750" y="4128"/>
                  </a:cubicBezTo>
                  <a:lnTo>
                    <a:pt x="2080" y="4128"/>
                  </a:lnTo>
                  <a:cubicBezTo>
                    <a:pt x="1859" y="4128"/>
                    <a:pt x="1702" y="3939"/>
                    <a:pt x="1702" y="3687"/>
                  </a:cubicBezTo>
                  <a:cubicBezTo>
                    <a:pt x="1702" y="3466"/>
                    <a:pt x="1891" y="3309"/>
                    <a:pt x="2080" y="3309"/>
                  </a:cubicBezTo>
                  <a:close/>
                  <a:moveTo>
                    <a:pt x="442" y="1"/>
                  </a:moveTo>
                  <a:cubicBezTo>
                    <a:pt x="190" y="1"/>
                    <a:pt x="1" y="190"/>
                    <a:pt x="1" y="379"/>
                  </a:cubicBezTo>
                  <a:lnTo>
                    <a:pt x="1" y="5388"/>
                  </a:lnTo>
                  <a:cubicBezTo>
                    <a:pt x="1" y="5640"/>
                    <a:pt x="190" y="5798"/>
                    <a:pt x="442" y="5798"/>
                  </a:cubicBezTo>
                  <a:lnTo>
                    <a:pt x="5388" y="5798"/>
                  </a:lnTo>
                  <a:cubicBezTo>
                    <a:pt x="5640" y="5798"/>
                    <a:pt x="5829" y="5577"/>
                    <a:pt x="5829" y="5388"/>
                  </a:cubicBezTo>
                  <a:lnTo>
                    <a:pt x="5829" y="410"/>
                  </a:lnTo>
                  <a:cubicBezTo>
                    <a:pt x="5829" y="190"/>
                    <a:pt x="5640" y="1"/>
                    <a:pt x="5388" y="1"/>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grpSp>
      <p:grpSp>
        <p:nvGrpSpPr>
          <p:cNvPr id="265" name="Google Shape;6002;p67"/>
          <p:cNvGrpSpPr/>
          <p:nvPr/>
        </p:nvGrpSpPr>
        <p:grpSpPr>
          <a:xfrm>
            <a:off x="6093087" y="2522405"/>
            <a:ext cx="640899" cy="553419"/>
            <a:chOff x="-42651700" y="3217825"/>
            <a:chExt cx="367600" cy="317425"/>
          </a:xfrm>
          <a:solidFill>
            <a:srgbClr val="00677F"/>
          </a:solidFill>
        </p:grpSpPr>
        <p:sp>
          <p:nvSpPr>
            <p:cNvPr id="266" name="Google Shape;6003;p67"/>
            <p:cNvSpPr/>
            <p:nvPr/>
          </p:nvSpPr>
          <p:spPr>
            <a:xfrm>
              <a:off x="-42651700" y="3239075"/>
              <a:ext cx="367600" cy="296175"/>
            </a:xfrm>
            <a:custGeom>
              <a:rect l="l" t="t" r="r" b="b"/>
              <a:pathLst>
                <a:path w="14704" h="11847" extrusionOk="0">
                  <a:moveTo>
                    <a:pt x="7370" y="797"/>
                  </a:moveTo>
                  <a:cubicBezTo>
                    <a:pt x="8536" y="797"/>
                    <a:pt x="9694" y="1246"/>
                    <a:pt x="10576" y="2143"/>
                  </a:cubicBezTo>
                  <a:cubicBezTo>
                    <a:pt x="12340" y="3908"/>
                    <a:pt x="12340" y="6775"/>
                    <a:pt x="10576" y="8539"/>
                  </a:cubicBezTo>
                  <a:cubicBezTo>
                    <a:pt x="9757" y="9390"/>
                    <a:pt x="8623" y="9894"/>
                    <a:pt x="7363" y="9894"/>
                  </a:cubicBezTo>
                  <a:cubicBezTo>
                    <a:pt x="6102" y="9894"/>
                    <a:pt x="4937" y="9358"/>
                    <a:pt x="4118" y="8539"/>
                  </a:cubicBezTo>
                  <a:cubicBezTo>
                    <a:pt x="2353" y="6775"/>
                    <a:pt x="2353" y="3908"/>
                    <a:pt x="4118" y="2143"/>
                  </a:cubicBezTo>
                  <a:cubicBezTo>
                    <a:pt x="5031" y="1246"/>
                    <a:pt x="6205" y="797"/>
                    <a:pt x="7370" y="797"/>
                  </a:cubicBezTo>
                  <a:close/>
                  <a:moveTo>
                    <a:pt x="7326" y="1"/>
                  </a:moveTo>
                  <a:cubicBezTo>
                    <a:pt x="2091" y="1"/>
                    <a:pt x="0" y="6750"/>
                    <a:pt x="4275" y="9768"/>
                  </a:cubicBezTo>
                  <a:lnTo>
                    <a:pt x="3424" y="11280"/>
                  </a:lnTo>
                  <a:cubicBezTo>
                    <a:pt x="3298" y="11532"/>
                    <a:pt x="3487" y="11847"/>
                    <a:pt x="3771" y="11847"/>
                  </a:cubicBezTo>
                  <a:cubicBezTo>
                    <a:pt x="3929" y="11847"/>
                    <a:pt x="4086" y="11784"/>
                    <a:pt x="4118" y="11626"/>
                  </a:cubicBezTo>
                  <a:lnTo>
                    <a:pt x="5000" y="10209"/>
                  </a:lnTo>
                  <a:cubicBezTo>
                    <a:pt x="5740" y="10571"/>
                    <a:pt x="6543" y="10752"/>
                    <a:pt x="7351" y="10752"/>
                  </a:cubicBezTo>
                  <a:cubicBezTo>
                    <a:pt x="8158" y="10752"/>
                    <a:pt x="8969" y="10571"/>
                    <a:pt x="9725" y="10209"/>
                  </a:cubicBezTo>
                  <a:lnTo>
                    <a:pt x="10576" y="11626"/>
                  </a:lnTo>
                  <a:cubicBezTo>
                    <a:pt x="10671" y="11784"/>
                    <a:pt x="10828" y="11847"/>
                    <a:pt x="10923" y="11847"/>
                  </a:cubicBezTo>
                  <a:cubicBezTo>
                    <a:pt x="11238" y="11847"/>
                    <a:pt x="11458" y="11532"/>
                    <a:pt x="11301" y="11280"/>
                  </a:cubicBezTo>
                  <a:lnTo>
                    <a:pt x="10419" y="9768"/>
                  </a:lnTo>
                  <a:cubicBezTo>
                    <a:pt x="14703" y="6775"/>
                    <a:pt x="12592" y="1"/>
                    <a:pt x="7363" y="1"/>
                  </a:cubicBezTo>
                  <a:cubicBezTo>
                    <a:pt x="7350" y="1"/>
                    <a:pt x="7338" y="1"/>
                    <a:pt x="7326" y="1"/>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267" name="Google Shape;6004;p67"/>
            <p:cNvSpPr/>
            <p:nvPr/>
          </p:nvSpPr>
          <p:spPr>
            <a:xfrm>
              <a:off x="-42419600" y="3217825"/>
              <a:ext cx="106350" cy="106350"/>
            </a:xfrm>
            <a:custGeom>
              <a:rect l="l" t="t" r="r" b="b"/>
              <a:pathLst>
                <a:path w="4254" h="4254" extrusionOk="0">
                  <a:moveTo>
                    <a:pt x="1355" y="0"/>
                  </a:moveTo>
                  <a:cubicBezTo>
                    <a:pt x="882" y="0"/>
                    <a:pt x="410" y="95"/>
                    <a:pt x="0" y="315"/>
                  </a:cubicBezTo>
                  <a:cubicBezTo>
                    <a:pt x="1891" y="946"/>
                    <a:pt x="3340" y="2395"/>
                    <a:pt x="3938" y="4254"/>
                  </a:cubicBezTo>
                  <a:cubicBezTo>
                    <a:pt x="4128" y="3844"/>
                    <a:pt x="4254" y="3371"/>
                    <a:pt x="4254" y="2899"/>
                  </a:cubicBezTo>
                  <a:cubicBezTo>
                    <a:pt x="4254" y="1292"/>
                    <a:pt x="2962" y="0"/>
                    <a:pt x="1355" y="0"/>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268" name="Google Shape;6005;p67"/>
            <p:cNvSpPr/>
            <p:nvPr/>
          </p:nvSpPr>
          <p:spPr>
            <a:xfrm>
              <a:off x="-42623600" y="3218600"/>
              <a:ext cx="106350" cy="106375"/>
            </a:xfrm>
            <a:custGeom>
              <a:rect l="l" t="t" r="r" b="b"/>
              <a:pathLst>
                <a:path w="4254" h="4255" extrusionOk="0">
                  <a:moveTo>
                    <a:pt x="2931" y="1"/>
                  </a:moveTo>
                  <a:cubicBezTo>
                    <a:pt x="1292" y="1"/>
                    <a:pt x="1" y="1293"/>
                    <a:pt x="1" y="2899"/>
                  </a:cubicBezTo>
                  <a:cubicBezTo>
                    <a:pt x="1" y="3372"/>
                    <a:pt x="127" y="3845"/>
                    <a:pt x="316" y="4254"/>
                  </a:cubicBezTo>
                  <a:cubicBezTo>
                    <a:pt x="977" y="2364"/>
                    <a:pt x="2426" y="915"/>
                    <a:pt x="4254" y="316"/>
                  </a:cubicBezTo>
                  <a:cubicBezTo>
                    <a:pt x="3876" y="127"/>
                    <a:pt x="3403" y="1"/>
                    <a:pt x="2931" y="1"/>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269" name="Google Shape;6006;p67"/>
            <p:cNvSpPr/>
            <p:nvPr/>
          </p:nvSpPr>
          <p:spPr>
            <a:xfrm>
              <a:off x="-42561374" y="3279250"/>
              <a:ext cx="185900" cy="186700"/>
            </a:xfrm>
            <a:custGeom>
              <a:rect l="l" t="t" r="r" b="b"/>
              <a:pathLst>
                <a:path w="7436" h="7468" extrusionOk="0">
                  <a:moveTo>
                    <a:pt x="3781" y="1671"/>
                  </a:moveTo>
                  <a:cubicBezTo>
                    <a:pt x="4033" y="1671"/>
                    <a:pt x="4191" y="1860"/>
                    <a:pt x="4191" y="2112"/>
                  </a:cubicBezTo>
                  <a:lnTo>
                    <a:pt x="4191" y="3340"/>
                  </a:lnTo>
                  <a:lnTo>
                    <a:pt x="5388" y="3340"/>
                  </a:lnTo>
                  <a:cubicBezTo>
                    <a:pt x="5640" y="3340"/>
                    <a:pt x="5829" y="3529"/>
                    <a:pt x="5829" y="3750"/>
                  </a:cubicBezTo>
                  <a:cubicBezTo>
                    <a:pt x="5829" y="4002"/>
                    <a:pt x="5640" y="4128"/>
                    <a:pt x="5388" y="4128"/>
                  </a:cubicBezTo>
                  <a:lnTo>
                    <a:pt x="3750" y="4128"/>
                  </a:lnTo>
                  <a:cubicBezTo>
                    <a:pt x="3498" y="4128"/>
                    <a:pt x="3308" y="3939"/>
                    <a:pt x="3308" y="3750"/>
                  </a:cubicBezTo>
                  <a:lnTo>
                    <a:pt x="3308" y="2112"/>
                  </a:lnTo>
                  <a:lnTo>
                    <a:pt x="3340" y="2112"/>
                  </a:lnTo>
                  <a:cubicBezTo>
                    <a:pt x="3340" y="1860"/>
                    <a:pt x="3529" y="1671"/>
                    <a:pt x="3781" y="1671"/>
                  </a:cubicBezTo>
                  <a:close/>
                  <a:moveTo>
                    <a:pt x="3750" y="1"/>
                  </a:moveTo>
                  <a:cubicBezTo>
                    <a:pt x="1702" y="1"/>
                    <a:pt x="32" y="1671"/>
                    <a:pt x="0" y="3750"/>
                  </a:cubicBezTo>
                  <a:cubicBezTo>
                    <a:pt x="32" y="5798"/>
                    <a:pt x="1702" y="7467"/>
                    <a:pt x="3750" y="7467"/>
                  </a:cubicBezTo>
                  <a:cubicBezTo>
                    <a:pt x="5797" y="7467"/>
                    <a:pt x="7436" y="5798"/>
                    <a:pt x="7436" y="3750"/>
                  </a:cubicBezTo>
                  <a:cubicBezTo>
                    <a:pt x="7436" y="1702"/>
                    <a:pt x="5797" y="64"/>
                    <a:pt x="3750" y="1"/>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grpSp>
      <p:grpSp>
        <p:nvGrpSpPr>
          <p:cNvPr id="270" name="Google Shape;6011;p67"/>
          <p:cNvGrpSpPr/>
          <p:nvPr/>
        </p:nvGrpSpPr>
        <p:grpSpPr>
          <a:xfrm>
            <a:off x="10113189" y="2490103"/>
            <a:ext cx="562442" cy="552591"/>
            <a:chOff x="-40748276" y="3238700"/>
            <a:chExt cx="322600" cy="316950"/>
          </a:xfrm>
          <a:solidFill>
            <a:srgbClr val="00677F"/>
          </a:solidFill>
        </p:grpSpPr>
        <p:sp>
          <p:nvSpPr>
            <p:cNvPr id="271" name="Google Shape;6012;p67"/>
            <p:cNvSpPr/>
            <p:nvPr/>
          </p:nvSpPr>
          <p:spPr>
            <a:xfrm>
              <a:off x="-40709676" y="3273750"/>
              <a:ext cx="84300" cy="84300"/>
            </a:xfrm>
            <a:custGeom>
              <a:rect l="l" t="t" r="r" b="b"/>
              <a:pathLst>
                <a:path w="3372" h="3372" extrusionOk="0">
                  <a:moveTo>
                    <a:pt x="2710" y="0"/>
                  </a:moveTo>
                  <a:lnTo>
                    <a:pt x="1" y="2710"/>
                  </a:lnTo>
                  <a:lnTo>
                    <a:pt x="694" y="3371"/>
                  </a:lnTo>
                  <a:lnTo>
                    <a:pt x="3372" y="662"/>
                  </a:lnTo>
                  <a:lnTo>
                    <a:pt x="2710" y="0"/>
                  </a:ln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272" name="Google Shape;6013;p67"/>
            <p:cNvSpPr/>
            <p:nvPr/>
          </p:nvSpPr>
          <p:spPr>
            <a:xfrm>
              <a:off x="-40578925" y="3247175"/>
              <a:ext cx="151250" cy="149475"/>
            </a:xfrm>
            <a:custGeom>
              <a:rect l="l" t="t" r="r" b="b"/>
              <a:pathLst>
                <a:path w="6050" h="5979" extrusionOk="0">
                  <a:moveTo>
                    <a:pt x="2663" y="0"/>
                  </a:moveTo>
                  <a:cubicBezTo>
                    <a:pt x="2552" y="0"/>
                    <a:pt x="2442" y="39"/>
                    <a:pt x="2363" y="118"/>
                  </a:cubicBezTo>
                  <a:lnTo>
                    <a:pt x="1261" y="1221"/>
                  </a:lnTo>
                  <a:lnTo>
                    <a:pt x="2678" y="2639"/>
                  </a:lnTo>
                  <a:cubicBezTo>
                    <a:pt x="2836" y="2796"/>
                    <a:pt x="2836" y="3080"/>
                    <a:pt x="2678" y="3237"/>
                  </a:cubicBezTo>
                  <a:cubicBezTo>
                    <a:pt x="2637" y="3278"/>
                    <a:pt x="2560" y="3302"/>
                    <a:pt x="2473" y="3302"/>
                  </a:cubicBezTo>
                  <a:cubicBezTo>
                    <a:pt x="2360" y="3302"/>
                    <a:pt x="2232" y="3263"/>
                    <a:pt x="2143" y="3174"/>
                  </a:cubicBezTo>
                  <a:lnTo>
                    <a:pt x="725" y="1756"/>
                  </a:lnTo>
                  <a:lnTo>
                    <a:pt x="0" y="2481"/>
                  </a:lnTo>
                  <a:lnTo>
                    <a:pt x="3529" y="5978"/>
                  </a:lnTo>
                  <a:lnTo>
                    <a:pt x="5892" y="3615"/>
                  </a:lnTo>
                  <a:cubicBezTo>
                    <a:pt x="6049" y="3458"/>
                    <a:pt x="6049" y="3174"/>
                    <a:pt x="5892" y="3017"/>
                  </a:cubicBezTo>
                  <a:lnTo>
                    <a:pt x="2962" y="118"/>
                  </a:lnTo>
                  <a:cubicBezTo>
                    <a:pt x="2883" y="39"/>
                    <a:pt x="2773" y="0"/>
                    <a:pt x="2663" y="0"/>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273" name="Google Shape;6014;p67"/>
            <p:cNvSpPr/>
            <p:nvPr/>
          </p:nvSpPr>
          <p:spPr>
            <a:xfrm>
              <a:off x="-40678174" y="3305250"/>
              <a:ext cx="213475" cy="213475"/>
            </a:xfrm>
            <a:custGeom>
              <a:rect l="l" t="t" r="r" b="b"/>
              <a:pathLst>
                <a:path w="8539" h="8539" extrusionOk="0">
                  <a:moveTo>
                    <a:pt x="2679" y="0"/>
                  </a:moveTo>
                  <a:lnTo>
                    <a:pt x="1" y="2678"/>
                  </a:lnTo>
                  <a:lnTo>
                    <a:pt x="5861" y="8538"/>
                  </a:lnTo>
                  <a:lnTo>
                    <a:pt x="8539" y="5860"/>
                  </a:lnTo>
                  <a:lnTo>
                    <a:pt x="2679" y="0"/>
                  </a:ln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274" name="Google Shape;6015;p67"/>
            <p:cNvSpPr/>
            <p:nvPr/>
          </p:nvSpPr>
          <p:spPr>
            <a:xfrm>
              <a:off x="-40513549" y="3469850"/>
              <a:ext cx="87875" cy="85800"/>
            </a:xfrm>
            <a:custGeom>
              <a:rect l="l" t="t" r="r" b="b"/>
              <a:pathLst>
                <a:path w="3515" h="3432" extrusionOk="0">
                  <a:moveTo>
                    <a:pt x="2426" y="1"/>
                  </a:moveTo>
                  <a:lnTo>
                    <a:pt x="0" y="2427"/>
                  </a:lnTo>
                  <a:lnTo>
                    <a:pt x="2899" y="3404"/>
                  </a:lnTo>
                  <a:cubicBezTo>
                    <a:pt x="2948" y="3423"/>
                    <a:pt x="2996" y="3432"/>
                    <a:pt x="3044" y="3432"/>
                  </a:cubicBezTo>
                  <a:cubicBezTo>
                    <a:pt x="3302" y="3432"/>
                    <a:pt x="3514" y="3166"/>
                    <a:pt x="3434" y="2899"/>
                  </a:cubicBezTo>
                  <a:lnTo>
                    <a:pt x="2426" y="1"/>
                  </a:ln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275" name="Google Shape;6016;p67"/>
            <p:cNvSpPr/>
            <p:nvPr/>
          </p:nvSpPr>
          <p:spPr>
            <a:xfrm>
              <a:off x="-40738025" y="3404500"/>
              <a:ext cx="150450" cy="149475"/>
            </a:xfrm>
            <a:custGeom>
              <a:rect l="l" t="t" r="r" b="b"/>
              <a:pathLst>
                <a:path w="6018" h="5979" extrusionOk="0">
                  <a:moveTo>
                    <a:pt x="2521" y="0"/>
                  </a:moveTo>
                  <a:lnTo>
                    <a:pt x="1796" y="725"/>
                  </a:lnTo>
                  <a:lnTo>
                    <a:pt x="3308" y="2205"/>
                  </a:lnTo>
                  <a:cubicBezTo>
                    <a:pt x="3466" y="2363"/>
                    <a:pt x="3466" y="2646"/>
                    <a:pt x="3308" y="2804"/>
                  </a:cubicBezTo>
                  <a:cubicBezTo>
                    <a:pt x="3230" y="2883"/>
                    <a:pt x="3119" y="2922"/>
                    <a:pt x="3009" y="2922"/>
                  </a:cubicBezTo>
                  <a:cubicBezTo>
                    <a:pt x="2899" y="2922"/>
                    <a:pt x="2789" y="2883"/>
                    <a:pt x="2710" y="2804"/>
                  </a:cubicBezTo>
                  <a:lnTo>
                    <a:pt x="1229" y="1292"/>
                  </a:lnTo>
                  <a:lnTo>
                    <a:pt x="158" y="2363"/>
                  </a:lnTo>
                  <a:cubicBezTo>
                    <a:pt x="0" y="2520"/>
                    <a:pt x="0" y="2804"/>
                    <a:pt x="158" y="2962"/>
                  </a:cubicBezTo>
                  <a:lnTo>
                    <a:pt x="3056" y="5860"/>
                  </a:lnTo>
                  <a:cubicBezTo>
                    <a:pt x="3135" y="5939"/>
                    <a:pt x="3245" y="5978"/>
                    <a:pt x="3356" y="5978"/>
                  </a:cubicBezTo>
                  <a:cubicBezTo>
                    <a:pt x="3466" y="5978"/>
                    <a:pt x="3576" y="5939"/>
                    <a:pt x="3655" y="5860"/>
                  </a:cubicBezTo>
                  <a:lnTo>
                    <a:pt x="6018" y="3497"/>
                  </a:lnTo>
                  <a:lnTo>
                    <a:pt x="2521" y="0"/>
                  </a:ln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276" name="Google Shape;6017;p67"/>
            <p:cNvSpPr/>
            <p:nvPr/>
          </p:nvSpPr>
          <p:spPr>
            <a:xfrm>
              <a:off x="-40748276" y="3238700"/>
              <a:ext cx="92175" cy="87850"/>
            </a:xfrm>
            <a:custGeom>
              <a:rect l="l" t="t" r="r" b="b"/>
              <a:pathLst>
                <a:path w="3686" h="3513" extrusionOk="0">
                  <a:moveTo>
                    <a:pt x="2281" y="0"/>
                  </a:moveTo>
                  <a:cubicBezTo>
                    <a:pt x="1915" y="0"/>
                    <a:pt x="1545" y="142"/>
                    <a:pt x="1261" y="426"/>
                  </a:cubicBezTo>
                  <a:lnTo>
                    <a:pt x="568" y="1119"/>
                  </a:lnTo>
                  <a:cubicBezTo>
                    <a:pt x="1" y="1686"/>
                    <a:pt x="1" y="2568"/>
                    <a:pt x="568" y="3135"/>
                  </a:cubicBezTo>
                  <a:lnTo>
                    <a:pt x="946" y="3513"/>
                  </a:lnTo>
                  <a:lnTo>
                    <a:pt x="3687" y="804"/>
                  </a:lnTo>
                  <a:lnTo>
                    <a:pt x="3277" y="426"/>
                  </a:lnTo>
                  <a:cubicBezTo>
                    <a:pt x="3010" y="142"/>
                    <a:pt x="2647" y="0"/>
                    <a:pt x="2281" y="0"/>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grpSp>
      <p:sp>
        <p:nvSpPr>
          <p:cNvPr id="277" name="Google Shape;6042;p67"/>
          <p:cNvSpPr/>
          <p:nvPr/>
        </p:nvSpPr>
        <p:spPr>
          <a:xfrm>
            <a:off x="6935716" y="2523494"/>
            <a:ext cx="543830" cy="551240"/>
          </a:xfrm>
          <a:custGeom>
            <a:rect l="l" t="t" r="r" b="b"/>
            <a:pathLst>
              <a:path w="12477" h="12647" extrusionOk="0">
                <a:moveTo>
                  <a:pt x="3750" y="4538"/>
                </a:moveTo>
                <a:cubicBezTo>
                  <a:pt x="4223" y="4538"/>
                  <a:pt x="4601" y="4884"/>
                  <a:pt x="4601" y="5357"/>
                </a:cubicBezTo>
                <a:cubicBezTo>
                  <a:pt x="4601" y="5829"/>
                  <a:pt x="4223" y="6176"/>
                  <a:pt x="3750" y="6176"/>
                </a:cubicBezTo>
                <a:cubicBezTo>
                  <a:pt x="3277" y="6176"/>
                  <a:pt x="2931" y="5829"/>
                  <a:pt x="2931" y="5357"/>
                </a:cubicBezTo>
                <a:cubicBezTo>
                  <a:pt x="2931" y="4884"/>
                  <a:pt x="3277" y="4538"/>
                  <a:pt x="3750" y="4538"/>
                </a:cubicBezTo>
                <a:close/>
                <a:moveTo>
                  <a:pt x="6239" y="4538"/>
                </a:moveTo>
                <a:cubicBezTo>
                  <a:pt x="6711" y="4538"/>
                  <a:pt x="7058" y="4884"/>
                  <a:pt x="7058" y="5357"/>
                </a:cubicBezTo>
                <a:cubicBezTo>
                  <a:pt x="7058" y="5829"/>
                  <a:pt x="6711" y="6176"/>
                  <a:pt x="6239" y="6176"/>
                </a:cubicBezTo>
                <a:cubicBezTo>
                  <a:pt x="5766" y="6176"/>
                  <a:pt x="5420" y="5829"/>
                  <a:pt x="5420" y="5357"/>
                </a:cubicBezTo>
                <a:cubicBezTo>
                  <a:pt x="5420" y="4884"/>
                  <a:pt x="5766" y="4538"/>
                  <a:pt x="6239" y="4538"/>
                </a:cubicBezTo>
                <a:close/>
                <a:moveTo>
                  <a:pt x="8728" y="4538"/>
                </a:moveTo>
                <a:cubicBezTo>
                  <a:pt x="9200" y="4538"/>
                  <a:pt x="9547" y="4884"/>
                  <a:pt x="9547" y="5357"/>
                </a:cubicBezTo>
                <a:cubicBezTo>
                  <a:pt x="9547" y="5829"/>
                  <a:pt x="9200" y="6176"/>
                  <a:pt x="8728" y="6176"/>
                </a:cubicBezTo>
                <a:cubicBezTo>
                  <a:pt x="8255" y="6176"/>
                  <a:pt x="7877" y="5829"/>
                  <a:pt x="7877" y="5357"/>
                </a:cubicBezTo>
                <a:cubicBezTo>
                  <a:pt x="7877" y="4884"/>
                  <a:pt x="8255" y="4538"/>
                  <a:pt x="8728" y="4538"/>
                </a:cubicBezTo>
                <a:close/>
                <a:moveTo>
                  <a:pt x="6239" y="1"/>
                </a:moveTo>
                <a:cubicBezTo>
                  <a:pt x="2805" y="1"/>
                  <a:pt x="1" y="2395"/>
                  <a:pt x="1" y="5357"/>
                </a:cubicBezTo>
                <a:cubicBezTo>
                  <a:pt x="1" y="7436"/>
                  <a:pt x="1387" y="9200"/>
                  <a:pt x="3309" y="10082"/>
                </a:cubicBezTo>
                <a:lnTo>
                  <a:pt x="3309" y="12256"/>
                </a:lnTo>
                <a:cubicBezTo>
                  <a:pt x="3309" y="12486"/>
                  <a:pt x="3502" y="12646"/>
                  <a:pt x="3715" y="12646"/>
                </a:cubicBezTo>
                <a:cubicBezTo>
                  <a:pt x="3824" y="12646"/>
                  <a:pt x="3938" y="12604"/>
                  <a:pt x="4034" y="12508"/>
                </a:cubicBezTo>
                <a:lnTo>
                  <a:pt x="5609" y="10681"/>
                </a:lnTo>
                <a:cubicBezTo>
                  <a:pt x="5798" y="10681"/>
                  <a:pt x="5987" y="10713"/>
                  <a:pt x="6239" y="10713"/>
                </a:cubicBezTo>
                <a:cubicBezTo>
                  <a:pt x="9641" y="10713"/>
                  <a:pt x="12477" y="8350"/>
                  <a:pt x="12477" y="5357"/>
                </a:cubicBezTo>
                <a:cubicBezTo>
                  <a:pt x="12477" y="2395"/>
                  <a:pt x="9704" y="1"/>
                  <a:pt x="6239" y="1"/>
                </a:cubicBezTo>
                <a:close/>
              </a:path>
            </a:pathLst>
          </a:custGeom>
          <a:solidFill>
            <a:srgbClr val="00677F"/>
          </a:solidFill>
          <a:ln>
            <a:noFill/>
          </a:ln>
        </p:spPr>
        <p:txBody>
          <a:bodyPr spcFirstLastPara="1" wrap="square" lIns="91417" tIns="91417" rIns="91417" bIns="91417" anchor="ctr" anchorCtr="0">
            <a:noAutofit/>
          </a:bodyPr>
          <a:lstStyle/>
          <a:p>
            <a:endParaRPr sz="1400">
              <a:solidFill>
                <a:srgbClr val="AE4500"/>
              </a:solidFill>
            </a:endParaRPr>
          </a:p>
        </p:txBody>
      </p:sp>
      <p:grpSp>
        <p:nvGrpSpPr>
          <p:cNvPr id="278" name="Google Shape;6047;p67"/>
          <p:cNvGrpSpPr/>
          <p:nvPr/>
        </p:nvGrpSpPr>
        <p:grpSpPr>
          <a:xfrm>
            <a:off x="10973466" y="2490397"/>
            <a:ext cx="553419" cy="503992"/>
            <a:chOff x="-40378075" y="3267450"/>
            <a:chExt cx="317425" cy="289075"/>
          </a:xfrm>
          <a:solidFill>
            <a:srgbClr val="00677F"/>
          </a:solidFill>
        </p:grpSpPr>
        <p:sp>
          <p:nvSpPr>
            <p:cNvPr id="279" name="Google Shape;6048;p67"/>
            <p:cNvSpPr/>
            <p:nvPr/>
          </p:nvSpPr>
          <p:spPr>
            <a:xfrm>
              <a:off x="-40218975" y="3308400"/>
              <a:ext cx="158325" cy="248125"/>
            </a:xfrm>
            <a:custGeom>
              <a:rect l="l" t="t" r="r" b="b"/>
              <a:pathLst>
                <a:path w="6333" h="9925" extrusionOk="0">
                  <a:moveTo>
                    <a:pt x="4694" y="1"/>
                  </a:moveTo>
                  <a:lnTo>
                    <a:pt x="4694" y="7877"/>
                  </a:lnTo>
                  <a:cubicBezTo>
                    <a:pt x="4694" y="8097"/>
                    <a:pt x="4474" y="8255"/>
                    <a:pt x="4253" y="8255"/>
                  </a:cubicBezTo>
                  <a:cubicBezTo>
                    <a:pt x="2993" y="8255"/>
                    <a:pt x="1638" y="8696"/>
                    <a:pt x="693" y="9452"/>
                  </a:cubicBezTo>
                  <a:cubicBezTo>
                    <a:pt x="536" y="9546"/>
                    <a:pt x="189" y="9925"/>
                    <a:pt x="0" y="9925"/>
                  </a:cubicBezTo>
                  <a:lnTo>
                    <a:pt x="5073" y="9925"/>
                  </a:lnTo>
                  <a:cubicBezTo>
                    <a:pt x="5734" y="9925"/>
                    <a:pt x="6333" y="9357"/>
                    <a:pt x="6333" y="8696"/>
                  </a:cubicBezTo>
                  <a:lnTo>
                    <a:pt x="6333" y="1229"/>
                  </a:lnTo>
                  <a:cubicBezTo>
                    <a:pt x="6333" y="536"/>
                    <a:pt x="5766" y="1"/>
                    <a:pt x="5073" y="1"/>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280" name="Google Shape;6049;p67"/>
            <p:cNvSpPr/>
            <p:nvPr/>
          </p:nvSpPr>
          <p:spPr>
            <a:xfrm>
              <a:off x="-40316649" y="3267450"/>
              <a:ext cx="86675" cy="257575"/>
            </a:xfrm>
            <a:custGeom>
              <a:rect l="l" t="t" r="r" b="b"/>
              <a:pathLst>
                <a:path w="3467" h="10303" extrusionOk="0">
                  <a:moveTo>
                    <a:pt x="1" y="0"/>
                  </a:moveTo>
                  <a:lnTo>
                    <a:pt x="1" y="9105"/>
                  </a:lnTo>
                  <a:cubicBezTo>
                    <a:pt x="1166" y="9200"/>
                    <a:pt x="2489" y="9578"/>
                    <a:pt x="3466" y="10302"/>
                  </a:cubicBezTo>
                  <a:lnTo>
                    <a:pt x="3466" y="1197"/>
                  </a:lnTo>
                  <a:cubicBezTo>
                    <a:pt x="2489" y="473"/>
                    <a:pt x="1229" y="95"/>
                    <a:pt x="1" y="0"/>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281" name="Google Shape;6050;p67"/>
            <p:cNvSpPr/>
            <p:nvPr/>
          </p:nvSpPr>
          <p:spPr>
            <a:xfrm>
              <a:off x="-40209524" y="3267450"/>
              <a:ext cx="86650" cy="257575"/>
            </a:xfrm>
            <a:custGeom>
              <a:rect l="l" t="t" r="r" b="b"/>
              <a:pathLst>
                <a:path w="3466" h="10303" extrusionOk="0">
                  <a:moveTo>
                    <a:pt x="3466" y="0"/>
                  </a:moveTo>
                  <a:cubicBezTo>
                    <a:pt x="2300" y="95"/>
                    <a:pt x="977" y="473"/>
                    <a:pt x="0" y="1197"/>
                  </a:cubicBezTo>
                  <a:lnTo>
                    <a:pt x="0" y="10302"/>
                  </a:lnTo>
                  <a:cubicBezTo>
                    <a:pt x="977" y="9578"/>
                    <a:pt x="2237" y="9200"/>
                    <a:pt x="3466" y="9105"/>
                  </a:cubicBezTo>
                  <a:lnTo>
                    <a:pt x="3466" y="0"/>
                  </a:ln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282" name="Google Shape;6051;p67"/>
            <p:cNvSpPr/>
            <p:nvPr/>
          </p:nvSpPr>
          <p:spPr>
            <a:xfrm>
              <a:off x="-40378075" y="3308400"/>
              <a:ext cx="157550" cy="248125"/>
            </a:xfrm>
            <a:custGeom>
              <a:rect l="l" t="t" r="r" b="b"/>
              <a:pathLst>
                <a:path w="6302" h="9925" extrusionOk="0">
                  <a:moveTo>
                    <a:pt x="1229" y="1"/>
                  </a:moveTo>
                  <a:cubicBezTo>
                    <a:pt x="567" y="1"/>
                    <a:pt x="0" y="536"/>
                    <a:pt x="0" y="1198"/>
                  </a:cubicBezTo>
                  <a:lnTo>
                    <a:pt x="0" y="8664"/>
                  </a:lnTo>
                  <a:cubicBezTo>
                    <a:pt x="32" y="9357"/>
                    <a:pt x="567" y="9925"/>
                    <a:pt x="1229" y="9925"/>
                  </a:cubicBezTo>
                  <a:lnTo>
                    <a:pt x="6301" y="9925"/>
                  </a:lnTo>
                  <a:cubicBezTo>
                    <a:pt x="6112" y="9925"/>
                    <a:pt x="5766" y="9609"/>
                    <a:pt x="5608" y="9452"/>
                  </a:cubicBezTo>
                  <a:cubicBezTo>
                    <a:pt x="4631" y="8664"/>
                    <a:pt x="3277" y="8255"/>
                    <a:pt x="2048" y="8255"/>
                  </a:cubicBezTo>
                  <a:cubicBezTo>
                    <a:pt x="1828" y="8255"/>
                    <a:pt x="1638" y="8066"/>
                    <a:pt x="1638" y="7877"/>
                  </a:cubicBezTo>
                  <a:lnTo>
                    <a:pt x="1638" y="1"/>
                  </a:ln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grpSp>
      <p:grpSp>
        <p:nvGrpSpPr>
          <p:cNvPr id="283" name="Google Shape;6072;p67"/>
          <p:cNvGrpSpPr/>
          <p:nvPr/>
        </p:nvGrpSpPr>
        <p:grpSpPr>
          <a:xfrm>
            <a:off x="7701853" y="2496547"/>
            <a:ext cx="553464" cy="553115"/>
            <a:chOff x="-41895049" y="3217225"/>
            <a:chExt cx="317450" cy="317250"/>
          </a:xfrm>
          <a:solidFill>
            <a:srgbClr val="00677F"/>
          </a:solidFill>
        </p:grpSpPr>
        <p:sp>
          <p:nvSpPr>
            <p:cNvPr id="284" name="Google Shape;6073;p67"/>
            <p:cNvSpPr/>
            <p:nvPr/>
          </p:nvSpPr>
          <p:spPr>
            <a:xfrm>
              <a:off x="-41895049" y="3273750"/>
              <a:ext cx="41775" cy="245750"/>
            </a:xfrm>
            <a:custGeom>
              <a:rect l="l" t="t" r="r" b="b"/>
              <a:pathLst>
                <a:path w="1670" h="9830" extrusionOk="0">
                  <a:moveTo>
                    <a:pt x="1" y="0"/>
                  </a:moveTo>
                  <a:lnTo>
                    <a:pt x="1" y="9830"/>
                  </a:lnTo>
                  <a:lnTo>
                    <a:pt x="1670" y="8192"/>
                  </a:lnTo>
                  <a:lnTo>
                    <a:pt x="1670" y="1639"/>
                  </a:lnTo>
                  <a:lnTo>
                    <a:pt x="1" y="0"/>
                  </a:ln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285" name="Google Shape;6074;p67"/>
            <p:cNvSpPr/>
            <p:nvPr/>
          </p:nvSpPr>
          <p:spPr>
            <a:xfrm>
              <a:off x="-41619376" y="3273750"/>
              <a:ext cx="41775" cy="245750"/>
            </a:xfrm>
            <a:custGeom>
              <a:rect l="l" t="t" r="r" b="b"/>
              <a:pathLst>
                <a:path w="1670" h="9830" extrusionOk="0">
                  <a:moveTo>
                    <a:pt x="1670" y="0"/>
                  </a:moveTo>
                  <a:lnTo>
                    <a:pt x="0" y="1639"/>
                  </a:lnTo>
                  <a:lnTo>
                    <a:pt x="0" y="8192"/>
                  </a:lnTo>
                  <a:lnTo>
                    <a:pt x="1670" y="9830"/>
                  </a:lnTo>
                  <a:lnTo>
                    <a:pt x="1670" y="0"/>
                  </a:ln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286" name="Google Shape;6075;p67"/>
            <p:cNvSpPr/>
            <p:nvPr/>
          </p:nvSpPr>
          <p:spPr>
            <a:xfrm>
              <a:off x="-41832826" y="3321000"/>
              <a:ext cx="193000" cy="151250"/>
            </a:xfrm>
            <a:custGeom>
              <a:rect l="l" t="t" r="r" b="b"/>
              <a:pathLst>
                <a:path w="7718" h="6050" extrusionOk="0">
                  <a:moveTo>
                    <a:pt x="1" y="1"/>
                  </a:moveTo>
                  <a:lnTo>
                    <a:pt x="1" y="6050"/>
                  </a:lnTo>
                  <a:lnTo>
                    <a:pt x="3592" y="6050"/>
                  </a:lnTo>
                  <a:lnTo>
                    <a:pt x="3592" y="4821"/>
                  </a:lnTo>
                  <a:cubicBezTo>
                    <a:pt x="3592" y="4600"/>
                    <a:pt x="3781" y="4411"/>
                    <a:pt x="4002" y="4411"/>
                  </a:cubicBezTo>
                  <a:lnTo>
                    <a:pt x="6491" y="4411"/>
                  </a:lnTo>
                  <a:cubicBezTo>
                    <a:pt x="6743" y="4411"/>
                    <a:pt x="6932" y="4600"/>
                    <a:pt x="6932" y="4821"/>
                  </a:cubicBezTo>
                  <a:lnTo>
                    <a:pt x="6932" y="6050"/>
                  </a:lnTo>
                  <a:lnTo>
                    <a:pt x="7719" y="6050"/>
                  </a:lnTo>
                  <a:lnTo>
                    <a:pt x="7719" y="1"/>
                  </a:ln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287" name="Google Shape;6076;p67"/>
            <p:cNvSpPr/>
            <p:nvPr/>
          </p:nvSpPr>
          <p:spPr>
            <a:xfrm>
              <a:off x="-41880076" y="3493500"/>
              <a:ext cx="287500" cy="40975"/>
            </a:xfrm>
            <a:custGeom>
              <a:rect l="l" t="t" r="r" b="b"/>
              <a:pathLst>
                <a:path w="11500" h="1639" extrusionOk="0">
                  <a:moveTo>
                    <a:pt x="1639" y="0"/>
                  </a:moveTo>
                  <a:lnTo>
                    <a:pt x="0" y="1638"/>
                  </a:lnTo>
                  <a:lnTo>
                    <a:pt x="11500" y="1638"/>
                  </a:lnTo>
                  <a:lnTo>
                    <a:pt x="9830" y="0"/>
                  </a:ln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288" name="Google Shape;6077;p67"/>
            <p:cNvSpPr/>
            <p:nvPr/>
          </p:nvSpPr>
          <p:spPr>
            <a:xfrm>
              <a:off x="-41880876" y="3217225"/>
              <a:ext cx="288300" cy="83325"/>
            </a:xfrm>
            <a:custGeom>
              <a:rect l="l" t="t" r="r" b="b"/>
              <a:pathLst>
                <a:path w="11532" h="3332" extrusionOk="0">
                  <a:moveTo>
                    <a:pt x="5798" y="1033"/>
                  </a:moveTo>
                  <a:lnTo>
                    <a:pt x="6459" y="1694"/>
                  </a:lnTo>
                  <a:lnTo>
                    <a:pt x="5136" y="1694"/>
                  </a:lnTo>
                  <a:lnTo>
                    <a:pt x="5798" y="1033"/>
                  </a:lnTo>
                  <a:close/>
                  <a:moveTo>
                    <a:pt x="5750" y="1"/>
                  </a:moveTo>
                  <a:cubicBezTo>
                    <a:pt x="5640" y="1"/>
                    <a:pt x="5530" y="40"/>
                    <a:pt x="5451" y="119"/>
                  </a:cubicBezTo>
                  <a:lnTo>
                    <a:pt x="3939" y="1663"/>
                  </a:lnTo>
                  <a:lnTo>
                    <a:pt x="1" y="1663"/>
                  </a:lnTo>
                  <a:lnTo>
                    <a:pt x="1639" y="3332"/>
                  </a:lnTo>
                  <a:lnTo>
                    <a:pt x="9862" y="3332"/>
                  </a:lnTo>
                  <a:lnTo>
                    <a:pt x="11532" y="1663"/>
                  </a:lnTo>
                  <a:lnTo>
                    <a:pt x="7593" y="1663"/>
                  </a:lnTo>
                  <a:lnTo>
                    <a:pt x="6050" y="119"/>
                  </a:lnTo>
                  <a:cubicBezTo>
                    <a:pt x="5971" y="40"/>
                    <a:pt x="5861" y="1"/>
                    <a:pt x="5750" y="1"/>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grpSp>
      <p:grpSp>
        <p:nvGrpSpPr>
          <p:cNvPr id="289" name="Google Shape;6107;p67"/>
          <p:cNvGrpSpPr/>
          <p:nvPr/>
        </p:nvGrpSpPr>
        <p:grpSpPr>
          <a:xfrm>
            <a:off x="8529137" y="2475236"/>
            <a:ext cx="557559" cy="550717"/>
            <a:chOff x="-41530374" y="3218800"/>
            <a:chExt cx="319800" cy="315875"/>
          </a:xfrm>
          <a:solidFill>
            <a:srgbClr val="00677F"/>
          </a:solidFill>
        </p:grpSpPr>
        <p:sp>
          <p:nvSpPr>
            <p:cNvPr id="290" name="Google Shape;6108;p67"/>
            <p:cNvSpPr/>
            <p:nvPr/>
          </p:nvSpPr>
          <p:spPr>
            <a:xfrm>
              <a:off x="-41530374" y="3337550"/>
              <a:ext cx="199300" cy="197125"/>
            </a:xfrm>
            <a:custGeom>
              <a:rect l="l" t="t" r="r" b="b"/>
              <a:pathLst>
                <a:path w="7971" h="7885" extrusionOk="0">
                  <a:moveTo>
                    <a:pt x="3245" y="0"/>
                  </a:moveTo>
                  <a:lnTo>
                    <a:pt x="473" y="2804"/>
                  </a:lnTo>
                  <a:cubicBezTo>
                    <a:pt x="0" y="3277"/>
                    <a:pt x="0" y="4064"/>
                    <a:pt x="473" y="4568"/>
                  </a:cubicBezTo>
                  <a:lnTo>
                    <a:pt x="3403" y="7530"/>
                  </a:lnTo>
                  <a:cubicBezTo>
                    <a:pt x="3639" y="7766"/>
                    <a:pt x="3954" y="7884"/>
                    <a:pt x="4277" y="7884"/>
                  </a:cubicBezTo>
                  <a:cubicBezTo>
                    <a:pt x="4600" y="7884"/>
                    <a:pt x="4931" y="7766"/>
                    <a:pt x="5199" y="7530"/>
                  </a:cubicBezTo>
                  <a:lnTo>
                    <a:pt x="7971" y="4726"/>
                  </a:lnTo>
                  <a:lnTo>
                    <a:pt x="3245" y="0"/>
                  </a:ln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291" name="Google Shape;6109;p67"/>
            <p:cNvSpPr/>
            <p:nvPr/>
          </p:nvSpPr>
          <p:spPr>
            <a:xfrm>
              <a:off x="-41435074" y="3218800"/>
              <a:ext cx="224500" cy="221950"/>
            </a:xfrm>
            <a:custGeom>
              <a:rect l="l" t="t" r="r" b="b"/>
              <a:pathLst>
                <a:path w="8980" h="8878" extrusionOk="0">
                  <a:moveTo>
                    <a:pt x="4395" y="1"/>
                  </a:moveTo>
                  <a:cubicBezTo>
                    <a:pt x="4285" y="1"/>
                    <a:pt x="4175" y="40"/>
                    <a:pt x="4096" y="119"/>
                  </a:cubicBezTo>
                  <a:lnTo>
                    <a:pt x="1" y="4152"/>
                  </a:lnTo>
                  <a:lnTo>
                    <a:pt x="4726" y="8877"/>
                  </a:lnTo>
                  <a:lnTo>
                    <a:pt x="8822" y="4845"/>
                  </a:lnTo>
                  <a:cubicBezTo>
                    <a:pt x="8979" y="4687"/>
                    <a:pt x="8979" y="4404"/>
                    <a:pt x="8822" y="4246"/>
                  </a:cubicBezTo>
                  <a:lnTo>
                    <a:pt x="4695" y="119"/>
                  </a:lnTo>
                  <a:cubicBezTo>
                    <a:pt x="4616" y="40"/>
                    <a:pt x="4506" y="1"/>
                    <a:pt x="4395" y="1"/>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grpSp>
      <p:grpSp>
        <p:nvGrpSpPr>
          <p:cNvPr id="327" name="Google Shape;5593;p66"/>
          <p:cNvGrpSpPr/>
          <p:nvPr/>
        </p:nvGrpSpPr>
        <p:grpSpPr>
          <a:xfrm>
            <a:off x="5180808" y="3466333"/>
            <a:ext cx="669035" cy="669035"/>
            <a:chOff x="5049725" y="249400"/>
            <a:chExt cx="481825" cy="481825"/>
          </a:xfrm>
          <a:solidFill>
            <a:srgbClr val="00677F"/>
          </a:solidFill>
        </p:grpSpPr>
        <p:sp>
          <p:nvSpPr>
            <p:cNvPr id="328" name="Google Shape;5594;p66"/>
            <p:cNvSpPr/>
            <p:nvPr/>
          </p:nvSpPr>
          <p:spPr>
            <a:xfrm>
              <a:off x="5191775" y="560925"/>
              <a:ext cx="197625" cy="170300"/>
            </a:xfrm>
            <a:custGeom>
              <a:rect l="l" t="t" r="r" b="b"/>
              <a:pathLst>
                <a:path w="7903" h="6812" extrusionOk="0">
                  <a:moveTo>
                    <a:pt x="6213" y="1129"/>
                  </a:moveTo>
                  <a:cubicBezTo>
                    <a:pt x="6523" y="1129"/>
                    <a:pt x="6776" y="1379"/>
                    <a:pt x="6776" y="1693"/>
                  </a:cubicBezTo>
                  <a:cubicBezTo>
                    <a:pt x="6776" y="2006"/>
                    <a:pt x="6523" y="2259"/>
                    <a:pt x="6213" y="2259"/>
                  </a:cubicBezTo>
                  <a:lnTo>
                    <a:pt x="1696" y="2259"/>
                  </a:lnTo>
                  <a:cubicBezTo>
                    <a:pt x="1383" y="2259"/>
                    <a:pt x="1130" y="2006"/>
                    <a:pt x="1130" y="1693"/>
                  </a:cubicBezTo>
                  <a:cubicBezTo>
                    <a:pt x="1130" y="1379"/>
                    <a:pt x="1383" y="1129"/>
                    <a:pt x="1696" y="1129"/>
                  </a:cubicBezTo>
                  <a:close/>
                  <a:moveTo>
                    <a:pt x="6213" y="3388"/>
                  </a:moveTo>
                  <a:cubicBezTo>
                    <a:pt x="6523" y="3388"/>
                    <a:pt x="6776" y="3638"/>
                    <a:pt x="6776" y="3951"/>
                  </a:cubicBezTo>
                  <a:cubicBezTo>
                    <a:pt x="6776" y="4264"/>
                    <a:pt x="6523" y="4517"/>
                    <a:pt x="6213" y="4517"/>
                  </a:cubicBezTo>
                  <a:lnTo>
                    <a:pt x="1696" y="4517"/>
                  </a:lnTo>
                  <a:cubicBezTo>
                    <a:pt x="1383" y="4517"/>
                    <a:pt x="1130" y="4264"/>
                    <a:pt x="1130" y="3951"/>
                  </a:cubicBezTo>
                  <a:cubicBezTo>
                    <a:pt x="1130" y="3638"/>
                    <a:pt x="1383" y="3388"/>
                    <a:pt x="1696" y="3388"/>
                  </a:cubicBezTo>
                  <a:close/>
                  <a:moveTo>
                    <a:pt x="0" y="0"/>
                  </a:moveTo>
                  <a:lnTo>
                    <a:pt x="0" y="6249"/>
                  </a:lnTo>
                  <a:cubicBezTo>
                    <a:pt x="0" y="6559"/>
                    <a:pt x="253" y="6812"/>
                    <a:pt x="567" y="6812"/>
                  </a:cubicBezTo>
                  <a:lnTo>
                    <a:pt x="7342" y="6812"/>
                  </a:lnTo>
                  <a:cubicBezTo>
                    <a:pt x="7652" y="6812"/>
                    <a:pt x="7905" y="6559"/>
                    <a:pt x="7905" y="6249"/>
                  </a:cubicBezTo>
                  <a:lnTo>
                    <a:pt x="7905" y="0"/>
                  </a:ln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329" name="Google Shape;5595;p66"/>
            <p:cNvSpPr/>
            <p:nvPr/>
          </p:nvSpPr>
          <p:spPr>
            <a:xfrm>
              <a:off x="5049725" y="249400"/>
              <a:ext cx="481825" cy="396225"/>
            </a:xfrm>
            <a:custGeom>
              <a:rect l="l" t="t" r="r" b="b"/>
              <a:pathLst>
                <a:path w="19273" h="15849" extrusionOk="0">
                  <a:moveTo>
                    <a:pt x="4553" y="4518"/>
                  </a:moveTo>
                  <a:lnTo>
                    <a:pt x="4553" y="5686"/>
                  </a:lnTo>
                  <a:lnTo>
                    <a:pt x="3424" y="5686"/>
                  </a:lnTo>
                  <a:lnTo>
                    <a:pt x="3424" y="4948"/>
                  </a:lnTo>
                  <a:cubicBezTo>
                    <a:pt x="3424" y="4710"/>
                    <a:pt x="3617" y="4518"/>
                    <a:pt x="3852" y="4518"/>
                  </a:cubicBezTo>
                  <a:close/>
                  <a:moveTo>
                    <a:pt x="15418" y="4518"/>
                  </a:moveTo>
                  <a:cubicBezTo>
                    <a:pt x="15653" y="4518"/>
                    <a:pt x="15845" y="4710"/>
                    <a:pt x="15845" y="4948"/>
                  </a:cubicBezTo>
                  <a:lnTo>
                    <a:pt x="15845" y="5686"/>
                  </a:lnTo>
                  <a:lnTo>
                    <a:pt x="14716" y="5686"/>
                  </a:lnTo>
                  <a:lnTo>
                    <a:pt x="14716" y="4518"/>
                  </a:lnTo>
                  <a:close/>
                  <a:moveTo>
                    <a:pt x="10199" y="1130"/>
                  </a:moveTo>
                  <a:lnTo>
                    <a:pt x="10199" y="3954"/>
                  </a:lnTo>
                  <a:cubicBezTo>
                    <a:pt x="10199" y="4265"/>
                    <a:pt x="10452" y="4518"/>
                    <a:pt x="10765" y="4518"/>
                  </a:cubicBezTo>
                  <a:lnTo>
                    <a:pt x="13587" y="4518"/>
                  </a:lnTo>
                  <a:lnTo>
                    <a:pt x="13587" y="6815"/>
                  </a:lnTo>
                  <a:lnTo>
                    <a:pt x="5682" y="6815"/>
                  </a:lnTo>
                  <a:lnTo>
                    <a:pt x="5682" y="1130"/>
                  </a:lnTo>
                  <a:close/>
                  <a:moveTo>
                    <a:pt x="16412" y="9074"/>
                  </a:moveTo>
                  <a:cubicBezTo>
                    <a:pt x="16722" y="9074"/>
                    <a:pt x="16975" y="9324"/>
                    <a:pt x="16975" y="9637"/>
                  </a:cubicBezTo>
                  <a:cubicBezTo>
                    <a:pt x="16975" y="9950"/>
                    <a:pt x="16722" y="10203"/>
                    <a:pt x="16412" y="10203"/>
                  </a:cubicBezTo>
                  <a:lnTo>
                    <a:pt x="15282" y="10203"/>
                  </a:lnTo>
                  <a:cubicBezTo>
                    <a:pt x="14969" y="10203"/>
                    <a:pt x="14716" y="9950"/>
                    <a:pt x="14716" y="9637"/>
                  </a:cubicBezTo>
                  <a:cubicBezTo>
                    <a:pt x="14716" y="9324"/>
                    <a:pt x="14969" y="9074"/>
                    <a:pt x="15282" y="9074"/>
                  </a:cubicBezTo>
                  <a:close/>
                  <a:moveTo>
                    <a:pt x="10782" y="1"/>
                  </a:moveTo>
                  <a:cubicBezTo>
                    <a:pt x="10776" y="1"/>
                    <a:pt x="10771" y="1"/>
                    <a:pt x="10765" y="1"/>
                  </a:cubicBezTo>
                  <a:lnTo>
                    <a:pt x="5119" y="1"/>
                  </a:lnTo>
                  <a:cubicBezTo>
                    <a:pt x="4806" y="1"/>
                    <a:pt x="4553" y="254"/>
                    <a:pt x="4553" y="567"/>
                  </a:cubicBezTo>
                  <a:lnTo>
                    <a:pt x="4553" y="3388"/>
                  </a:lnTo>
                  <a:lnTo>
                    <a:pt x="3852" y="3388"/>
                  </a:lnTo>
                  <a:cubicBezTo>
                    <a:pt x="2993" y="3388"/>
                    <a:pt x="2295" y="4087"/>
                    <a:pt x="2295" y="4948"/>
                  </a:cubicBezTo>
                  <a:lnTo>
                    <a:pt x="2295" y="5686"/>
                  </a:lnTo>
                  <a:lnTo>
                    <a:pt x="1693" y="5686"/>
                  </a:lnTo>
                  <a:cubicBezTo>
                    <a:pt x="756" y="5686"/>
                    <a:pt x="0" y="6442"/>
                    <a:pt x="0" y="7378"/>
                  </a:cubicBezTo>
                  <a:lnTo>
                    <a:pt x="0" y="14154"/>
                  </a:lnTo>
                  <a:cubicBezTo>
                    <a:pt x="0" y="15090"/>
                    <a:pt x="756" y="15846"/>
                    <a:pt x="1693" y="15849"/>
                  </a:cubicBezTo>
                  <a:lnTo>
                    <a:pt x="4553" y="15849"/>
                  </a:lnTo>
                  <a:lnTo>
                    <a:pt x="4553" y="12461"/>
                  </a:lnTo>
                  <a:lnTo>
                    <a:pt x="3990" y="12461"/>
                  </a:lnTo>
                  <a:cubicBezTo>
                    <a:pt x="3677" y="12461"/>
                    <a:pt x="3424" y="12208"/>
                    <a:pt x="3424" y="11895"/>
                  </a:cubicBezTo>
                  <a:cubicBezTo>
                    <a:pt x="3424" y="11582"/>
                    <a:pt x="3677" y="11332"/>
                    <a:pt x="3990" y="11332"/>
                  </a:cubicBezTo>
                  <a:lnTo>
                    <a:pt x="15282" y="11332"/>
                  </a:lnTo>
                  <a:cubicBezTo>
                    <a:pt x="15593" y="11332"/>
                    <a:pt x="15845" y="11582"/>
                    <a:pt x="15845" y="11895"/>
                  </a:cubicBezTo>
                  <a:cubicBezTo>
                    <a:pt x="15845" y="12208"/>
                    <a:pt x="15593" y="12461"/>
                    <a:pt x="15282" y="12461"/>
                  </a:cubicBezTo>
                  <a:lnTo>
                    <a:pt x="14716" y="12461"/>
                  </a:lnTo>
                  <a:lnTo>
                    <a:pt x="14716" y="15849"/>
                  </a:lnTo>
                  <a:lnTo>
                    <a:pt x="17541" y="15849"/>
                  </a:lnTo>
                  <a:cubicBezTo>
                    <a:pt x="18474" y="15849"/>
                    <a:pt x="19272" y="15087"/>
                    <a:pt x="19272" y="14154"/>
                  </a:cubicBezTo>
                  <a:lnTo>
                    <a:pt x="19272" y="7378"/>
                  </a:lnTo>
                  <a:cubicBezTo>
                    <a:pt x="19272" y="6445"/>
                    <a:pt x="18474" y="5686"/>
                    <a:pt x="17541" y="5686"/>
                  </a:cubicBezTo>
                  <a:lnTo>
                    <a:pt x="16975" y="5686"/>
                  </a:lnTo>
                  <a:lnTo>
                    <a:pt x="16975" y="4948"/>
                  </a:lnTo>
                  <a:cubicBezTo>
                    <a:pt x="16975" y="4087"/>
                    <a:pt x="16276" y="3388"/>
                    <a:pt x="15418" y="3388"/>
                  </a:cubicBezTo>
                  <a:lnTo>
                    <a:pt x="14385" y="3388"/>
                  </a:lnTo>
                  <a:cubicBezTo>
                    <a:pt x="11026" y="30"/>
                    <a:pt x="11079" y="1"/>
                    <a:pt x="10782" y="1"/>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grpSp>
      <p:grpSp>
        <p:nvGrpSpPr>
          <p:cNvPr id="330" name="Google Shape;5596;p66"/>
          <p:cNvGrpSpPr/>
          <p:nvPr/>
        </p:nvGrpSpPr>
        <p:grpSpPr>
          <a:xfrm>
            <a:off x="6907609" y="3560856"/>
            <a:ext cx="526654" cy="526654"/>
            <a:chOff x="5660400" y="238125"/>
            <a:chExt cx="481825" cy="481825"/>
          </a:xfrm>
          <a:solidFill>
            <a:srgbClr val="00677F"/>
          </a:solidFill>
        </p:grpSpPr>
        <p:sp>
          <p:nvSpPr>
            <p:cNvPr id="331" name="Google Shape;5597;p66"/>
            <p:cNvSpPr/>
            <p:nvPr/>
          </p:nvSpPr>
          <p:spPr>
            <a:xfrm>
              <a:off x="5660400" y="436700"/>
              <a:ext cx="481825" cy="283250"/>
            </a:xfrm>
            <a:custGeom>
              <a:rect l="l" t="t" r="r" b="b"/>
              <a:pathLst>
                <a:path w="19273" h="11330" extrusionOk="0">
                  <a:moveTo>
                    <a:pt x="5120" y="1130"/>
                  </a:moveTo>
                  <a:cubicBezTo>
                    <a:pt x="5433" y="1130"/>
                    <a:pt x="5683" y="1380"/>
                    <a:pt x="5683" y="1693"/>
                  </a:cubicBezTo>
                  <a:cubicBezTo>
                    <a:pt x="5683" y="2006"/>
                    <a:pt x="5433" y="2259"/>
                    <a:pt x="5120" y="2259"/>
                  </a:cubicBezTo>
                  <a:lnTo>
                    <a:pt x="2861" y="2259"/>
                  </a:lnTo>
                  <a:cubicBezTo>
                    <a:pt x="2548" y="2259"/>
                    <a:pt x="2298" y="2006"/>
                    <a:pt x="2298" y="1693"/>
                  </a:cubicBezTo>
                  <a:cubicBezTo>
                    <a:pt x="2298" y="1380"/>
                    <a:pt x="2548" y="1130"/>
                    <a:pt x="2861" y="1130"/>
                  </a:cubicBezTo>
                  <a:close/>
                  <a:moveTo>
                    <a:pt x="10766" y="1130"/>
                  </a:moveTo>
                  <a:cubicBezTo>
                    <a:pt x="11079" y="1130"/>
                    <a:pt x="11329" y="1380"/>
                    <a:pt x="11329" y="1693"/>
                  </a:cubicBezTo>
                  <a:cubicBezTo>
                    <a:pt x="11329" y="2006"/>
                    <a:pt x="11079" y="2259"/>
                    <a:pt x="10766" y="2259"/>
                  </a:cubicBezTo>
                  <a:lnTo>
                    <a:pt x="8507" y="2259"/>
                  </a:lnTo>
                  <a:cubicBezTo>
                    <a:pt x="8194" y="2259"/>
                    <a:pt x="7944" y="2006"/>
                    <a:pt x="7944" y="1693"/>
                  </a:cubicBezTo>
                  <a:cubicBezTo>
                    <a:pt x="7944" y="1380"/>
                    <a:pt x="8194" y="1130"/>
                    <a:pt x="8507" y="1130"/>
                  </a:cubicBezTo>
                  <a:close/>
                  <a:moveTo>
                    <a:pt x="16412" y="1130"/>
                  </a:moveTo>
                  <a:cubicBezTo>
                    <a:pt x="16725" y="1130"/>
                    <a:pt x="16975" y="1380"/>
                    <a:pt x="16975" y="1693"/>
                  </a:cubicBezTo>
                  <a:cubicBezTo>
                    <a:pt x="16975" y="2006"/>
                    <a:pt x="16725" y="2259"/>
                    <a:pt x="16412" y="2259"/>
                  </a:cubicBezTo>
                  <a:lnTo>
                    <a:pt x="14153" y="2259"/>
                  </a:lnTo>
                  <a:cubicBezTo>
                    <a:pt x="13840" y="2259"/>
                    <a:pt x="13590" y="2006"/>
                    <a:pt x="13590" y="1693"/>
                  </a:cubicBezTo>
                  <a:cubicBezTo>
                    <a:pt x="13590" y="1380"/>
                    <a:pt x="13840" y="1130"/>
                    <a:pt x="14153" y="1130"/>
                  </a:cubicBezTo>
                  <a:close/>
                  <a:moveTo>
                    <a:pt x="5120" y="4518"/>
                  </a:moveTo>
                  <a:cubicBezTo>
                    <a:pt x="5433" y="4518"/>
                    <a:pt x="5683" y="4767"/>
                    <a:pt x="5683" y="5081"/>
                  </a:cubicBezTo>
                  <a:cubicBezTo>
                    <a:pt x="5683" y="5394"/>
                    <a:pt x="5433" y="5647"/>
                    <a:pt x="5120" y="5647"/>
                  </a:cubicBezTo>
                  <a:lnTo>
                    <a:pt x="2861" y="5647"/>
                  </a:lnTo>
                  <a:cubicBezTo>
                    <a:pt x="2548" y="5647"/>
                    <a:pt x="2298" y="5394"/>
                    <a:pt x="2298" y="5081"/>
                  </a:cubicBezTo>
                  <a:cubicBezTo>
                    <a:pt x="2298" y="4767"/>
                    <a:pt x="2548" y="4518"/>
                    <a:pt x="2861" y="4518"/>
                  </a:cubicBezTo>
                  <a:close/>
                  <a:moveTo>
                    <a:pt x="10766" y="4518"/>
                  </a:moveTo>
                  <a:cubicBezTo>
                    <a:pt x="11079" y="4518"/>
                    <a:pt x="11329" y="4767"/>
                    <a:pt x="11329" y="5081"/>
                  </a:cubicBezTo>
                  <a:cubicBezTo>
                    <a:pt x="11329" y="5394"/>
                    <a:pt x="11079" y="5647"/>
                    <a:pt x="10766" y="5647"/>
                  </a:cubicBezTo>
                  <a:lnTo>
                    <a:pt x="8507" y="5647"/>
                  </a:lnTo>
                  <a:cubicBezTo>
                    <a:pt x="8194" y="5647"/>
                    <a:pt x="7944" y="5394"/>
                    <a:pt x="7944" y="5081"/>
                  </a:cubicBezTo>
                  <a:cubicBezTo>
                    <a:pt x="7944" y="4767"/>
                    <a:pt x="8194" y="4518"/>
                    <a:pt x="8507" y="4518"/>
                  </a:cubicBezTo>
                  <a:close/>
                  <a:moveTo>
                    <a:pt x="16412" y="4518"/>
                  </a:moveTo>
                  <a:cubicBezTo>
                    <a:pt x="16725" y="4518"/>
                    <a:pt x="16975" y="4767"/>
                    <a:pt x="16975" y="5081"/>
                  </a:cubicBezTo>
                  <a:cubicBezTo>
                    <a:pt x="16975" y="5394"/>
                    <a:pt x="16725" y="5647"/>
                    <a:pt x="16412" y="5647"/>
                  </a:cubicBezTo>
                  <a:lnTo>
                    <a:pt x="14153" y="5647"/>
                  </a:lnTo>
                  <a:cubicBezTo>
                    <a:pt x="13840" y="5647"/>
                    <a:pt x="13590" y="5394"/>
                    <a:pt x="13590" y="5081"/>
                  </a:cubicBezTo>
                  <a:cubicBezTo>
                    <a:pt x="13590" y="4767"/>
                    <a:pt x="13840" y="4518"/>
                    <a:pt x="14153" y="4518"/>
                  </a:cubicBezTo>
                  <a:close/>
                  <a:moveTo>
                    <a:pt x="5120" y="7941"/>
                  </a:moveTo>
                  <a:cubicBezTo>
                    <a:pt x="5433" y="7941"/>
                    <a:pt x="5683" y="8194"/>
                    <a:pt x="5683" y="8507"/>
                  </a:cubicBezTo>
                  <a:cubicBezTo>
                    <a:pt x="5683" y="8818"/>
                    <a:pt x="5433" y="9071"/>
                    <a:pt x="5120" y="9071"/>
                  </a:cubicBezTo>
                  <a:lnTo>
                    <a:pt x="2861" y="9071"/>
                  </a:lnTo>
                  <a:cubicBezTo>
                    <a:pt x="2548" y="9071"/>
                    <a:pt x="2298" y="8818"/>
                    <a:pt x="2298" y="8507"/>
                  </a:cubicBezTo>
                  <a:cubicBezTo>
                    <a:pt x="2298" y="8194"/>
                    <a:pt x="2548" y="7941"/>
                    <a:pt x="2861" y="7941"/>
                  </a:cubicBezTo>
                  <a:close/>
                  <a:moveTo>
                    <a:pt x="10766" y="7941"/>
                  </a:moveTo>
                  <a:cubicBezTo>
                    <a:pt x="11079" y="7941"/>
                    <a:pt x="11329" y="8194"/>
                    <a:pt x="11329" y="8507"/>
                  </a:cubicBezTo>
                  <a:cubicBezTo>
                    <a:pt x="11329" y="8818"/>
                    <a:pt x="11079" y="9071"/>
                    <a:pt x="10766" y="9071"/>
                  </a:cubicBezTo>
                  <a:lnTo>
                    <a:pt x="8507" y="9071"/>
                  </a:lnTo>
                  <a:cubicBezTo>
                    <a:pt x="8194" y="9071"/>
                    <a:pt x="7944" y="8818"/>
                    <a:pt x="7944" y="8507"/>
                  </a:cubicBezTo>
                  <a:cubicBezTo>
                    <a:pt x="7944" y="8194"/>
                    <a:pt x="8194" y="7941"/>
                    <a:pt x="8507" y="7941"/>
                  </a:cubicBezTo>
                  <a:close/>
                  <a:moveTo>
                    <a:pt x="16412" y="7941"/>
                  </a:moveTo>
                  <a:cubicBezTo>
                    <a:pt x="16725" y="7941"/>
                    <a:pt x="16975" y="8194"/>
                    <a:pt x="16975" y="8507"/>
                  </a:cubicBezTo>
                  <a:cubicBezTo>
                    <a:pt x="16975" y="8818"/>
                    <a:pt x="16725" y="9071"/>
                    <a:pt x="16412" y="9071"/>
                  </a:cubicBezTo>
                  <a:lnTo>
                    <a:pt x="14153" y="9071"/>
                  </a:lnTo>
                  <a:cubicBezTo>
                    <a:pt x="13840" y="9071"/>
                    <a:pt x="13590" y="8818"/>
                    <a:pt x="13590" y="8507"/>
                  </a:cubicBezTo>
                  <a:cubicBezTo>
                    <a:pt x="13590" y="8194"/>
                    <a:pt x="13840" y="7941"/>
                    <a:pt x="14153" y="7941"/>
                  </a:cubicBezTo>
                  <a:close/>
                  <a:moveTo>
                    <a:pt x="1" y="1"/>
                  </a:moveTo>
                  <a:lnTo>
                    <a:pt x="1" y="9637"/>
                  </a:lnTo>
                  <a:cubicBezTo>
                    <a:pt x="1" y="10570"/>
                    <a:pt x="759" y="11329"/>
                    <a:pt x="1696" y="11329"/>
                  </a:cubicBezTo>
                  <a:lnTo>
                    <a:pt x="17580" y="11329"/>
                  </a:lnTo>
                  <a:cubicBezTo>
                    <a:pt x="18514" y="11329"/>
                    <a:pt x="19273" y="10570"/>
                    <a:pt x="19273" y="9637"/>
                  </a:cubicBezTo>
                  <a:lnTo>
                    <a:pt x="19273" y="1"/>
                  </a:ln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332" name="Google Shape;5598;p66"/>
            <p:cNvSpPr/>
            <p:nvPr/>
          </p:nvSpPr>
          <p:spPr>
            <a:xfrm>
              <a:off x="5660400" y="238125"/>
              <a:ext cx="481825" cy="170375"/>
            </a:xfrm>
            <a:custGeom>
              <a:rect l="l" t="t" r="r" b="b"/>
              <a:pathLst>
                <a:path w="19273" h="6815" extrusionOk="0">
                  <a:moveTo>
                    <a:pt x="3990" y="1129"/>
                  </a:moveTo>
                  <a:cubicBezTo>
                    <a:pt x="4304" y="1129"/>
                    <a:pt x="4557" y="1382"/>
                    <a:pt x="4557" y="1695"/>
                  </a:cubicBezTo>
                  <a:lnTo>
                    <a:pt x="4557" y="3954"/>
                  </a:lnTo>
                  <a:cubicBezTo>
                    <a:pt x="4557" y="4264"/>
                    <a:pt x="4304" y="4517"/>
                    <a:pt x="3990" y="4517"/>
                  </a:cubicBezTo>
                  <a:cubicBezTo>
                    <a:pt x="3677" y="4517"/>
                    <a:pt x="3427" y="4264"/>
                    <a:pt x="3427" y="3954"/>
                  </a:cubicBezTo>
                  <a:lnTo>
                    <a:pt x="3427" y="1695"/>
                  </a:lnTo>
                  <a:cubicBezTo>
                    <a:pt x="3427" y="1382"/>
                    <a:pt x="3677" y="1129"/>
                    <a:pt x="3990" y="1129"/>
                  </a:cubicBezTo>
                  <a:close/>
                  <a:moveTo>
                    <a:pt x="9637" y="1129"/>
                  </a:moveTo>
                  <a:cubicBezTo>
                    <a:pt x="9950" y="1129"/>
                    <a:pt x="10203" y="1382"/>
                    <a:pt x="10203" y="1695"/>
                  </a:cubicBezTo>
                  <a:lnTo>
                    <a:pt x="10203" y="3954"/>
                  </a:lnTo>
                  <a:cubicBezTo>
                    <a:pt x="10203" y="4264"/>
                    <a:pt x="9950" y="4517"/>
                    <a:pt x="9637" y="4517"/>
                  </a:cubicBezTo>
                  <a:cubicBezTo>
                    <a:pt x="9323" y="4517"/>
                    <a:pt x="9073" y="4264"/>
                    <a:pt x="9073" y="3954"/>
                  </a:cubicBezTo>
                  <a:lnTo>
                    <a:pt x="9073" y="1695"/>
                  </a:lnTo>
                  <a:cubicBezTo>
                    <a:pt x="9073" y="1382"/>
                    <a:pt x="9323" y="1129"/>
                    <a:pt x="9637" y="1129"/>
                  </a:cubicBezTo>
                  <a:close/>
                  <a:moveTo>
                    <a:pt x="15283" y="1129"/>
                  </a:moveTo>
                  <a:cubicBezTo>
                    <a:pt x="15596" y="1129"/>
                    <a:pt x="15849" y="1382"/>
                    <a:pt x="15849" y="1695"/>
                  </a:cubicBezTo>
                  <a:lnTo>
                    <a:pt x="15849" y="3954"/>
                  </a:lnTo>
                  <a:cubicBezTo>
                    <a:pt x="15849" y="4264"/>
                    <a:pt x="15596" y="4517"/>
                    <a:pt x="15283" y="4517"/>
                  </a:cubicBezTo>
                  <a:cubicBezTo>
                    <a:pt x="14969" y="4517"/>
                    <a:pt x="14719" y="4264"/>
                    <a:pt x="14719" y="3954"/>
                  </a:cubicBezTo>
                  <a:lnTo>
                    <a:pt x="14719" y="1695"/>
                  </a:lnTo>
                  <a:cubicBezTo>
                    <a:pt x="14719" y="1382"/>
                    <a:pt x="14969" y="1129"/>
                    <a:pt x="15283" y="1129"/>
                  </a:cubicBezTo>
                  <a:close/>
                  <a:moveTo>
                    <a:pt x="3990" y="0"/>
                  </a:moveTo>
                  <a:cubicBezTo>
                    <a:pt x="3054" y="0"/>
                    <a:pt x="2298" y="759"/>
                    <a:pt x="2298" y="1695"/>
                  </a:cubicBezTo>
                  <a:lnTo>
                    <a:pt x="2298" y="2258"/>
                  </a:lnTo>
                  <a:lnTo>
                    <a:pt x="1696" y="2258"/>
                  </a:lnTo>
                  <a:cubicBezTo>
                    <a:pt x="759" y="2258"/>
                    <a:pt x="1" y="3017"/>
                    <a:pt x="1" y="3954"/>
                  </a:cubicBezTo>
                  <a:lnTo>
                    <a:pt x="1" y="6814"/>
                  </a:lnTo>
                  <a:lnTo>
                    <a:pt x="19273" y="6814"/>
                  </a:lnTo>
                  <a:lnTo>
                    <a:pt x="19273" y="3954"/>
                  </a:lnTo>
                  <a:cubicBezTo>
                    <a:pt x="19273" y="3017"/>
                    <a:pt x="18514" y="2258"/>
                    <a:pt x="17580" y="2258"/>
                  </a:cubicBezTo>
                  <a:lnTo>
                    <a:pt x="16978" y="2258"/>
                  </a:lnTo>
                  <a:lnTo>
                    <a:pt x="16978" y="1695"/>
                  </a:lnTo>
                  <a:cubicBezTo>
                    <a:pt x="16978" y="759"/>
                    <a:pt x="16219" y="0"/>
                    <a:pt x="15283" y="0"/>
                  </a:cubicBezTo>
                  <a:cubicBezTo>
                    <a:pt x="14346" y="0"/>
                    <a:pt x="13590" y="759"/>
                    <a:pt x="13590" y="1695"/>
                  </a:cubicBezTo>
                  <a:lnTo>
                    <a:pt x="13590" y="2258"/>
                  </a:lnTo>
                  <a:lnTo>
                    <a:pt x="11332" y="2258"/>
                  </a:lnTo>
                  <a:lnTo>
                    <a:pt x="11332" y="1695"/>
                  </a:lnTo>
                  <a:cubicBezTo>
                    <a:pt x="11332" y="759"/>
                    <a:pt x="10573" y="0"/>
                    <a:pt x="9637" y="0"/>
                  </a:cubicBezTo>
                  <a:cubicBezTo>
                    <a:pt x="8700" y="0"/>
                    <a:pt x="7944" y="759"/>
                    <a:pt x="7944" y="1695"/>
                  </a:cubicBezTo>
                  <a:lnTo>
                    <a:pt x="7944" y="2258"/>
                  </a:lnTo>
                  <a:lnTo>
                    <a:pt x="5686" y="2258"/>
                  </a:lnTo>
                  <a:lnTo>
                    <a:pt x="5686" y="1695"/>
                  </a:lnTo>
                  <a:cubicBezTo>
                    <a:pt x="5686" y="759"/>
                    <a:pt x="4927" y="0"/>
                    <a:pt x="3990" y="0"/>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grpSp>
      <p:grpSp>
        <p:nvGrpSpPr>
          <p:cNvPr id="385" name="Google Shape;5651;p66"/>
          <p:cNvGrpSpPr/>
          <p:nvPr/>
        </p:nvGrpSpPr>
        <p:grpSpPr>
          <a:xfrm>
            <a:off x="10124024" y="3635877"/>
            <a:ext cx="588344" cy="379235"/>
            <a:chOff x="1492675" y="1520750"/>
            <a:chExt cx="481825" cy="310575"/>
          </a:xfrm>
          <a:solidFill>
            <a:srgbClr val="00677F"/>
          </a:solidFill>
        </p:grpSpPr>
        <p:sp>
          <p:nvSpPr>
            <p:cNvPr id="386" name="Google Shape;5652;p66"/>
            <p:cNvSpPr/>
            <p:nvPr/>
          </p:nvSpPr>
          <p:spPr>
            <a:xfrm>
              <a:off x="1492675" y="1540400"/>
              <a:ext cx="481825" cy="290925"/>
            </a:xfrm>
            <a:custGeom>
              <a:rect l="l" t="t" r="r" b="b"/>
              <a:pathLst>
                <a:path w="19273" h="11637" extrusionOk="0">
                  <a:moveTo>
                    <a:pt x="266" y="1"/>
                  </a:moveTo>
                  <a:cubicBezTo>
                    <a:pt x="91" y="272"/>
                    <a:pt x="1" y="585"/>
                    <a:pt x="1" y="907"/>
                  </a:cubicBezTo>
                  <a:lnTo>
                    <a:pt x="1" y="9941"/>
                  </a:lnTo>
                  <a:cubicBezTo>
                    <a:pt x="1" y="10877"/>
                    <a:pt x="757" y="11633"/>
                    <a:pt x="1693" y="11636"/>
                  </a:cubicBezTo>
                  <a:lnTo>
                    <a:pt x="17577" y="11636"/>
                  </a:lnTo>
                  <a:cubicBezTo>
                    <a:pt x="18514" y="11633"/>
                    <a:pt x="19270" y="10877"/>
                    <a:pt x="19273" y="9941"/>
                  </a:cubicBezTo>
                  <a:lnTo>
                    <a:pt x="19273" y="907"/>
                  </a:lnTo>
                  <a:cubicBezTo>
                    <a:pt x="19270" y="585"/>
                    <a:pt x="19176" y="272"/>
                    <a:pt x="19005" y="1"/>
                  </a:cubicBezTo>
                  <a:lnTo>
                    <a:pt x="9974" y="7005"/>
                  </a:lnTo>
                  <a:cubicBezTo>
                    <a:pt x="9873" y="7080"/>
                    <a:pt x="9754" y="7118"/>
                    <a:pt x="9635" y="7118"/>
                  </a:cubicBezTo>
                  <a:cubicBezTo>
                    <a:pt x="9516" y="7118"/>
                    <a:pt x="9397" y="7080"/>
                    <a:pt x="9296" y="7005"/>
                  </a:cubicBezTo>
                  <a:lnTo>
                    <a:pt x="266" y="1"/>
                  </a:ln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387" name="Google Shape;5653;p66"/>
            <p:cNvSpPr/>
            <p:nvPr/>
          </p:nvSpPr>
          <p:spPr>
            <a:xfrm>
              <a:off x="1522575" y="1520750"/>
              <a:ext cx="421975" cy="165800"/>
            </a:xfrm>
            <a:custGeom>
              <a:rect l="l" t="t" r="r" b="b"/>
              <a:pathLst>
                <a:path w="16879" h="6632" extrusionOk="0">
                  <a:moveTo>
                    <a:pt x="497" y="1"/>
                  </a:moveTo>
                  <a:cubicBezTo>
                    <a:pt x="328" y="1"/>
                    <a:pt x="160" y="31"/>
                    <a:pt x="0" y="82"/>
                  </a:cubicBezTo>
                  <a:lnTo>
                    <a:pt x="8441" y="6631"/>
                  </a:lnTo>
                  <a:lnTo>
                    <a:pt x="16878" y="82"/>
                  </a:lnTo>
                  <a:cubicBezTo>
                    <a:pt x="16719" y="31"/>
                    <a:pt x="16550" y="1"/>
                    <a:pt x="16381" y="1"/>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grpSp>
      <p:grpSp>
        <p:nvGrpSpPr>
          <p:cNvPr id="509" name="Google Shape;5775;p66"/>
          <p:cNvGrpSpPr/>
          <p:nvPr/>
        </p:nvGrpSpPr>
        <p:grpSpPr>
          <a:xfrm>
            <a:off x="8576331" y="3664393"/>
            <a:ext cx="451872" cy="423619"/>
            <a:chOff x="4456875" y="2635825"/>
            <a:chExt cx="481825" cy="451700"/>
          </a:xfrm>
          <a:solidFill>
            <a:srgbClr val="00677F"/>
          </a:solidFill>
        </p:grpSpPr>
        <p:sp>
          <p:nvSpPr>
            <p:cNvPr id="510" name="Google Shape;5776;p66"/>
            <p:cNvSpPr/>
            <p:nvPr/>
          </p:nvSpPr>
          <p:spPr>
            <a:xfrm>
              <a:off x="4542475" y="3031050"/>
              <a:ext cx="189725" cy="56475"/>
            </a:xfrm>
            <a:custGeom>
              <a:rect l="l" t="t" r="r" b="b"/>
              <a:pathLst>
                <a:path w="7589" h="2259" extrusionOk="0">
                  <a:moveTo>
                    <a:pt x="2792" y="0"/>
                  </a:moveTo>
                  <a:lnTo>
                    <a:pt x="2415" y="1130"/>
                  </a:lnTo>
                  <a:lnTo>
                    <a:pt x="567" y="1130"/>
                  </a:lnTo>
                  <a:cubicBezTo>
                    <a:pt x="253" y="1130"/>
                    <a:pt x="0" y="1383"/>
                    <a:pt x="0" y="1696"/>
                  </a:cubicBezTo>
                  <a:cubicBezTo>
                    <a:pt x="0" y="2006"/>
                    <a:pt x="253" y="2259"/>
                    <a:pt x="567" y="2259"/>
                  </a:cubicBezTo>
                  <a:lnTo>
                    <a:pt x="7589" y="2259"/>
                  </a:lnTo>
                  <a:cubicBezTo>
                    <a:pt x="7101" y="1831"/>
                    <a:pt x="6821" y="1214"/>
                    <a:pt x="6821" y="567"/>
                  </a:cubicBezTo>
                  <a:lnTo>
                    <a:pt x="6821" y="0"/>
                  </a:ln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511" name="Google Shape;5777;p66"/>
            <p:cNvSpPr/>
            <p:nvPr/>
          </p:nvSpPr>
          <p:spPr>
            <a:xfrm>
              <a:off x="4456875" y="2946350"/>
              <a:ext cx="256125" cy="56500"/>
            </a:xfrm>
            <a:custGeom>
              <a:rect l="l" t="t" r="r" b="b"/>
              <a:pathLst>
                <a:path w="10245" h="2260" extrusionOk="0">
                  <a:moveTo>
                    <a:pt x="1" y="1"/>
                  </a:moveTo>
                  <a:lnTo>
                    <a:pt x="1" y="567"/>
                  </a:lnTo>
                  <a:cubicBezTo>
                    <a:pt x="1" y="1500"/>
                    <a:pt x="756" y="2259"/>
                    <a:pt x="1693" y="2259"/>
                  </a:cubicBezTo>
                  <a:lnTo>
                    <a:pt x="10245" y="2259"/>
                  </a:lnTo>
                  <a:lnTo>
                    <a:pt x="10245" y="1"/>
                  </a:ln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512" name="Google Shape;5778;p66"/>
            <p:cNvSpPr/>
            <p:nvPr/>
          </p:nvSpPr>
          <p:spPr>
            <a:xfrm>
              <a:off x="4741225" y="2861675"/>
              <a:ext cx="169400" cy="141175"/>
            </a:xfrm>
            <a:custGeom>
              <a:rect l="l" t="t" r="r" b="b"/>
              <a:pathLst>
                <a:path w="6775" h="5647" extrusionOk="0">
                  <a:moveTo>
                    <a:pt x="0" y="0"/>
                  </a:moveTo>
                  <a:lnTo>
                    <a:pt x="0" y="5646"/>
                  </a:lnTo>
                  <a:lnTo>
                    <a:pt x="6775" y="5646"/>
                  </a:lnTo>
                  <a:lnTo>
                    <a:pt x="6775" y="0"/>
                  </a:ln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513" name="Google Shape;5779;p66"/>
            <p:cNvSpPr/>
            <p:nvPr/>
          </p:nvSpPr>
          <p:spPr>
            <a:xfrm>
              <a:off x="4741225" y="3031050"/>
              <a:ext cx="169400" cy="42400"/>
            </a:xfrm>
            <a:custGeom>
              <a:rect l="l" t="t" r="r" b="b"/>
              <a:pathLst>
                <a:path w="6775" h="1695" extrusionOk="0">
                  <a:moveTo>
                    <a:pt x="0" y="0"/>
                  </a:moveTo>
                  <a:lnTo>
                    <a:pt x="0" y="567"/>
                  </a:lnTo>
                  <a:cubicBezTo>
                    <a:pt x="0" y="1190"/>
                    <a:pt x="506" y="1696"/>
                    <a:pt x="1129" y="1696"/>
                  </a:cubicBezTo>
                  <a:lnTo>
                    <a:pt x="5646" y="1696"/>
                  </a:lnTo>
                  <a:cubicBezTo>
                    <a:pt x="6270" y="1696"/>
                    <a:pt x="6775" y="1190"/>
                    <a:pt x="6775" y="567"/>
                  </a:cubicBezTo>
                  <a:lnTo>
                    <a:pt x="6775" y="0"/>
                  </a:ln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514" name="Google Shape;5780;p66"/>
            <p:cNvSpPr/>
            <p:nvPr/>
          </p:nvSpPr>
          <p:spPr>
            <a:xfrm>
              <a:off x="4456875" y="2635825"/>
              <a:ext cx="481825" cy="282325"/>
            </a:xfrm>
            <a:custGeom>
              <a:rect l="l" t="t" r="r" b="b"/>
              <a:pathLst>
                <a:path w="19273" h="11293" extrusionOk="0">
                  <a:moveTo>
                    <a:pt x="1693" y="0"/>
                  </a:moveTo>
                  <a:cubicBezTo>
                    <a:pt x="756" y="0"/>
                    <a:pt x="1" y="759"/>
                    <a:pt x="1" y="1696"/>
                  </a:cubicBezTo>
                  <a:lnTo>
                    <a:pt x="1" y="11293"/>
                  </a:lnTo>
                  <a:lnTo>
                    <a:pt x="10245" y="11293"/>
                  </a:lnTo>
                  <a:lnTo>
                    <a:pt x="10245" y="7342"/>
                  </a:lnTo>
                  <a:cubicBezTo>
                    <a:pt x="10245" y="6092"/>
                    <a:pt x="11257" y="5083"/>
                    <a:pt x="12503" y="5083"/>
                  </a:cubicBezTo>
                  <a:lnTo>
                    <a:pt x="17020" y="5083"/>
                  </a:lnTo>
                  <a:cubicBezTo>
                    <a:pt x="18201" y="5083"/>
                    <a:pt x="19179" y="5993"/>
                    <a:pt x="19273" y="7167"/>
                  </a:cubicBezTo>
                  <a:lnTo>
                    <a:pt x="19273" y="1696"/>
                  </a:lnTo>
                  <a:cubicBezTo>
                    <a:pt x="19270" y="759"/>
                    <a:pt x="18514" y="0"/>
                    <a:pt x="17577" y="0"/>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sp>
          <p:nvSpPr>
            <p:cNvPr id="515" name="Google Shape;5781;p66"/>
            <p:cNvSpPr/>
            <p:nvPr/>
          </p:nvSpPr>
          <p:spPr>
            <a:xfrm>
              <a:off x="4741225" y="2791125"/>
              <a:ext cx="169400" cy="42325"/>
            </a:xfrm>
            <a:custGeom>
              <a:rect l="l" t="t" r="r" b="b"/>
              <a:pathLst>
                <a:path w="6775" h="1693" extrusionOk="0">
                  <a:moveTo>
                    <a:pt x="1129" y="1"/>
                  </a:moveTo>
                  <a:cubicBezTo>
                    <a:pt x="506" y="1"/>
                    <a:pt x="0" y="503"/>
                    <a:pt x="0" y="1130"/>
                  </a:cubicBezTo>
                  <a:lnTo>
                    <a:pt x="0" y="1693"/>
                  </a:lnTo>
                  <a:lnTo>
                    <a:pt x="6775" y="1693"/>
                  </a:lnTo>
                  <a:lnTo>
                    <a:pt x="6775" y="1130"/>
                  </a:lnTo>
                  <a:cubicBezTo>
                    <a:pt x="6775" y="503"/>
                    <a:pt x="6270" y="1"/>
                    <a:pt x="5646" y="1"/>
                  </a:cubicBezTo>
                  <a:close/>
                </a:path>
              </a:pathLst>
            </a:custGeom>
            <a:grpFill/>
            <a:ln>
              <a:noFill/>
            </a:ln>
          </p:spPr>
          <p:txBody>
            <a:bodyPr spcFirstLastPara="1" wrap="square" lIns="91417" tIns="91417" rIns="91417" bIns="91417" anchor="ctr" anchorCtr="0">
              <a:noAutofit/>
            </a:bodyPr>
            <a:lstStyle/>
            <a:p>
              <a:endParaRPr sz="1400">
                <a:solidFill>
                  <a:srgbClr val="AE4500"/>
                </a:solidFill>
              </a:endParaRPr>
            </a:p>
          </p:txBody>
        </p:sp>
      </p:grpSp>
    </p:spTree>
    <p:extLst>
      <p:ext uri="{BB962C8B-B14F-4D97-AF65-F5344CB8AC3E}">
        <p14:creationId xmlns:p14="http://schemas.microsoft.com/office/powerpoint/2010/main" val="3877331949"/>
      </p:ext>
    </p:extLst>
  </p:cSld>
  <p:clrMapOvr>
    <a:masterClrMapping/>
  </p:clrMapOvr>
  <p:transition/>
  <p:timing/>
</p:sld>
</file>

<file path=ppt/slides/slide22.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ext Placeholder 1"/>
          <p:cNvSpPr>
            <a:spLocks noGrp="1"/>
          </p:cNvSpPr>
          <p:nvPr>
            <p:ph type="body" sz="quarter" idx="10"/>
          </p:nvPr>
        </p:nvSpPr>
        <p:spPr/>
        <p:txBody>
          <a:bodyPr>
            <a:normAutofit lnSpcReduction="10000"/>
          </a:bodyPr>
          <a:lstStyle/>
          <a:p>
            <a:r>
              <a:rPr lang="en-US" sz="4800">
                <a:latin typeface="+mn-lt"/>
              </a:rPr>
              <a:t>Fully Editable Icon Sets: B</a:t>
            </a:r>
          </a:p>
        </p:txBody>
      </p:sp>
      <p:sp>
        <p:nvSpPr>
          <p:cNvPr id="70" name="Freeform 108">
            <a:extLst>
              <a:ext uri="{FF2B5EF4-FFF2-40B4-BE49-F238E27FC236}">
                <a16:creationId xmlns:a16="http://schemas.microsoft.com/office/drawing/2014/main" id="{6A02011B-41CE-4E20-9214-001F7D847E12}"/>
              </a:ext>
            </a:extLst>
          </p:cNvPr>
          <p:cNvSpPr/>
          <p:nvPr/>
        </p:nvSpPr>
        <p:spPr>
          <a:xfrm>
            <a:off x="6041084" y="1656750"/>
            <a:ext cx="553825" cy="652237"/>
          </a:xfrm>
          <a:custGeom>
            <a:rect l="l" t="t" r="r" b="b"/>
            <a:pathLst>
              <a:path w="341005" h="376812">
                <a:moveTo>
                  <a:pt x="179590" y="105941"/>
                </a:moveTo>
                <a:cubicBezTo>
                  <a:pt x="189466" y="103284"/>
                  <a:pt x="200229" y="106383"/>
                  <a:pt x="207502" y="113978"/>
                </a:cubicBezTo>
                <a:lnTo>
                  <a:pt x="205155" y="116193"/>
                </a:lnTo>
                <a:cubicBezTo>
                  <a:pt x="198727" y="109493"/>
                  <a:pt x="189244" y="106732"/>
                  <a:pt x="180543" y="109027"/>
                </a:cubicBezTo>
                <a:cubicBezTo>
                  <a:pt x="171284" y="111470"/>
                  <a:pt x="164597" y="119184"/>
                  <a:pt x="163491" y="128699"/>
                </a:cubicBezTo>
                <a:lnTo>
                  <a:pt x="160301" y="128192"/>
                </a:lnTo>
                <a:cubicBezTo>
                  <a:pt x="160626" y="125509"/>
                  <a:pt x="161343" y="122953"/>
                  <a:pt x="162397" y="120583"/>
                </a:cubicBezTo>
                <a:cubicBezTo>
                  <a:pt x="163188" y="118806"/>
                  <a:pt x="164168" y="117134"/>
                  <a:pt x="165317" y="115593"/>
                </a:cubicBezTo>
                <a:close/>
                <a:moveTo>
                  <a:pt x="184774" y="76800"/>
                </a:moveTo>
                <a:cubicBezTo>
                  <a:pt x="189722" y="75892"/>
                  <a:pt x="194950" y="76276"/>
                  <a:pt x="199898" y="78055"/>
                </a:cubicBezTo>
                <a:lnTo>
                  <a:pt x="198784" y="81085"/>
                </a:lnTo>
                <a:cubicBezTo>
                  <a:pt x="190044" y="77951"/>
                  <a:pt x="180324" y="79705"/>
                  <a:pt x="173557" y="85636"/>
                </a:cubicBezTo>
                <a:cubicBezTo>
                  <a:pt x="166357" y="91948"/>
                  <a:pt x="163808" y="101834"/>
                  <a:pt x="167057" y="110845"/>
                </a:cubicBezTo>
                <a:lnTo>
                  <a:pt x="163976" y="111813"/>
                </a:lnTo>
                <a:cubicBezTo>
                  <a:pt x="161264" y="104174"/>
                  <a:pt x="162206" y="95982"/>
                  <a:pt x="166259" y="89343"/>
                </a:cubicBezTo>
                <a:lnTo>
                  <a:pt x="171329" y="83298"/>
                </a:lnTo>
                <a:cubicBezTo>
                  <a:pt x="175158" y="79908"/>
                  <a:pt x="179826" y="77708"/>
                  <a:pt x="184774" y="76800"/>
                </a:cubicBezTo>
                <a:close/>
                <a:moveTo>
                  <a:pt x="179076" y="24908"/>
                </a:moveTo>
                <a:cubicBezTo>
                  <a:pt x="173882" y="25821"/>
                  <a:pt x="169065" y="28595"/>
                  <a:pt x="165693" y="33023"/>
                </a:cubicBezTo>
                <a:lnTo>
                  <a:pt x="165081" y="32645"/>
                </a:lnTo>
                <a:lnTo>
                  <a:pt x="164343" y="33841"/>
                </a:lnTo>
                <a:lnTo>
                  <a:pt x="159156" y="28989"/>
                </a:lnTo>
                <a:cubicBezTo>
                  <a:pt x="147650" y="21890"/>
                  <a:pt x="132568" y="25462"/>
                  <a:pt x="125468" y="36968"/>
                </a:cubicBezTo>
                <a:cubicBezTo>
                  <a:pt x="125028" y="37682"/>
                  <a:pt x="124628" y="38410"/>
                  <a:pt x="124607" y="39302"/>
                </a:cubicBezTo>
                <a:cubicBezTo>
                  <a:pt x="121192" y="53871"/>
                  <a:pt x="126621" y="67918"/>
                  <a:pt x="137512" y="72288"/>
                </a:cubicBezTo>
                <a:lnTo>
                  <a:pt x="136408" y="75373"/>
                </a:lnTo>
                <a:cubicBezTo>
                  <a:pt x="125065" y="70889"/>
                  <a:pt x="118824" y="57470"/>
                  <a:pt x="120792" y="42874"/>
                </a:cubicBezTo>
                <a:cubicBezTo>
                  <a:pt x="110219" y="38045"/>
                  <a:pt x="97555" y="41998"/>
                  <a:pt x="91229" y="52250"/>
                </a:cubicBezTo>
                <a:cubicBezTo>
                  <a:pt x="86215" y="60377"/>
                  <a:pt x="87164" y="68019"/>
                  <a:pt x="90995" y="75559"/>
                </a:cubicBezTo>
                <a:cubicBezTo>
                  <a:pt x="88405" y="77546"/>
                  <a:pt x="86197" y="80074"/>
                  <a:pt x="84391" y="83001"/>
                </a:cubicBezTo>
                <a:cubicBezTo>
                  <a:pt x="75261" y="97799"/>
                  <a:pt x="79855" y="117197"/>
                  <a:pt x="94653" y="126328"/>
                </a:cubicBezTo>
                <a:cubicBezTo>
                  <a:pt x="99603" y="129383"/>
                  <a:pt x="105068" y="130901"/>
                  <a:pt x="110449" y="130283"/>
                </a:cubicBezTo>
                <a:cubicBezTo>
                  <a:pt x="111461" y="121556"/>
                  <a:pt x="114239" y="112980"/>
                  <a:pt x="118788" y="105103"/>
                </a:cubicBezTo>
                <a:lnTo>
                  <a:pt x="122060" y="106993"/>
                </a:lnTo>
                <a:cubicBezTo>
                  <a:pt x="117549" y="114804"/>
                  <a:pt x="114885" y="123345"/>
                  <a:pt x="114602" y="132066"/>
                </a:cubicBezTo>
                <a:cubicBezTo>
                  <a:pt x="118189" y="142541"/>
                  <a:pt x="127538" y="149533"/>
                  <a:pt x="138054" y="150704"/>
                </a:cubicBezTo>
                <a:lnTo>
                  <a:pt x="138622" y="157584"/>
                </a:lnTo>
                <a:cubicBezTo>
                  <a:pt x="141809" y="168599"/>
                  <a:pt x="152592" y="175355"/>
                  <a:pt x="163536" y="173320"/>
                </a:cubicBezTo>
                <a:lnTo>
                  <a:pt x="163736" y="174011"/>
                </a:lnTo>
                <a:lnTo>
                  <a:pt x="165086" y="173621"/>
                </a:lnTo>
                <a:lnTo>
                  <a:pt x="165671" y="180699"/>
                </a:lnTo>
                <a:cubicBezTo>
                  <a:pt x="169429" y="193686"/>
                  <a:pt x="183003" y="201168"/>
                  <a:pt x="195990" y="197411"/>
                </a:cubicBezTo>
                <a:cubicBezTo>
                  <a:pt x="196796" y="197178"/>
                  <a:pt x="197581" y="196907"/>
                  <a:pt x="198196" y="196260"/>
                </a:cubicBezTo>
                <a:cubicBezTo>
                  <a:pt x="209934" y="188156"/>
                  <a:pt x="215400" y="175007"/>
                  <a:pt x="211155" y="164763"/>
                </a:cubicBezTo>
                <a:cubicBezTo>
                  <a:pt x="205121" y="170199"/>
                  <a:pt x="196738" y="172687"/>
                  <a:pt x="188343" y="171472"/>
                </a:cubicBezTo>
                <a:lnTo>
                  <a:pt x="188829" y="168281"/>
                </a:lnTo>
                <a:cubicBezTo>
                  <a:pt x="198020" y="169602"/>
                  <a:pt x="207192" y="165939"/>
                  <a:pt x="212635" y="158774"/>
                </a:cubicBezTo>
                <a:cubicBezTo>
                  <a:pt x="218427" y="151149"/>
                  <a:pt x="218946" y="140953"/>
                  <a:pt x="213960" y="132774"/>
                </a:cubicBezTo>
                <a:lnTo>
                  <a:pt x="216785" y="131210"/>
                </a:lnTo>
                <a:cubicBezTo>
                  <a:pt x="222366" y="140465"/>
                  <a:pt x="221779" y="151983"/>
                  <a:pt x="215286" y="160619"/>
                </a:cubicBezTo>
                <a:lnTo>
                  <a:pt x="213805" y="162105"/>
                </a:lnTo>
                <a:cubicBezTo>
                  <a:pt x="218946" y="172938"/>
                  <a:pt x="214526" y="186813"/>
                  <a:pt x="203421" y="196175"/>
                </a:cubicBezTo>
                <a:cubicBezTo>
                  <a:pt x="208012" y="206854"/>
                  <a:pt x="220050" y="212429"/>
                  <a:pt x="231622" y="209082"/>
                </a:cubicBezTo>
                <a:cubicBezTo>
                  <a:pt x="239377" y="206838"/>
                  <a:pt x="243741" y="201989"/>
                  <a:pt x="246092" y="195539"/>
                </a:cubicBezTo>
                <a:cubicBezTo>
                  <a:pt x="255042" y="199507"/>
                  <a:pt x="265290" y="198199"/>
                  <a:pt x="272958" y="192601"/>
                </a:cubicBezTo>
                <a:lnTo>
                  <a:pt x="276795" y="193971"/>
                </a:lnTo>
                <a:cubicBezTo>
                  <a:pt x="289009" y="194016"/>
                  <a:pt x="298363" y="193248"/>
                  <a:pt x="304258" y="183694"/>
                </a:cubicBezTo>
                <a:cubicBezTo>
                  <a:pt x="309343" y="175453"/>
                  <a:pt x="308953" y="165378"/>
                  <a:pt x="303795" y="157923"/>
                </a:cubicBezTo>
                <a:cubicBezTo>
                  <a:pt x="298315" y="164420"/>
                  <a:pt x="291041" y="168177"/>
                  <a:pt x="283702" y="168174"/>
                </a:cubicBezTo>
                <a:lnTo>
                  <a:pt x="283555" y="164527"/>
                </a:lnTo>
                <a:cubicBezTo>
                  <a:pt x="293404" y="164978"/>
                  <a:pt x="303289" y="157339"/>
                  <a:pt x="308110" y="145450"/>
                </a:cubicBezTo>
                <a:cubicBezTo>
                  <a:pt x="311022" y="136198"/>
                  <a:pt x="308752" y="126109"/>
                  <a:pt x="302169" y="119023"/>
                </a:cubicBezTo>
                <a:cubicBezTo>
                  <a:pt x="296249" y="127191"/>
                  <a:pt x="286098" y="131525"/>
                  <a:pt x="275782" y="130309"/>
                </a:cubicBezTo>
                <a:lnTo>
                  <a:pt x="276183" y="127106"/>
                </a:lnTo>
                <a:cubicBezTo>
                  <a:pt x="285405" y="128184"/>
                  <a:pt x="294478" y="124281"/>
                  <a:pt x="299730" y="116974"/>
                </a:cubicBezTo>
                <a:lnTo>
                  <a:pt x="300207" y="116045"/>
                </a:lnTo>
                <a:cubicBezTo>
                  <a:pt x="300079" y="107222"/>
                  <a:pt x="295342" y="98867"/>
                  <a:pt x="287259" y="93880"/>
                </a:cubicBezTo>
                <a:cubicBezTo>
                  <a:pt x="284295" y="92051"/>
                  <a:pt x="281129" y="90828"/>
                  <a:pt x="277855" y="90561"/>
                </a:cubicBezTo>
                <a:cubicBezTo>
                  <a:pt x="271916" y="104194"/>
                  <a:pt x="259881" y="112708"/>
                  <a:pt x="248172" y="111695"/>
                </a:cubicBezTo>
                <a:cubicBezTo>
                  <a:pt x="248002" y="114741"/>
                  <a:pt x="246936" y="117719"/>
                  <a:pt x="245089" y="120348"/>
                </a:cubicBezTo>
                <a:cubicBezTo>
                  <a:pt x="241307" y="125729"/>
                  <a:pt x="234825" y="128827"/>
                  <a:pt x="228007" y="128511"/>
                </a:cubicBezTo>
                <a:lnTo>
                  <a:pt x="228158" y="125380"/>
                </a:lnTo>
                <a:cubicBezTo>
                  <a:pt x="233848" y="125642"/>
                  <a:pt x="239262" y="123097"/>
                  <a:pt x="242439" y="118667"/>
                </a:cubicBezTo>
                <a:cubicBezTo>
                  <a:pt x="244071" y="116391"/>
                  <a:pt x="244987" y="113796"/>
                  <a:pt x="245116" y="111152"/>
                </a:cubicBezTo>
                <a:lnTo>
                  <a:pt x="243716" y="110904"/>
                </a:lnTo>
                <a:lnTo>
                  <a:pt x="244539" y="108155"/>
                </a:lnTo>
                <a:cubicBezTo>
                  <a:pt x="244792" y="106166"/>
                  <a:pt x="244131" y="104285"/>
                  <a:pt x="243078" y="102544"/>
                </a:cubicBezTo>
                <a:cubicBezTo>
                  <a:pt x="240257" y="97875"/>
                  <a:pt x="235048" y="94922"/>
                  <a:pt x="229344" y="94755"/>
                </a:cubicBezTo>
                <a:lnTo>
                  <a:pt x="229436" y="91621"/>
                </a:lnTo>
                <a:cubicBezTo>
                  <a:pt x="236268" y="91821"/>
                  <a:pt x="242499" y="95409"/>
                  <a:pt x="245850" y="101072"/>
                </a:cubicBezTo>
                <a:cubicBezTo>
                  <a:pt x="247129" y="103235"/>
                  <a:pt x="247915" y="105575"/>
                  <a:pt x="248037" y="107973"/>
                </a:cubicBezTo>
                <a:cubicBezTo>
                  <a:pt x="258268" y="109553"/>
                  <a:pt x="268981" y="102051"/>
                  <a:pt x="274232" y="89778"/>
                </a:cubicBezTo>
                <a:cubicBezTo>
                  <a:pt x="278708" y="77339"/>
                  <a:pt x="274020" y="63056"/>
                  <a:pt x="262316" y="55834"/>
                </a:cubicBezTo>
                <a:cubicBezTo>
                  <a:pt x="257734" y="53007"/>
                  <a:pt x="252666" y="51626"/>
                  <a:pt x="247691" y="52231"/>
                </a:cubicBezTo>
                <a:cubicBezTo>
                  <a:pt x="248705" y="60913"/>
                  <a:pt x="245967" y="69020"/>
                  <a:pt x="239739" y="74185"/>
                </a:cubicBezTo>
                <a:lnTo>
                  <a:pt x="237649" y="71664"/>
                </a:lnTo>
                <a:cubicBezTo>
                  <a:pt x="244579" y="65918"/>
                  <a:pt x="246481" y="55888"/>
                  <a:pt x="243151" y="45920"/>
                </a:cubicBezTo>
                <a:cubicBezTo>
                  <a:pt x="241194" y="40124"/>
                  <a:pt x="237183" y="35004"/>
                  <a:pt x="231542" y="31523"/>
                </a:cubicBezTo>
                <a:cubicBezTo>
                  <a:pt x="221392" y="25261"/>
                  <a:pt x="208864" y="26095"/>
                  <a:pt x="199763" y="32668"/>
                </a:cubicBezTo>
                <a:lnTo>
                  <a:pt x="194721" y="27952"/>
                </a:lnTo>
                <a:cubicBezTo>
                  <a:pt x="189842" y="24941"/>
                  <a:pt x="184271" y="23995"/>
                  <a:pt x="179076" y="24908"/>
                </a:cubicBezTo>
                <a:close/>
                <a:moveTo>
                  <a:pt x="190632" y="62"/>
                </a:moveTo>
                <a:cubicBezTo>
                  <a:pt x="300121" y="2329"/>
                  <a:pt x="391248" y="125645"/>
                  <a:pt x="309641" y="225160"/>
                </a:cubicBezTo>
                <a:cubicBezTo>
                  <a:pt x="282892" y="251229"/>
                  <a:pt x="279266" y="288859"/>
                  <a:pt x="302841" y="374772"/>
                </a:cubicBezTo>
                <a:lnTo>
                  <a:pt x="121266" y="376812"/>
                </a:lnTo>
                <a:lnTo>
                  <a:pt x="109025" y="322355"/>
                </a:lnTo>
                <a:cubicBezTo>
                  <a:pt x="76580" y="333165"/>
                  <a:pt x="40716" y="329924"/>
                  <a:pt x="28778" y="318327"/>
                </a:cubicBezTo>
                <a:cubicBezTo>
                  <a:pt x="22923" y="311868"/>
                  <a:pt x="25422" y="291738"/>
                  <a:pt x="32859" y="276164"/>
                </a:cubicBezTo>
                <a:cubicBezTo>
                  <a:pt x="35235" y="270344"/>
                  <a:pt x="23179" y="268321"/>
                  <a:pt x="20618" y="259843"/>
                </a:cubicBezTo>
                <a:cubicBezTo>
                  <a:pt x="19440" y="251965"/>
                  <a:pt x="27377" y="251682"/>
                  <a:pt x="30757" y="247602"/>
                </a:cubicBezTo>
                <a:lnTo>
                  <a:pt x="18516" y="238938"/>
                </a:lnTo>
                <a:cubicBezTo>
                  <a:pt x="12669" y="232923"/>
                  <a:pt x="25811" y="221592"/>
                  <a:pt x="29458" y="212919"/>
                </a:cubicBezTo>
                <a:cubicBezTo>
                  <a:pt x="16679" y="208924"/>
                  <a:pt x="7006" y="203466"/>
                  <a:pt x="307" y="196983"/>
                </a:cubicBezTo>
                <a:cubicBezTo>
                  <a:pt x="-2572" y="186228"/>
                  <a:pt x="15339" y="171234"/>
                  <a:pt x="31089" y="151672"/>
                </a:cubicBezTo>
                <a:cubicBezTo>
                  <a:pt x="47602" y="132201"/>
                  <a:pt x="33821" y="117353"/>
                  <a:pt x="46470" y="75544"/>
                </a:cubicBezTo>
                <a:cubicBezTo>
                  <a:pt x="66559" y="23813"/>
                  <a:pt x="114124" y="-1423"/>
                  <a:pt x="190632" y="62"/>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p>
        </p:txBody>
      </p:sp>
      <p:sp>
        <p:nvSpPr>
          <p:cNvPr id="71" name="Oval 8">
            <a:extLst>
              <a:ext uri="{FF2B5EF4-FFF2-40B4-BE49-F238E27FC236}">
                <a16:creationId xmlns:a16="http://schemas.microsoft.com/office/drawing/2014/main" id="{E3D5639C-49CF-43D9-965F-7653D69F451F}"/>
              </a:ext>
            </a:extLst>
          </p:cNvPr>
          <p:cNvSpPr/>
          <p:nvPr/>
        </p:nvSpPr>
        <p:spPr>
          <a:xfrm>
            <a:off x="6965134" y="1671267"/>
            <a:ext cx="581741" cy="623206"/>
          </a:xfrm>
          <a:custGeom>
            <a:rect l="l" t="t" r="r" b="b"/>
            <a:pathLst>
              <a:path w="3068057" h="3083879">
                <a:moveTo>
                  <a:pt x="1943022" y="0"/>
                </a:moveTo>
                <a:cubicBezTo>
                  <a:pt x="2091435" y="0"/>
                  <a:pt x="2214809" y="107202"/>
                  <a:pt x="2232575" y="249298"/>
                </a:cubicBezTo>
                <a:cubicBezTo>
                  <a:pt x="2066806" y="323095"/>
                  <a:pt x="1966497" y="475331"/>
                  <a:pt x="1992863" y="623272"/>
                </a:cubicBezTo>
                <a:lnTo>
                  <a:pt x="2032344" y="614884"/>
                </a:lnTo>
                <a:cubicBezTo>
                  <a:pt x="2007703" y="472429"/>
                  <a:pt x="2119863" y="324636"/>
                  <a:pt x="2294697" y="266187"/>
                </a:cubicBezTo>
                <a:cubicBezTo>
                  <a:pt x="2304190" y="260641"/>
                  <a:pt x="2314409" y="260119"/>
                  <a:pt x="2324748" y="260119"/>
                </a:cubicBezTo>
                <a:cubicBezTo>
                  <a:pt x="2491310" y="260119"/>
                  <a:pt x="2626336" y="395145"/>
                  <a:pt x="2626336" y="561708"/>
                </a:cubicBezTo>
                <a:lnTo>
                  <a:pt x="2609021" y="647481"/>
                </a:lnTo>
                <a:lnTo>
                  <a:pt x="2626336" y="647481"/>
                </a:lnTo>
                <a:lnTo>
                  <a:pt x="2626336" y="656343"/>
                </a:lnTo>
                <a:cubicBezTo>
                  <a:pt x="2762823" y="669742"/>
                  <a:pt x="2867295" y="786613"/>
                  <a:pt x="2867295" y="927882"/>
                </a:cubicBezTo>
                <a:lnTo>
                  <a:pt x="2850464" y="1011252"/>
                </a:lnTo>
                <a:cubicBezTo>
                  <a:pt x="2978255" y="1064152"/>
                  <a:pt x="3068057" y="1190111"/>
                  <a:pt x="3068057" y="1337042"/>
                </a:cubicBezTo>
                <a:cubicBezTo>
                  <a:pt x="3068057" y="1418703"/>
                  <a:pt x="3040320" y="1493884"/>
                  <a:pt x="2992210" y="1551889"/>
                </a:cubicBezTo>
                <a:cubicBezTo>
                  <a:pt x="2909241" y="1651289"/>
                  <a:pt x="2791782" y="1696238"/>
                  <a:pt x="2686704" y="1660749"/>
                </a:cubicBezTo>
                <a:lnTo>
                  <a:pt x="2673794" y="1698968"/>
                </a:lnTo>
                <a:cubicBezTo>
                  <a:pt x="2768232" y="1730865"/>
                  <a:pt x="2870956" y="1707121"/>
                  <a:pt x="2955415" y="1640323"/>
                </a:cubicBezTo>
                <a:cubicBezTo>
                  <a:pt x="2993943" y="1688574"/>
                  <a:pt x="3012247" y="1750635"/>
                  <a:pt x="3012247" y="1816968"/>
                </a:cubicBezTo>
                <a:cubicBezTo>
                  <a:pt x="3012247" y="1986406"/>
                  <a:pt x="2892829" y="2127952"/>
                  <a:pt x="2733451" y="2161496"/>
                </a:cubicBezTo>
                <a:cubicBezTo>
                  <a:pt x="2570803" y="2185843"/>
                  <a:pt x="2422847" y="2122052"/>
                  <a:pt x="2373218" y="2004561"/>
                </a:cubicBezTo>
                <a:cubicBezTo>
                  <a:pt x="2397575" y="1987765"/>
                  <a:pt x="2417022" y="1964396"/>
                  <a:pt x="2431421" y="1936987"/>
                </a:cubicBezTo>
                <a:cubicBezTo>
                  <a:pt x="2469123" y="1865220"/>
                  <a:pt x="2466430" y="1776674"/>
                  <a:pt x="2424327" y="1703750"/>
                </a:cubicBezTo>
                <a:lnTo>
                  <a:pt x="2390880" y="1723060"/>
                </a:lnTo>
                <a:cubicBezTo>
                  <a:pt x="2426033" y="1783948"/>
                  <a:pt x="2428758" y="1857660"/>
                  <a:pt x="2398065" y="1917447"/>
                </a:cubicBezTo>
                <a:cubicBezTo>
                  <a:pt x="2386618" y="1939743"/>
                  <a:pt x="2371177" y="1958844"/>
                  <a:pt x="2348681" y="1969064"/>
                </a:cubicBezTo>
                <a:lnTo>
                  <a:pt x="2314536" y="1978212"/>
                </a:lnTo>
                <a:lnTo>
                  <a:pt x="2320989" y="1994504"/>
                </a:lnTo>
                <a:cubicBezTo>
                  <a:pt x="2292439" y="2010252"/>
                  <a:pt x="2259301" y="2017439"/>
                  <a:pt x="2224883" y="2015050"/>
                </a:cubicBezTo>
                <a:cubicBezTo>
                  <a:pt x="2157880" y="2010397"/>
                  <a:pt x="2096183" y="1970105"/>
                  <a:pt x="2062112" y="1908746"/>
                </a:cubicBezTo>
                <a:lnTo>
                  <a:pt x="2028307" y="1927422"/>
                </a:lnTo>
                <a:cubicBezTo>
                  <a:pt x="2069101" y="2000945"/>
                  <a:pt x="2143517" y="2048870"/>
                  <a:pt x="2224395" y="2053708"/>
                </a:cubicBezTo>
                <a:cubicBezTo>
                  <a:pt x="2263912" y="2056070"/>
                  <a:pt x="2302036" y="2047984"/>
                  <a:pt x="2335071" y="2030056"/>
                </a:cubicBezTo>
                <a:cubicBezTo>
                  <a:pt x="2400196" y="2159379"/>
                  <a:pt x="2567325" y="2230480"/>
                  <a:pt x="2748680" y="2204554"/>
                </a:cubicBezTo>
                <a:cubicBezTo>
                  <a:pt x="2767068" y="2240602"/>
                  <a:pt x="2774723" y="2281713"/>
                  <a:pt x="2774723" y="2324613"/>
                </a:cubicBezTo>
                <a:cubicBezTo>
                  <a:pt x="2774723" y="2444667"/>
                  <a:pt x="2714770" y="2550720"/>
                  <a:pt x="2619461" y="2609132"/>
                </a:cubicBezTo>
                <a:cubicBezTo>
                  <a:pt x="2594093" y="2739763"/>
                  <a:pt x="2496512" y="2844553"/>
                  <a:pt x="2368919" y="2876858"/>
                </a:cubicBezTo>
                <a:cubicBezTo>
                  <a:pt x="2184369" y="2908073"/>
                  <a:pt x="2016372" y="2826285"/>
                  <a:pt x="1978290" y="2684161"/>
                </a:cubicBezTo>
                <a:lnTo>
                  <a:pt x="1939323" y="2694602"/>
                </a:lnTo>
                <a:cubicBezTo>
                  <a:pt x="1970494" y="2810931"/>
                  <a:pt x="2075973" y="2892306"/>
                  <a:pt x="2210223" y="2912307"/>
                </a:cubicBezTo>
                <a:cubicBezTo>
                  <a:pt x="2165434" y="3014618"/>
                  <a:pt x="2062317" y="3083879"/>
                  <a:pt x="1943022" y="3083879"/>
                </a:cubicBezTo>
                <a:cubicBezTo>
                  <a:pt x="1804718" y="3083879"/>
                  <a:pt x="1736151" y="2990782"/>
                  <a:pt x="1657612" y="2862428"/>
                </a:cubicBezTo>
                <a:cubicBezTo>
                  <a:pt x="1632100" y="2775963"/>
                  <a:pt x="1598588" y="2449530"/>
                  <a:pt x="1653064" y="2147091"/>
                </a:cubicBezTo>
                <a:cubicBezTo>
                  <a:pt x="1775302" y="2294672"/>
                  <a:pt x="1947360" y="2360889"/>
                  <a:pt x="2101389" y="2319520"/>
                </a:cubicBezTo>
                <a:lnTo>
                  <a:pt x="2085913" y="2268654"/>
                </a:lnTo>
                <a:cubicBezTo>
                  <a:pt x="1935632" y="2308197"/>
                  <a:pt x="1765039" y="2228547"/>
                  <a:pt x="1652548" y="2065927"/>
                </a:cubicBezTo>
                <a:cubicBezTo>
                  <a:pt x="1594744" y="1988631"/>
                  <a:pt x="1552933" y="1543383"/>
                  <a:pt x="1647107" y="1210118"/>
                </a:cubicBezTo>
                <a:cubicBezTo>
                  <a:pt x="1757451" y="1073526"/>
                  <a:pt x="1924310" y="1023711"/>
                  <a:pt x="2044795" y="1095494"/>
                </a:cubicBezTo>
                <a:lnTo>
                  <a:pt x="2046624" y="1092427"/>
                </a:lnTo>
                <a:cubicBezTo>
                  <a:pt x="2044963" y="1115904"/>
                  <a:pt x="2049817" y="1139574"/>
                  <a:pt x="2059741" y="1162003"/>
                </a:cubicBezTo>
                <a:cubicBezTo>
                  <a:pt x="2085174" y="1219476"/>
                  <a:pt x="2140055" y="1259997"/>
                  <a:pt x="2204060" y="1268556"/>
                </a:cubicBezTo>
                <a:lnTo>
                  <a:pt x="2208020" y="1238949"/>
                </a:lnTo>
                <a:cubicBezTo>
                  <a:pt x="2154665" y="1231814"/>
                  <a:pt x="2108853" y="1198319"/>
                  <a:pt x="2087448" y="1150798"/>
                </a:cubicBezTo>
                <a:cubicBezTo>
                  <a:pt x="2064784" y="1100476"/>
                  <a:pt x="2073123" y="1042569"/>
                  <a:pt x="2109077" y="1000639"/>
                </a:cubicBezTo>
                <a:cubicBezTo>
                  <a:pt x="2142987" y="961090"/>
                  <a:pt x="2196315" y="941798"/>
                  <a:pt x="2249471" y="949847"/>
                </a:cubicBezTo>
                <a:lnTo>
                  <a:pt x="2253988" y="920317"/>
                </a:lnTo>
                <a:cubicBezTo>
                  <a:pt x="2190211" y="910645"/>
                  <a:pt x="2126205" y="934132"/>
                  <a:pt x="2085632" y="982099"/>
                </a:cubicBezTo>
                <a:lnTo>
                  <a:pt x="2052614" y="1055246"/>
                </a:lnTo>
                <a:cubicBezTo>
                  <a:pt x="1928226" y="988072"/>
                  <a:pt x="1765306" y="1028878"/>
                  <a:pt x="1646726" y="1149851"/>
                </a:cubicBezTo>
                <a:cubicBezTo>
                  <a:pt x="1576863" y="1018908"/>
                  <a:pt x="1584053" y="461235"/>
                  <a:pt x="1633436" y="269593"/>
                </a:cubicBezTo>
                <a:cubicBezTo>
                  <a:pt x="1697428" y="119029"/>
                  <a:pt x="1776459" y="0"/>
                  <a:pt x="1943022" y="0"/>
                </a:cubicBezTo>
                <a:close/>
                <a:moveTo>
                  <a:pt x="1125035" y="0"/>
                </a:moveTo>
                <a:cubicBezTo>
                  <a:pt x="1263339" y="0"/>
                  <a:pt x="1331906" y="93097"/>
                  <a:pt x="1410445" y="221451"/>
                </a:cubicBezTo>
                <a:cubicBezTo>
                  <a:pt x="1435957" y="307916"/>
                  <a:pt x="1469469" y="634350"/>
                  <a:pt x="1414993" y="936788"/>
                </a:cubicBezTo>
                <a:cubicBezTo>
                  <a:pt x="1292755" y="789207"/>
                  <a:pt x="1120697" y="722990"/>
                  <a:pt x="966668" y="764359"/>
                </a:cubicBezTo>
                <a:lnTo>
                  <a:pt x="982144" y="815225"/>
                </a:lnTo>
                <a:cubicBezTo>
                  <a:pt x="1132425" y="775682"/>
                  <a:pt x="1303018" y="855332"/>
                  <a:pt x="1415509" y="1017952"/>
                </a:cubicBezTo>
                <a:cubicBezTo>
                  <a:pt x="1473313" y="1095249"/>
                  <a:pt x="1515123" y="1540497"/>
                  <a:pt x="1420950" y="1873762"/>
                </a:cubicBezTo>
                <a:cubicBezTo>
                  <a:pt x="1310606" y="2010353"/>
                  <a:pt x="1143747" y="2060168"/>
                  <a:pt x="1023262" y="1988385"/>
                </a:cubicBezTo>
                <a:lnTo>
                  <a:pt x="1021433" y="1991453"/>
                </a:lnTo>
                <a:cubicBezTo>
                  <a:pt x="1023094" y="1967976"/>
                  <a:pt x="1018240" y="1944306"/>
                  <a:pt x="1008316" y="1921877"/>
                </a:cubicBezTo>
                <a:cubicBezTo>
                  <a:pt x="982883" y="1864403"/>
                  <a:pt x="928002" y="1823883"/>
                  <a:pt x="863997" y="1815323"/>
                </a:cubicBezTo>
                <a:lnTo>
                  <a:pt x="860037" y="1844930"/>
                </a:lnTo>
                <a:cubicBezTo>
                  <a:pt x="913392" y="1852066"/>
                  <a:pt x="959204" y="1885560"/>
                  <a:pt x="980609" y="1933082"/>
                </a:cubicBezTo>
                <a:cubicBezTo>
                  <a:pt x="1003273" y="1983404"/>
                  <a:pt x="994934" y="2041310"/>
                  <a:pt x="958980" y="2083241"/>
                </a:cubicBezTo>
                <a:cubicBezTo>
                  <a:pt x="925070" y="2122789"/>
                  <a:pt x="871742" y="2142082"/>
                  <a:pt x="818586" y="2134033"/>
                </a:cubicBezTo>
                <a:lnTo>
                  <a:pt x="814069" y="2163562"/>
                </a:lnTo>
                <a:cubicBezTo>
                  <a:pt x="877846" y="2173235"/>
                  <a:pt x="941852" y="2149747"/>
                  <a:pt x="982425" y="2101780"/>
                </a:cubicBezTo>
                <a:lnTo>
                  <a:pt x="1015443" y="2028633"/>
                </a:lnTo>
                <a:cubicBezTo>
                  <a:pt x="1139831" y="2095808"/>
                  <a:pt x="1302751" y="2055001"/>
                  <a:pt x="1421331" y="1934029"/>
                </a:cubicBezTo>
                <a:cubicBezTo>
                  <a:pt x="1491194" y="2064971"/>
                  <a:pt x="1484003" y="2622644"/>
                  <a:pt x="1434621" y="2814287"/>
                </a:cubicBezTo>
                <a:cubicBezTo>
                  <a:pt x="1370629" y="2964850"/>
                  <a:pt x="1291598" y="3083879"/>
                  <a:pt x="1125035" y="3083879"/>
                </a:cubicBezTo>
                <a:cubicBezTo>
                  <a:pt x="976622" y="3083879"/>
                  <a:pt x="853248" y="2976677"/>
                  <a:pt x="835482" y="2834581"/>
                </a:cubicBezTo>
                <a:cubicBezTo>
                  <a:pt x="1001251" y="2760784"/>
                  <a:pt x="1101560" y="2608549"/>
                  <a:pt x="1075194" y="2460607"/>
                </a:cubicBezTo>
                <a:lnTo>
                  <a:pt x="1035713" y="2468996"/>
                </a:lnTo>
                <a:cubicBezTo>
                  <a:pt x="1060354" y="2611450"/>
                  <a:pt x="948194" y="2759243"/>
                  <a:pt x="773360" y="2817692"/>
                </a:cubicBezTo>
                <a:cubicBezTo>
                  <a:pt x="763867" y="2823239"/>
                  <a:pt x="753648" y="2823760"/>
                  <a:pt x="743309" y="2823760"/>
                </a:cubicBezTo>
                <a:cubicBezTo>
                  <a:pt x="576747" y="2823760"/>
                  <a:pt x="441721" y="2688734"/>
                  <a:pt x="441721" y="2522172"/>
                </a:cubicBezTo>
                <a:lnTo>
                  <a:pt x="459036" y="2436399"/>
                </a:lnTo>
                <a:lnTo>
                  <a:pt x="441721" y="2436399"/>
                </a:lnTo>
                <a:lnTo>
                  <a:pt x="441721" y="2427537"/>
                </a:lnTo>
                <a:cubicBezTo>
                  <a:pt x="305234" y="2414137"/>
                  <a:pt x="200762" y="2297266"/>
                  <a:pt x="200762" y="2155997"/>
                </a:cubicBezTo>
                <a:lnTo>
                  <a:pt x="217593" y="2072628"/>
                </a:lnTo>
                <a:cubicBezTo>
                  <a:pt x="89802" y="2019727"/>
                  <a:pt x="0" y="1893768"/>
                  <a:pt x="0" y="1746838"/>
                </a:cubicBezTo>
                <a:cubicBezTo>
                  <a:pt x="0" y="1665177"/>
                  <a:pt x="27737" y="1589996"/>
                  <a:pt x="75847" y="1531990"/>
                </a:cubicBezTo>
                <a:cubicBezTo>
                  <a:pt x="158816" y="1432590"/>
                  <a:pt x="276275" y="1387641"/>
                  <a:pt x="381353" y="1423131"/>
                </a:cubicBezTo>
                <a:lnTo>
                  <a:pt x="394263" y="1384911"/>
                </a:lnTo>
                <a:cubicBezTo>
                  <a:pt x="299825" y="1353014"/>
                  <a:pt x="197101" y="1376758"/>
                  <a:pt x="112642" y="1443556"/>
                </a:cubicBezTo>
                <a:cubicBezTo>
                  <a:pt x="74114" y="1395305"/>
                  <a:pt x="55810" y="1333244"/>
                  <a:pt x="55810" y="1266911"/>
                </a:cubicBezTo>
                <a:cubicBezTo>
                  <a:pt x="55810" y="1097473"/>
                  <a:pt x="175228" y="955927"/>
                  <a:pt x="334606" y="922383"/>
                </a:cubicBezTo>
                <a:cubicBezTo>
                  <a:pt x="497254" y="898036"/>
                  <a:pt x="645210" y="961827"/>
                  <a:pt x="694839" y="1079319"/>
                </a:cubicBezTo>
                <a:cubicBezTo>
                  <a:pt x="670482" y="1096114"/>
                  <a:pt x="651035" y="1119484"/>
                  <a:pt x="636636" y="1146893"/>
                </a:cubicBezTo>
                <a:cubicBezTo>
                  <a:pt x="598934" y="1218660"/>
                  <a:pt x="601627" y="1307205"/>
                  <a:pt x="643730" y="1380130"/>
                </a:cubicBezTo>
                <a:lnTo>
                  <a:pt x="677177" y="1360819"/>
                </a:lnTo>
                <a:cubicBezTo>
                  <a:pt x="642024" y="1299932"/>
                  <a:pt x="639299" y="1226219"/>
                  <a:pt x="669992" y="1166433"/>
                </a:cubicBezTo>
                <a:cubicBezTo>
                  <a:pt x="681439" y="1144136"/>
                  <a:pt x="696880" y="1125036"/>
                  <a:pt x="719376" y="1114815"/>
                </a:cubicBezTo>
                <a:lnTo>
                  <a:pt x="753521" y="1105667"/>
                </a:lnTo>
                <a:lnTo>
                  <a:pt x="747068" y="1089375"/>
                </a:lnTo>
                <a:cubicBezTo>
                  <a:pt x="775618" y="1073627"/>
                  <a:pt x="808756" y="1066440"/>
                  <a:pt x="843174" y="1068829"/>
                </a:cubicBezTo>
                <a:cubicBezTo>
                  <a:pt x="910177" y="1073482"/>
                  <a:pt x="971874" y="1113774"/>
                  <a:pt x="1005945" y="1175134"/>
                </a:cubicBezTo>
                <a:lnTo>
                  <a:pt x="1039750" y="1156458"/>
                </a:lnTo>
                <a:cubicBezTo>
                  <a:pt x="998956" y="1082934"/>
                  <a:pt x="924540" y="1035010"/>
                  <a:pt x="843662" y="1030172"/>
                </a:cubicBezTo>
                <a:cubicBezTo>
                  <a:pt x="804145" y="1027809"/>
                  <a:pt x="766021" y="1035895"/>
                  <a:pt x="732986" y="1053824"/>
                </a:cubicBezTo>
                <a:cubicBezTo>
                  <a:pt x="667861" y="924500"/>
                  <a:pt x="500732" y="853399"/>
                  <a:pt x="319377" y="879325"/>
                </a:cubicBezTo>
                <a:cubicBezTo>
                  <a:pt x="300989" y="843277"/>
                  <a:pt x="293334" y="802167"/>
                  <a:pt x="293334" y="759266"/>
                </a:cubicBezTo>
                <a:cubicBezTo>
                  <a:pt x="293334" y="639212"/>
                  <a:pt x="353287" y="533159"/>
                  <a:pt x="448596" y="474747"/>
                </a:cubicBezTo>
                <a:cubicBezTo>
                  <a:pt x="473964" y="344116"/>
                  <a:pt x="571545" y="239326"/>
                  <a:pt x="699138" y="207021"/>
                </a:cubicBezTo>
                <a:cubicBezTo>
                  <a:pt x="883688" y="175806"/>
                  <a:pt x="1051685" y="257594"/>
                  <a:pt x="1089767" y="399718"/>
                </a:cubicBezTo>
                <a:lnTo>
                  <a:pt x="1128734" y="389277"/>
                </a:lnTo>
                <a:cubicBezTo>
                  <a:pt x="1097563" y="272948"/>
                  <a:pt x="992084" y="191573"/>
                  <a:pt x="857834" y="171572"/>
                </a:cubicBezTo>
                <a:cubicBezTo>
                  <a:pt x="902623" y="69261"/>
                  <a:pt x="1005740" y="0"/>
                  <a:pt x="1125035" y="0"/>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p>
        </p:txBody>
      </p:sp>
      <p:grpSp>
        <p:nvGrpSpPr>
          <p:cNvPr id="72" name="Group 110">
            <a:extLst>
              <a:ext uri="{FF2B5EF4-FFF2-40B4-BE49-F238E27FC236}">
                <a16:creationId xmlns:a16="http://schemas.microsoft.com/office/drawing/2014/main" id="{D519BD50-C580-4623-8810-E04695FA5F45}"/>
              </a:ext>
            </a:extLst>
          </p:cNvPr>
          <p:cNvGrpSpPr/>
          <p:nvPr/>
        </p:nvGrpSpPr>
        <p:grpSpPr>
          <a:xfrm>
            <a:off x="5116323" y="1656750"/>
            <a:ext cx="553825" cy="652237"/>
            <a:chOff x="4835382" y="73243"/>
            <a:chExt cx="2920830" cy="3227535"/>
          </a:xfrm>
          <a:solidFill>
            <a:srgbClr val="00677F"/>
          </a:solidFill>
        </p:grpSpPr>
        <p:sp>
          <p:nvSpPr>
            <p:cNvPr id="73" name="Freeform 111">
              <a:extLst>
                <a:ext uri="{FF2B5EF4-FFF2-40B4-BE49-F238E27FC236}">
                  <a16:creationId xmlns:a16="http://schemas.microsoft.com/office/drawing/2014/main" id="{BBCCCC44-B257-423A-BB40-01303C1A40E8}"/>
                </a:ext>
              </a:extLst>
            </p:cNvPr>
            <p:cNvSpPr/>
            <p:nvPr/>
          </p:nvSpPr>
          <p:spPr>
            <a:xfrm>
              <a:off x="4835382" y="73243"/>
              <a:ext cx="2920830" cy="3227535"/>
            </a:xfrm>
            <a:custGeom>
              <a:gdLst>
                <a:gd name="connsiteX0" fmla="*/ 2980491 w 5331558"/>
                <a:gd name="connsiteY0" fmla="*/ 968 h 5891405"/>
                <a:gd name="connsiteX1" fmla="*/ 726547 w 5331558"/>
                <a:gd name="connsiteY1" fmla="*/ 1181117 h 5891405"/>
                <a:gd name="connsiteX2" fmla="*/ 486068 w 5331558"/>
                <a:gd name="connsiteY2" fmla="*/ 2371366 h 5891405"/>
                <a:gd name="connsiteX3" fmla="*/ 4803 w 5331558"/>
                <a:gd name="connsiteY3" fmla="*/ 3079808 h 5891405"/>
                <a:gd name="connsiteX4" fmla="*/ 460575 w 5331558"/>
                <a:gd name="connsiteY4" fmla="*/ 3328959 h 5891405"/>
                <a:gd name="connsiteX5" fmla="*/ 289487 w 5331558"/>
                <a:gd name="connsiteY5" fmla="*/ 3735758 h 5891405"/>
                <a:gd name="connsiteX6" fmla="*/ 480873 w 5331558"/>
                <a:gd name="connsiteY6" fmla="*/ 3871219 h 5891405"/>
                <a:gd name="connsiteX7" fmla="*/ 322351 w 5331558"/>
                <a:gd name="connsiteY7" fmla="*/ 4062605 h 5891405"/>
                <a:gd name="connsiteX8" fmla="*/ 513737 w 5331558"/>
                <a:gd name="connsiteY8" fmla="*/ 4317787 h 5891405"/>
                <a:gd name="connsiteX9" fmla="*/ 449942 w 5331558"/>
                <a:gd name="connsiteY9" fmla="*/ 4977005 h 5891405"/>
                <a:gd name="connsiteX10" fmla="*/ 1704584 w 5331558"/>
                <a:gd name="connsiteY10" fmla="*/ 5039972 h 5891405"/>
                <a:gd name="connsiteX11" fmla="*/ 1895970 w 5331558"/>
                <a:gd name="connsiteY11" fmla="*/ 5891405 h 5891405"/>
                <a:gd name="connsiteX12" fmla="*/ 4734863 w 5331558"/>
                <a:gd name="connsiteY12" fmla="*/ 5859508 h 5891405"/>
                <a:gd name="connsiteX13" fmla="*/ 4841189 w 5331558"/>
                <a:gd name="connsiteY13" fmla="*/ 3520345 h 5891405"/>
                <a:gd name="connsiteX14" fmla="*/ 2980491 w 5331558"/>
                <a:gd name="connsiteY14" fmla="*/ 968 h 589140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31558" h="5891405">
                  <a:moveTo>
                    <a:pt x="2980491" y="968"/>
                  </a:moveTo>
                  <a:cubicBezTo>
                    <a:pt x="1784302" y="-22254"/>
                    <a:pt x="1040642" y="372305"/>
                    <a:pt x="726547" y="1181117"/>
                  </a:cubicBezTo>
                  <a:cubicBezTo>
                    <a:pt x="528785" y="1834793"/>
                    <a:pt x="744238" y="2066938"/>
                    <a:pt x="486068" y="2371366"/>
                  </a:cubicBezTo>
                  <a:cubicBezTo>
                    <a:pt x="239818" y="2677225"/>
                    <a:pt x="-40213" y="2911644"/>
                    <a:pt x="4803" y="3079808"/>
                  </a:cubicBezTo>
                  <a:cubicBezTo>
                    <a:pt x="109541" y="3181162"/>
                    <a:pt x="260766" y="3266498"/>
                    <a:pt x="460575" y="3328959"/>
                  </a:cubicBezTo>
                  <a:cubicBezTo>
                    <a:pt x="403546" y="3464559"/>
                    <a:pt x="198074" y="3641722"/>
                    <a:pt x="289487" y="3735758"/>
                  </a:cubicBezTo>
                  <a:lnTo>
                    <a:pt x="480873" y="3871219"/>
                  </a:lnTo>
                  <a:cubicBezTo>
                    <a:pt x="428032" y="3935014"/>
                    <a:pt x="303940" y="3939433"/>
                    <a:pt x="322351" y="4062605"/>
                  </a:cubicBezTo>
                  <a:cubicBezTo>
                    <a:pt x="362395" y="4195168"/>
                    <a:pt x="550882" y="4226788"/>
                    <a:pt x="513737" y="4317787"/>
                  </a:cubicBezTo>
                  <a:cubicBezTo>
                    <a:pt x="397470" y="4561276"/>
                    <a:pt x="358392" y="4876020"/>
                    <a:pt x="449942" y="4977005"/>
                  </a:cubicBezTo>
                  <a:cubicBezTo>
                    <a:pt x="636587" y="5158310"/>
                    <a:pt x="1197305" y="5208988"/>
                    <a:pt x="1704584" y="5039972"/>
                  </a:cubicBezTo>
                  <a:lnTo>
                    <a:pt x="1895970" y="5891405"/>
                  </a:lnTo>
                  <a:lnTo>
                    <a:pt x="4734863" y="5859508"/>
                  </a:lnTo>
                  <a:cubicBezTo>
                    <a:pt x="4366268" y="4516262"/>
                    <a:pt x="4422975" y="3927926"/>
                    <a:pt x="4841189" y="3520345"/>
                  </a:cubicBezTo>
                  <a:cubicBezTo>
                    <a:pt x="6117095" y="1964448"/>
                    <a:pt x="4692333" y="36409"/>
                    <a:pt x="2980491" y="96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p>
          </p:txBody>
        </p:sp>
        <p:sp>
          <p:nvSpPr>
            <p:cNvPr id="74" name="Oval 37">
              <a:extLst>
                <a:ext uri="{FF2B5EF4-FFF2-40B4-BE49-F238E27FC236}">
                  <a16:creationId xmlns:a16="http://schemas.microsoft.com/office/drawing/2014/main" id="{0711327E-9191-4394-B64D-73AD56C41377}"/>
                </a:ext>
              </a:extLst>
            </p:cNvPr>
            <p:cNvSpPr/>
            <p:nvPr/>
          </p:nvSpPr>
          <p:spPr>
            <a:xfrm rot="18100542">
              <a:off x="5907878" y="-58593"/>
              <a:ext cx="1436045" cy="2141152"/>
            </a:xfrm>
            <a:custGeom>
              <a:rect l="l" t="t" r="r" b="b"/>
              <a:pathLst>
                <a:path w="1170491" h="1745208">
                  <a:moveTo>
                    <a:pt x="429221" y="671495"/>
                  </a:moveTo>
                  <a:cubicBezTo>
                    <a:pt x="415869" y="670322"/>
                    <a:pt x="402356" y="670624"/>
                    <a:pt x="388917" y="672439"/>
                  </a:cubicBezTo>
                  <a:cubicBezTo>
                    <a:pt x="370997" y="674859"/>
                    <a:pt x="353207" y="679968"/>
                    <a:pt x="336101" y="687858"/>
                  </a:cubicBezTo>
                  <a:lnTo>
                    <a:pt x="344770" y="708640"/>
                  </a:lnTo>
                  <a:cubicBezTo>
                    <a:pt x="405276" y="680369"/>
                    <a:pt x="475531" y="691805"/>
                    <a:pt x="523918" y="737799"/>
                  </a:cubicBezTo>
                  <a:cubicBezTo>
                    <a:pt x="569388" y="781022"/>
                    <a:pt x="587723" y="847396"/>
                    <a:pt x="571504" y="910067"/>
                  </a:cubicBezTo>
                  <a:lnTo>
                    <a:pt x="593243" y="915886"/>
                  </a:lnTo>
                  <a:cubicBezTo>
                    <a:pt x="611678" y="844923"/>
                    <a:pt x="590662" y="769719"/>
                    <a:pt x="538740" y="720849"/>
                  </a:cubicBezTo>
                  <a:cubicBezTo>
                    <a:pt x="507886" y="691808"/>
                    <a:pt x="469277" y="675014"/>
                    <a:pt x="429221" y="671495"/>
                  </a:cubicBezTo>
                  <a:close/>
                  <a:moveTo>
                    <a:pt x="588421" y="580980"/>
                  </a:moveTo>
                  <a:cubicBezTo>
                    <a:pt x="534186" y="581239"/>
                    <a:pt x="482134" y="605639"/>
                    <a:pt x="446738" y="649695"/>
                  </a:cubicBezTo>
                  <a:lnTo>
                    <a:pt x="463760" y="664437"/>
                  </a:lnTo>
                  <a:cubicBezTo>
                    <a:pt x="505329" y="612166"/>
                    <a:pt x="573320" y="591099"/>
                    <a:pt x="637132" y="610714"/>
                  </a:cubicBezTo>
                  <a:cubicBezTo>
                    <a:pt x="697098" y="629147"/>
                    <a:pt x="743088" y="680397"/>
                    <a:pt x="756495" y="743730"/>
                  </a:cubicBezTo>
                  <a:lnTo>
                    <a:pt x="778549" y="739251"/>
                  </a:lnTo>
                  <a:cubicBezTo>
                    <a:pt x="763432" y="667508"/>
                    <a:pt x="711108" y="609548"/>
                    <a:pt x="642848" y="588934"/>
                  </a:cubicBezTo>
                  <a:cubicBezTo>
                    <a:pt x="624821" y="583490"/>
                    <a:pt x="606500" y="580894"/>
                    <a:pt x="588421" y="580980"/>
                  </a:cubicBezTo>
                  <a:close/>
                  <a:moveTo>
                    <a:pt x="533817" y="0"/>
                  </a:moveTo>
                  <a:cubicBezTo>
                    <a:pt x="617807" y="1"/>
                    <a:pt x="687626" y="60667"/>
                    <a:pt x="697680" y="141081"/>
                  </a:cubicBezTo>
                  <a:cubicBezTo>
                    <a:pt x="603869" y="182843"/>
                    <a:pt x="547102" y="268997"/>
                    <a:pt x="562024" y="352718"/>
                  </a:cubicBezTo>
                  <a:lnTo>
                    <a:pt x="584367" y="347971"/>
                  </a:lnTo>
                  <a:cubicBezTo>
                    <a:pt x="570422" y="267354"/>
                    <a:pt x="633895" y="183716"/>
                    <a:pt x="732836" y="150639"/>
                  </a:cubicBezTo>
                  <a:cubicBezTo>
                    <a:pt x="738208" y="147500"/>
                    <a:pt x="743991" y="147205"/>
                    <a:pt x="749842" y="147205"/>
                  </a:cubicBezTo>
                  <a:cubicBezTo>
                    <a:pt x="844103" y="147205"/>
                    <a:pt x="920515" y="223618"/>
                    <a:pt x="920515" y="317877"/>
                  </a:cubicBezTo>
                  <a:lnTo>
                    <a:pt x="910716" y="366417"/>
                  </a:lnTo>
                  <a:lnTo>
                    <a:pt x="920515" y="366418"/>
                  </a:lnTo>
                  <a:lnTo>
                    <a:pt x="920515" y="371433"/>
                  </a:lnTo>
                  <a:cubicBezTo>
                    <a:pt x="997755" y="379016"/>
                    <a:pt x="1056877" y="445155"/>
                    <a:pt x="1056877" y="525101"/>
                  </a:cubicBezTo>
                  <a:lnTo>
                    <a:pt x="1047351" y="572282"/>
                  </a:lnTo>
                  <a:cubicBezTo>
                    <a:pt x="1119671" y="602218"/>
                    <a:pt x="1170491" y="673500"/>
                    <a:pt x="1170491" y="756650"/>
                  </a:cubicBezTo>
                  <a:cubicBezTo>
                    <a:pt x="1170490" y="802863"/>
                    <a:pt x="1154794" y="845409"/>
                    <a:pt x="1127569" y="878235"/>
                  </a:cubicBezTo>
                  <a:cubicBezTo>
                    <a:pt x="1080615" y="934488"/>
                    <a:pt x="1014142" y="959925"/>
                    <a:pt x="954678" y="939840"/>
                  </a:cubicBezTo>
                  <a:lnTo>
                    <a:pt x="947373" y="961469"/>
                  </a:lnTo>
                  <a:cubicBezTo>
                    <a:pt x="1000817" y="979520"/>
                    <a:pt x="1058949" y="966083"/>
                    <a:pt x="1106746" y="928282"/>
                  </a:cubicBezTo>
                  <a:cubicBezTo>
                    <a:pt x="1128548" y="955588"/>
                    <a:pt x="1138907" y="990708"/>
                    <a:pt x="1138907" y="1028247"/>
                  </a:cubicBezTo>
                  <a:cubicBezTo>
                    <a:pt x="1138907" y="1124134"/>
                    <a:pt x="1071328" y="1204237"/>
                    <a:pt x="981133" y="1223220"/>
                  </a:cubicBezTo>
                  <a:cubicBezTo>
                    <a:pt x="889088" y="1236998"/>
                    <a:pt x="805358" y="1200898"/>
                    <a:pt x="777272" y="1134408"/>
                  </a:cubicBezTo>
                  <a:cubicBezTo>
                    <a:pt x="791057" y="1124903"/>
                    <a:pt x="802061" y="1111678"/>
                    <a:pt x="810210" y="1096167"/>
                  </a:cubicBezTo>
                  <a:cubicBezTo>
                    <a:pt x="831546" y="1055553"/>
                    <a:pt x="830022" y="1005443"/>
                    <a:pt x="806195" y="964175"/>
                  </a:cubicBezTo>
                  <a:lnTo>
                    <a:pt x="787267" y="975103"/>
                  </a:lnTo>
                  <a:cubicBezTo>
                    <a:pt x="807161" y="1009560"/>
                    <a:pt x="808703" y="1051275"/>
                    <a:pt x="791333" y="1085110"/>
                  </a:cubicBezTo>
                  <a:cubicBezTo>
                    <a:pt x="784855" y="1097727"/>
                    <a:pt x="776117" y="1108536"/>
                    <a:pt x="763385" y="1114320"/>
                  </a:cubicBezTo>
                  <a:lnTo>
                    <a:pt x="744063" y="1119497"/>
                  </a:lnTo>
                  <a:lnTo>
                    <a:pt x="747716" y="1128718"/>
                  </a:lnTo>
                  <a:cubicBezTo>
                    <a:pt x="731558" y="1137628"/>
                    <a:pt x="712804" y="1141697"/>
                    <a:pt x="693327" y="1140344"/>
                  </a:cubicBezTo>
                  <a:cubicBezTo>
                    <a:pt x="655409" y="1137711"/>
                    <a:pt x="620494" y="1114908"/>
                    <a:pt x="601213" y="1080185"/>
                  </a:cubicBezTo>
                  <a:lnTo>
                    <a:pt x="582082" y="1090754"/>
                  </a:lnTo>
                  <a:cubicBezTo>
                    <a:pt x="605167" y="1132362"/>
                    <a:pt x="647281" y="1159482"/>
                    <a:pt x="693051" y="1162221"/>
                  </a:cubicBezTo>
                  <a:cubicBezTo>
                    <a:pt x="715413" y="1163558"/>
                    <a:pt x="736989" y="1158982"/>
                    <a:pt x="755684" y="1148835"/>
                  </a:cubicBezTo>
                  <a:cubicBezTo>
                    <a:pt x="792539" y="1222022"/>
                    <a:pt x="887119" y="1262260"/>
                    <a:pt x="989751" y="1247587"/>
                  </a:cubicBezTo>
                  <a:cubicBezTo>
                    <a:pt x="1000157" y="1267987"/>
                    <a:pt x="1004489" y="1291252"/>
                    <a:pt x="1004488" y="1315531"/>
                  </a:cubicBezTo>
                  <a:cubicBezTo>
                    <a:pt x="1004488" y="1381750"/>
                    <a:pt x="972258" y="1440443"/>
                    <a:pt x="920375" y="1473506"/>
                  </a:cubicBezTo>
                  <a:lnTo>
                    <a:pt x="913116" y="1474079"/>
                  </a:lnTo>
                  <a:cubicBezTo>
                    <a:pt x="850536" y="1469665"/>
                    <a:pt x="794159" y="1430126"/>
                    <a:pt x="766796" y="1371458"/>
                  </a:cubicBezTo>
                  <a:lnTo>
                    <a:pt x="746323" y="1380801"/>
                  </a:lnTo>
                  <a:cubicBezTo>
                    <a:pt x="776874" y="1446464"/>
                    <a:pt x="839753" y="1490827"/>
                    <a:pt x="909888" y="1496052"/>
                  </a:cubicBezTo>
                  <a:cubicBezTo>
                    <a:pt x="891948" y="1561049"/>
                    <a:pt x="840393" y="1611456"/>
                    <a:pt x="774838" y="1628054"/>
                  </a:cubicBezTo>
                  <a:cubicBezTo>
                    <a:pt x="686646" y="1642970"/>
                    <a:pt x="605133" y="1612285"/>
                    <a:pt x="571751" y="1552195"/>
                  </a:cubicBezTo>
                  <a:lnTo>
                    <a:pt x="550649" y="1566422"/>
                  </a:lnTo>
                  <a:cubicBezTo>
                    <a:pt x="577499" y="1609979"/>
                    <a:pt x="626419" y="1639383"/>
                    <a:pt x="685031" y="1648114"/>
                  </a:cubicBezTo>
                  <a:cubicBezTo>
                    <a:pt x="659684" y="1706013"/>
                    <a:pt x="601329" y="1745210"/>
                    <a:pt x="533818" y="1745209"/>
                  </a:cubicBezTo>
                  <a:cubicBezTo>
                    <a:pt x="455549" y="1745210"/>
                    <a:pt x="416747" y="1692524"/>
                    <a:pt x="372301" y="1619888"/>
                  </a:cubicBezTo>
                  <a:lnTo>
                    <a:pt x="366380" y="1592106"/>
                  </a:lnTo>
                  <a:cubicBezTo>
                    <a:pt x="305091" y="1567105"/>
                    <a:pt x="259811" y="1511085"/>
                    <a:pt x="250590" y="1443452"/>
                  </a:cubicBezTo>
                  <a:cubicBezTo>
                    <a:pt x="203712" y="1453117"/>
                    <a:pt x="158965" y="1444975"/>
                    <a:pt x="117260" y="1407178"/>
                  </a:cubicBezTo>
                  <a:cubicBezTo>
                    <a:pt x="55030" y="1350772"/>
                    <a:pt x="44039" y="1258933"/>
                    <a:pt x="90593" y="1192598"/>
                  </a:cubicBezTo>
                  <a:cubicBezTo>
                    <a:pt x="186799" y="1224213"/>
                    <a:pt x="285304" y="1199642"/>
                    <a:pt x="330760" y="1129474"/>
                  </a:cubicBezTo>
                  <a:lnTo>
                    <a:pt x="344999" y="1132822"/>
                  </a:lnTo>
                  <a:cubicBezTo>
                    <a:pt x="420009" y="1139731"/>
                    <a:pt x="490500" y="1101048"/>
                    <a:pt x="524987" y="1034051"/>
                  </a:cubicBezTo>
                  <a:lnTo>
                    <a:pt x="505360" y="1023014"/>
                  </a:lnTo>
                  <a:cubicBezTo>
                    <a:pt x="475089" y="1082544"/>
                    <a:pt x="412689" y="1116790"/>
                    <a:pt x="346243" y="1110339"/>
                  </a:cubicBezTo>
                  <a:cubicBezTo>
                    <a:pt x="283801" y="1104277"/>
                    <a:pt x="228486" y="1063265"/>
                    <a:pt x="202679" y="1003895"/>
                  </a:cubicBezTo>
                  <a:lnTo>
                    <a:pt x="181967" y="1012696"/>
                  </a:lnTo>
                  <a:cubicBezTo>
                    <a:pt x="205492" y="1066954"/>
                    <a:pt x="250941" y="1107583"/>
                    <a:pt x="305288" y="1123484"/>
                  </a:cubicBezTo>
                  <a:cubicBezTo>
                    <a:pt x="260051" y="1186174"/>
                    <a:pt x="162021" y="1201884"/>
                    <a:pt x="70961" y="1161909"/>
                  </a:cubicBezTo>
                  <a:cubicBezTo>
                    <a:pt x="64874" y="1160625"/>
                    <a:pt x="60391" y="1156961"/>
                    <a:pt x="56055" y="1153032"/>
                  </a:cubicBezTo>
                  <a:cubicBezTo>
                    <a:pt x="-13786" y="1089729"/>
                    <a:pt x="-19088" y="981796"/>
                    <a:pt x="44214" y="911953"/>
                  </a:cubicBezTo>
                  <a:lnTo>
                    <a:pt x="84073" y="882569"/>
                  </a:lnTo>
                  <a:lnTo>
                    <a:pt x="76811" y="875989"/>
                  </a:lnTo>
                  <a:lnTo>
                    <a:pt x="80179" y="872273"/>
                  </a:lnTo>
                  <a:cubicBezTo>
                    <a:pt x="28040" y="814783"/>
                    <a:pt x="28651" y="726072"/>
                    <a:pt x="82340" y="666836"/>
                  </a:cubicBezTo>
                  <a:lnTo>
                    <a:pt x="121082" y="638275"/>
                  </a:lnTo>
                  <a:cubicBezTo>
                    <a:pt x="89526" y="571593"/>
                    <a:pt x="96788" y="490523"/>
                    <a:pt x="145805" y="430894"/>
                  </a:cubicBezTo>
                  <a:cubicBezTo>
                    <a:pt x="198586" y="400645"/>
                    <a:pt x="259015" y="385179"/>
                    <a:pt x="321878" y="383347"/>
                  </a:cubicBezTo>
                  <a:lnTo>
                    <a:pt x="321111" y="357014"/>
                  </a:lnTo>
                  <a:cubicBezTo>
                    <a:pt x="257723" y="358862"/>
                    <a:pt x="196668" y="373772"/>
                    <a:pt x="141180" y="399723"/>
                  </a:cubicBezTo>
                  <a:cubicBezTo>
                    <a:pt x="117813" y="370058"/>
                    <a:pt x="106816" y="332072"/>
                    <a:pt x="106816" y="291518"/>
                  </a:cubicBezTo>
                  <a:cubicBezTo>
                    <a:pt x="106816" y="170286"/>
                    <a:pt x="205094" y="72008"/>
                    <a:pt x="326327" y="72008"/>
                  </a:cubicBezTo>
                  <a:cubicBezTo>
                    <a:pt x="350305" y="72008"/>
                    <a:pt x="373385" y="75853"/>
                    <a:pt x="394659" y="83948"/>
                  </a:cubicBezTo>
                  <a:cubicBezTo>
                    <a:pt x="425371" y="33609"/>
                    <a:pt x="467237" y="0"/>
                    <a:pt x="53381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p>
          </p:txBody>
        </p:sp>
      </p:grpSp>
      <p:sp>
        <p:nvSpPr>
          <p:cNvPr id="75" name="Rectangle 19">
            <a:extLst>
              <a:ext uri="{FF2B5EF4-FFF2-40B4-BE49-F238E27FC236}">
                <a16:creationId xmlns:a16="http://schemas.microsoft.com/office/drawing/2014/main" id="{8025BC4E-7A4E-42D9-9569-8844F8906CE5}"/>
              </a:ext>
            </a:extLst>
          </p:cNvPr>
          <p:cNvSpPr/>
          <p:nvPr/>
        </p:nvSpPr>
        <p:spPr>
          <a:xfrm>
            <a:off x="4210385" y="1692142"/>
            <a:ext cx="496324" cy="581453"/>
          </a:xfrm>
          <a:custGeom>
            <a:rect l="l" t="t" r="r" b="b"/>
            <a:pathLst>
              <a:path w="2926108" h="3216409">
                <a:moveTo>
                  <a:pt x="1150286" y="2039882"/>
                </a:moveTo>
                <a:cubicBezTo>
                  <a:pt x="1216487" y="2110220"/>
                  <a:pt x="1249586" y="2238485"/>
                  <a:pt x="1348889" y="2250897"/>
                </a:cubicBezTo>
                <a:cubicBezTo>
                  <a:pt x="1452327" y="2213659"/>
                  <a:pt x="1530941" y="2147458"/>
                  <a:pt x="1597142" y="2052295"/>
                </a:cubicBezTo>
                <a:cubicBezTo>
                  <a:pt x="1634380" y="2030228"/>
                  <a:pt x="1712994" y="2049536"/>
                  <a:pt x="1721269" y="2072982"/>
                </a:cubicBezTo>
                <a:cubicBezTo>
                  <a:pt x="1533700" y="2362611"/>
                  <a:pt x="1615072" y="2763954"/>
                  <a:pt x="1568179" y="2830155"/>
                </a:cubicBezTo>
                <a:cubicBezTo>
                  <a:pt x="1391644" y="2965315"/>
                  <a:pt x="1231658" y="2893598"/>
                  <a:pt x="1063398" y="2925319"/>
                </a:cubicBezTo>
                <a:cubicBezTo>
                  <a:pt x="925479" y="2954282"/>
                  <a:pt x="820660" y="3107371"/>
                  <a:pt x="686879" y="3148747"/>
                </a:cubicBezTo>
                <a:cubicBezTo>
                  <a:pt x="536548" y="3184606"/>
                  <a:pt x="373804" y="3224602"/>
                  <a:pt x="215198" y="3214948"/>
                </a:cubicBezTo>
                <a:cubicBezTo>
                  <a:pt x="93829" y="3209431"/>
                  <a:pt x="71763" y="3046687"/>
                  <a:pt x="136584" y="2925318"/>
                </a:cubicBezTo>
                <a:cubicBezTo>
                  <a:pt x="168305" y="2828775"/>
                  <a:pt x="121415" y="2802571"/>
                  <a:pt x="107623" y="2710165"/>
                </a:cubicBezTo>
                <a:cubicBezTo>
                  <a:pt x="111150" y="2693172"/>
                  <a:pt x="127647" y="2691385"/>
                  <a:pt x="158288" y="2695563"/>
                </a:cubicBezTo>
                <a:lnTo>
                  <a:pt x="158288" y="2626239"/>
                </a:lnTo>
                <a:lnTo>
                  <a:pt x="266288" y="2626239"/>
                </a:lnTo>
                <a:lnTo>
                  <a:pt x="266288" y="2708276"/>
                </a:lnTo>
                <a:lnTo>
                  <a:pt x="307224" y="2711894"/>
                </a:lnTo>
                <a:lnTo>
                  <a:pt x="307224" y="2626239"/>
                </a:lnTo>
                <a:lnTo>
                  <a:pt x="415224" y="2626239"/>
                </a:lnTo>
                <a:lnTo>
                  <a:pt x="415224" y="2711420"/>
                </a:lnTo>
                <a:cubicBezTo>
                  <a:pt x="428487" y="2711947"/>
                  <a:pt x="442136" y="2710942"/>
                  <a:pt x="456160" y="2708700"/>
                </a:cubicBezTo>
                <a:lnTo>
                  <a:pt x="456160" y="2617963"/>
                </a:lnTo>
                <a:lnTo>
                  <a:pt x="564160" y="2617963"/>
                </a:lnTo>
                <a:lnTo>
                  <a:pt x="564160" y="2692500"/>
                </a:lnTo>
                <a:cubicBezTo>
                  <a:pt x="577696" y="2691220"/>
                  <a:pt x="591289" y="2688332"/>
                  <a:pt x="605096" y="2684680"/>
                </a:cubicBezTo>
                <a:lnTo>
                  <a:pt x="605096" y="2601411"/>
                </a:lnTo>
                <a:lnTo>
                  <a:pt x="713096" y="2601411"/>
                </a:lnTo>
                <a:lnTo>
                  <a:pt x="713096" y="2654658"/>
                </a:lnTo>
                <a:lnTo>
                  <a:pt x="754032" y="2641463"/>
                </a:lnTo>
                <a:lnTo>
                  <a:pt x="754032" y="2580721"/>
                </a:lnTo>
                <a:lnTo>
                  <a:pt x="862032" y="2580721"/>
                </a:lnTo>
                <a:lnTo>
                  <a:pt x="862032" y="2599792"/>
                </a:lnTo>
                <a:cubicBezTo>
                  <a:pt x="897454" y="2584791"/>
                  <a:pt x="934214" y="2567836"/>
                  <a:pt x="972371" y="2548802"/>
                </a:cubicBezTo>
                <a:cubicBezTo>
                  <a:pt x="1030297" y="2506047"/>
                  <a:pt x="939271" y="2219176"/>
                  <a:pt x="947546" y="2122633"/>
                </a:cubicBezTo>
                <a:cubicBezTo>
                  <a:pt x="957201" y="2082636"/>
                  <a:pt x="1082706" y="2067466"/>
                  <a:pt x="1150286" y="2039882"/>
                </a:cubicBezTo>
                <a:close/>
                <a:moveTo>
                  <a:pt x="394278" y="1320337"/>
                </a:moveTo>
                <a:cubicBezTo>
                  <a:pt x="356565" y="1315036"/>
                  <a:pt x="316914" y="1320983"/>
                  <a:pt x="277262" y="1344774"/>
                </a:cubicBezTo>
                <a:cubicBezTo>
                  <a:pt x="169686" y="1368221"/>
                  <a:pt x="281399" y="1532343"/>
                  <a:pt x="314500" y="1626128"/>
                </a:cubicBezTo>
                <a:cubicBezTo>
                  <a:pt x="335188" y="1715776"/>
                  <a:pt x="306225" y="1838523"/>
                  <a:pt x="376563" y="1820593"/>
                </a:cubicBezTo>
                <a:cubicBezTo>
                  <a:pt x="535169" y="1786113"/>
                  <a:pt x="681363" y="1673020"/>
                  <a:pt x="628954" y="1493726"/>
                </a:cubicBezTo>
                <a:cubicBezTo>
                  <a:pt x="603094" y="1453384"/>
                  <a:pt x="507414" y="1336241"/>
                  <a:pt x="394278" y="1320337"/>
                </a:cubicBezTo>
                <a:close/>
                <a:moveTo>
                  <a:pt x="1526804" y="66"/>
                </a:moveTo>
                <a:cubicBezTo>
                  <a:pt x="2066065" y="2824"/>
                  <a:pt x="2621877" y="129710"/>
                  <a:pt x="2896335" y="1038593"/>
                </a:cubicBezTo>
                <a:cubicBezTo>
                  <a:pt x="3057700" y="1564063"/>
                  <a:pt x="2532230" y="2366749"/>
                  <a:pt x="2064686" y="2292273"/>
                </a:cubicBezTo>
                <a:cubicBezTo>
                  <a:pt x="1885392" y="2267447"/>
                  <a:pt x="1950214" y="2015056"/>
                  <a:pt x="1555767" y="1940580"/>
                </a:cubicBezTo>
                <a:cubicBezTo>
                  <a:pt x="1179249" y="1868862"/>
                  <a:pt x="732393" y="2186075"/>
                  <a:pt x="554478" y="2159871"/>
                </a:cubicBezTo>
                <a:cubicBezTo>
                  <a:pt x="466211" y="2141942"/>
                  <a:pt x="394493" y="1904722"/>
                  <a:pt x="364151" y="1932305"/>
                </a:cubicBezTo>
                <a:cubicBezTo>
                  <a:pt x="322774" y="1970922"/>
                  <a:pt x="405526" y="2146079"/>
                  <a:pt x="467589" y="2205384"/>
                </a:cubicBezTo>
                <a:cubicBezTo>
                  <a:pt x="525515" y="2241243"/>
                  <a:pt x="732393" y="2202626"/>
                  <a:pt x="873070" y="2139183"/>
                </a:cubicBezTo>
                <a:cubicBezTo>
                  <a:pt x="913066" y="2128149"/>
                  <a:pt x="870312" y="2253655"/>
                  <a:pt x="877208" y="2333648"/>
                </a:cubicBezTo>
                <a:lnTo>
                  <a:pt x="862033" y="2337135"/>
                </a:lnTo>
                <a:lnTo>
                  <a:pt x="862033" y="2415799"/>
                </a:lnTo>
                <a:lnTo>
                  <a:pt x="754033" y="2415799"/>
                </a:lnTo>
                <a:lnTo>
                  <a:pt x="754033" y="2360695"/>
                </a:lnTo>
                <a:lnTo>
                  <a:pt x="713097" y="2366601"/>
                </a:lnTo>
                <a:lnTo>
                  <a:pt x="713097" y="2428213"/>
                </a:lnTo>
                <a:lnTo>
                  <a:pt x="605097" y="2428213"/>
                </a:lnTo>
                <a:lnTo>
                  <a:pt x="605097" y="2379641"/>
                </a:lnTo>
                <a:lnTo>
                  <a:pt x="564161" y="2382960"/>
                </a:lnTo>
                <a:lnTo>
                  <a:pt x="564161" y="2436489"/>
                </a:lnTo>
                <a:lnTo>
                  <a:pt x="456161" y="2436489"/>
                </a:lnTo>
                <a:lnTo>
                  <a:pt x="456161" y="2388351"/>
                </a:lnTo>
                <a:lnTo>
                  <a:pt x="415225" y="2389346"/>
                </a:lnTo>
                <a:lnTo>
                  <a:pt x="415225" y="2436489"/>
                </a:lnTo>
                <a:lnTo>
                  <a:pt x="307225" y="2436489"/>
                </a:lnTo>
                <a:lnTo>
                  <a:pt x="307225" y="2386989"/>
                </a:lnTo>
                <a:cubicBezTo>
                  <a:pt x="293173" y="2387203"/>
                  <a:pt x="279516" y="2386340"/>
                  <a:pt x="266289" y="2385150"/>
                </a:cubicBezTo>
                <a:lnTo>
                  <a:pt x="266289" y="2428213"/>
                </a:lnTo>
                <a:lnTo>
                  <a:pt x="158289" y="2428213"/>
                </a:lnTo>
                <a:lnTo>
                  <a:pt x="158289" y="2370613"/>
                </a:lnTo>
                <a:cubicBezTo>
                  <a:pt x="107017" y="2360332"/>
                  <a:pt x="72014" y="2345184"/>
                  <a:pt x="62108" y="2325373"/>
                </a:cubicBezTo>
                <a:cubicBezTo>
                  <a:pt x="37284" y="2261930"/>
                  <a:pt x="103484" y="2223314"/>
                  <a:pt x="124172" y="2172284"/>
                </a:cubicBezTo>
                <a:cubicBezTo>
                  <a:pt x="111759" y="2144700"/>
                  <a:pt x="74522" y="2141942"/>
                  <a:pt x="86934" y="2089533"/>
                </a:cubicBezTo>
                <a:cubicBezTo>
                  <a:pt x="96588" y="2053674"/>
                  <a:pt x="242782" y="2030228"/>
                  <a:pt x="264849" y="1994369"/>
                </a:cubicBezTo>
                <a:cubicBezTo>
                  <a:pt x="273125" y="1919892"/>
                  <a:pt x="-4093" y="1721291"/>
                  <a:pt x="45" y="1671639"/>
                </a:cubicBezTo>
                <a:cubicBezTo>
                  <a:pt x="12458" y="1619230"/>
                  <a:pt x="124172" y="1558546"/>
                  <a:pt x="190373" y="1477174"/>
                </a:cubicBezTo>
                <a:cubicBezTo>
                  <a:pt x="222094" y="1438557"/>
                  <a:pt x="80038" y="1267538"/>
                  <a:pt x="91072" y="1224783"/>
                </a:cubicBezTo>
                <a:cubicBezTo>
                  <a:pt x="111760" y="1092381"/>
                  <a:pt x="240023" y="943429"/>
                  <a:pt x="264849" y="703451"/>
                </a:cubicBezTo>
                <a:cubicBezTo>
                  <a:pt x="342084" y="332450"/>
                  <a:pt x="961338" y="-5451"/>
                  <a:pt x="1526804" y="66"/>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p>
        </p:txBody>
      </p:sp>
      <p:sp>
        <p:nvSpPr>
          <p:cNvPr id="78" name="Oval 47">
            <a:extLst>
              <a:ext uri="{FF2B5EF4-FFF2-40B4-BE49-F238E27FC236}">
                <a16:creationId xmlns:a16="http://schemas.microsoft.com/office/drawing/2014/main" id="{2A7B72D2-455E-4647-BA7D-2D9A0D0187FB}"/>
              </a:ext>
            </a:extLst>
          </p:cNvPr>
          <p:cNvSpPr>
            <a:spLocks noChangeAspect="1"/>
          </p:cNvSpPr>
          <p:nvPr/>
        </p:nvSpPr>
        <p:spPr>
          <a:xfrm>
            <a:off x="11311550" y="1671298"/>
            <a:ext cx="584676" cy="623138"/>
          </a:xfrm>
          <a:custGeom>
            <a:rect l="l" t="t" r="r" b="b"/>
            <a:pathLst>
              <a:path w="3240000" h="3240000">
                <a:moveTo>
                  <a:pt x="1303187" y="480874"/>
                </a:moveTo>
                <a:lnTo>
                  <a:pt x="1303187" y="1303187"/>
                </a:lnTo>
                <a:lnTo>
                  <a:pt x="480874" y="1303187"/>
                </a:lnTo>
                <a:lnTo>
                  <a:pt x="480874" y="1936813"/>
                </a:lnTo>
                <a:lnTo>
                  <a:pt x="1303187" y="1936813"/>
                </a:lnTo>
                <a:lnTo>
                  <a:pt x="1303187" y="2759126"/>
                </a:lnTo>
                <a:lnTo>
                  <a:pt x="1936813" y="2759126"/>
                </a:lnTo>
                <a:lnTo>
                  <a:pt x="1936813" y="1936813"/>
                </a:lnTo>
                <a:lnTo>
                  <a:pt x="2759126" y="1936813"/>
                </a:lnTo>
                <a:lnTo>
                  <a:pt x="2759126" y="1303187"/>
                </a:lnTo>
                <a:lnTo>
                  <a:pt x="1936813" y="1303187"/>
                </a:lnTo>
                <a:lnTo>
                  <a:pt x="1936813" y="480874"/>
                </a:lnTo>
                <a:close/>
                <a:moveTo>
                  <a:pt x="1620000" y="0"/>
                </a:moveTo>
                <a:cubicBezTo>
                  <a:pt x="2514701" y="0"/>
                  <a:pt x="3240000" y="725299"/>
                  <a:pt x="3240000" y="1620000"/>
                </a:cubicBezTo>
                <a:cubicBezTo>
                  <a:pt x="3240000" y="2514701"/>
                  <a:pt x="2514701" y="3240000"/>
                  <a:pt x="1620000" y="3240000"/>
                </a:cubicBezTo>
                <a:cubicBezTo>
                  <a:pt x="725299" y="3240000"/>
                  <a:pt x="0" y="2514701"/>
                  <a:pt x="0" y="1620000"/>
                </a:cubicBezTo>
                <a:cubicBezTo>
                  <a:pt x="0" y="725299"/>
                  <a:pt x="725299" y="0"/>
                  <a:pt x="1620000" y="0"/>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p>
        </p:txBody>
      </p:sp>
      <p:sp>
        <p:nvSpPr>
          <p:cNvPr id="97" name="Rounded Rectangle 2">
            <a:extLst>
              <a:ext uri="{FF2B5EF4-FFF2-40B4-BE49-F238E27FC236}">
                <a16:creationId xmlns:a16="http://schemas.microsoft.com/office/drawing/2014/main" id="{2CB3F902-7F51-468E-928D-DF8ED92CA432}"/>
              </a:ext>
            </a:extLst>
          </p:cNvPr>
          <p:cNvSpPr/>
          <p:nvPr/>
        </p:nvSpPr>
        <p:spPr>
          <a:xfrm>
            <a:off x="5106715" y="5441626"/>
            <a:ext cx="573035" cy="610732"/>
          </a:xfrm>
          <a:custGeom>
            <a:gdLst>
              <a:gd name="connsiteX0" fmla="*/ 1979373 w 3960440"/>
              <a:gd name="connsiteY0" fmla="*/ 472350 h 3960000"/>
              <a:gd name="connsiteX1" fmla="*/ 813783 w 3960440"/>
              <a:gd name="connsiteY1" fmla="*/ 1434034 h 3960000"/>
              <a:gd name="connsiteX2" fmla="*/ 1119009 w 3960440"/>
              <a:gd name="connsiteY2" fmla="*/ 2222584 h 3960000"/>
              <a:gd name="connsiteX3" fmla="*/ 1328015 w 3960440"/>
              <a:gd name="connsiteY3" fmla="*/ 1812920 h 3960000"/>
              <a:gd name="connsiteX4" fmla="*/ 1234998 w 3960440"/>
              <a:gd name="connsiteY4" fmla="*/ 1431771 h 3960000"/>
              <a:gd name="connsiteX5" fmla="*/ 2217373 w 3960440"/>
              <a:gd name="connsiteY5" fmla="*/ 891303 h 3960000"/>
              <a:gd name="connsiteX6" fmla="*/ 2783502 w 3960440"/>
              <a:gd name="connsiteY6" fmla="*/ 1606823 h 3960000"/>
              <a:gd name="connsiteX7" fmla="*/ 2456028 w 3960440"/>
              <a:gd name="connsiteY7" fmla="*/ 2225955 h 3960000"/>
              <a:gd name="connsiteX8" fmla="*/ 2026974 w 3960440"/>
              <a:gd name="connsiteY8" fmla="*/ 2018938 h 3960000"/>
              <a:gd name="connsiteX9" fmla="*/ 2135727 w 3960440"/>
              <a:gd name="connsiteY9" fmla="*/ 1554876 h 3960000"/>
              <a:gd name="connsiteX10" fmla="*/ 1915898 w 3960440"/>
              <a:gd name="connsiteY10" fmla="*/ 1219889 h 3960000"/>
              <a:gd name="connsiteX11" fmla="*/ 1589196 w 3960440"/>
              <a:gd name="connsiteY11" fmla="*/ 1434803 h 3960000"/>
              <a:gd name="connsiteX12" fmla="*/ 1574511 w 3960440"/>
              <a:gd name="connsiteY12" fmla="*/ 1939931 h 3960000"/>
              <a:gd name="connsiteX13" fmla="*/ 1339611 w 3960440"/>
              <a:gd name="connsiteY13" fmla="*/ 3487664 h 3960000"/>
              <a:gd name="connsiteX14" fmla="*/ 1887692 w 3960440"/>
              <a:gd name="connsiteY14" fmla="*/ 2422431 h 3960000"/>
              <a:gd name="connsiteX15" fmla="*/ 2336342 w 3960440"/>
              <a:gd name="connsiteY15" fmla="*/ 2720202 h 3960000"/>
              <a:gd name="connsiteX16" fmla="*/ 3176454 w 3960440"/>
              <a:gd name="connsiteY16" fmla="*/ 1627140 h 3960000"/>
              <a:gd name="connsiteX17" fmla="*/ 1979373 w 3960440"/>
              <a:gd name="connsiteY17" fmla="*/ 472350 h 3960000"/>
              <a:gd name="connsiteX18" fmla="*/ 436907 w 3960440"/>
              <a:gd name="connsiteY18" fmla="*/ 0 h 3960000"/>
              <a:gd name="connsiteX19" fmla="*/ 3523533 w 3960440"/>
              <a:gd name="connsiteY19" fmla="*/ 0 h 3960000"/>
              <a:gd name="connsiteX20" fmla="*/ 3960440 w 3960440"/>
              <a:gd name="connsiteY20" fmla="*/ 436907 h 3960000"/>
              <a:gd name="connsiteX21" fmla="*/ 3960440 w 3960440"/>
              <a:gd name="connsiteY21" fmla="*/ 3523093 h 3960000"/>
              <a:gd name="connsiteX22" fmla="*/ 3523533 w 3960440"/>
              <a:gd name="connsiteY22" fmla="*/ 3960000 h 3960000"/>
              <a:gd name="connsiteX23" fmla="*/ 436907 w 3960440"/>
              <a:gd name="connsiteY23" fmla="*/ 3960000 h 3960000"/>
              <a:gd name="connsiteX24" fmla="*/ 0 w 3960440"/>
              <a:gd name="connsiteY24" fmla="*/ 3523093 h 3960000"/>
              <a:gd name="connsiteX25" fmla="*/ 0 w 3960440"/>
              <a:gd name="connsiteY25" fmla="*/ 436907 h 3960000"/>
              <a:gd name="connsiteX26" fmla="*/ 436907 w 3960440"/>
              <a:gd name="connsiteY26" fmla="*/ 0 h 3960000"/>
              <a:gd name="connsiteX27" fmla="*/ 436907 w 3960440"/>
              <a:gd name="connsiteY27" fmla="*/ 0 h 3960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60440" h="3960000">
                <a:moveTo>
                  <a:pt x="1979373" y="472350"/>
                </a:moveTo>
                <a:cubicBezTo>
                  <a:pt x="1228307" y="485871"/>
                  <a:pt x="850011" y="1078219"/>
                  <a:pt x="813783" y="1434034"/>
                </a:cubicBezTo>
                <a:cubicBezTo>
                  <a:pt x="787561" y="1781828"/>
                  <a:pt x="889690" y="2005359"/>
                  <a:pt x="1119009" y="2222584"/>
                </a:cubicBezTo>
                <a:cubicBezTo>
                  <a:pt x="1178964" y="2123026"/>
                  <a:pt x="1260199" y="1908547"/>
                  <a:pt x="1328015" y="1812920"/>
                </a:cubicBezTo>
                <a:cubicBezTo>
                  <a:pt x="1222115" y="1647651"/>
                  <a:pt x="1255483" y="1756375"/>
                  <a:pt x="1234998" y="1431771"/>
                </a:cubicBezTo>
                <a:cubicBezTo>
                  <a:pt x="1331609" y="922504"/>
                  <a:pt x="1719145" y="812633"/>
                  <a:pt x="2217373" y="891303"/>
                </a:cubicBezTo>
                <a:cubicBezTo>
                  <a:pt x="2693518" y="1016895"/>
                  <a:pt x="2787642" y="1344599"/>
                  <a:pt x="2783502" y="1606823"/>
                </a:cubicBezTo>
                <a:cubicBezTo>
                  <a:pt x="2771081" y="1743454"/>
                  <a:pt x="2679609" y="2064482"/>
                  <a:pt x="2456028" y="2225955"/>
                </a:cubicBezTo>
                <a:cubicBezTo>
                  <a:pt x="2192422" y="2399851"/>
                  <a:pt x="2004893" y="2209395"/>
                  <a:pt x="2026974" y="2018938"/>
                </a:cubicBezTo>
                <a:cubicBezTo>
                  <a:pt x="2072519" y="1810540"/>
                  <a:pt x="2086043" y="1754994"/>
                  <a:pt x="2135727" y="1554876"/>
                </a:cubicBezTo>
                <a:cubicBezTo>
                  <a:pt x="2195073" y="1382360"/>
                  <a:pt x="2084273" y="1259912"/>
                  <a:pt x="1915898" y="1219889"/>
                </a:cubicBezTo>
                <a:cubicBezTo>
                  <a:pt x="1750283" y="1186766"/>
                  <a:pt x="1626460" y="1331294"/>
                  <a:pt x="1589196" y="1434803"/>
                </a:cubicBezTo>
                <a:cubicBezTo>
                  <a:pt x="1499489" y="1732912"/>
                  <a:pt x="1614533" y="1824000"/>
                  <a:pt x="1574511" y="1939931"/>
                </a:cubicBezTo>
                <a:cubicBezTo>
                  <a:pt x="1332991" y="2671400"/>
                  <a:pt x="1220920" y="3468343"/>
                  <a:pt x="1339611" y="3487664"/>
                </a:cubicBezTo>
                <a:cubicBezTo>
                  <a:pt x="1434840" y="3497327"/>
                  <a:pt x="1730357" y="3129057"/>
                  <a:pt x="1887692" y="2422431"/>
                </a:cubicBezTo>
                <a:cubicBezTo>
                  <a:pt x="1985681" y="2531460"/>
                  <a:pt x="2093439" y="2747804"/>
                  <a:pt x="2336342" y="2720202"/>
                </a:cubicBezTo>
                <a:cubicBezTo>
                  <a:pt x="2693796" y="2666377"/>
                  <a:pt x="3092265" y="2401394"/>
                  <a:pt x="3176454" y="1627140"/>
                </a:cubicBezTo>
                <a:cubicBezTo>
                  <a:pt x="3254038" y="999456"/>
                  <a:pt x="2816023" y="430731"/>
                  <a:pt x="1979373" y="472350"/>
                </a:cubicBezTo>
                <a:close/>
                <a:moveTo>
                  <a:pt x="436907" y="0"/>
                </a:moveTo>
                <a:lnTo>
                  <a:pt x="3523533" y="0"/>
                </a:lnTo>
                <a:cubicBezTo>
                  <a:pt x="3764830" y="0"/>
                  <a:pt x="3960440" y="195610"/>
                  <a:pt x="3960440" y="436907"/>
                </a:cubicBezTo>
                <a:lnTo>
                  <a:pt x="3960440" y="3523093"/>
                </a:lnTo>
                <a:cubicBezTo>
                  <a:pt x="3960440" y="3764390"/>
                  <a:pt x="3764830" y="3960000"/>
                  <a:pt x="3523533" y="3960000"/>
                </a:cubicBezTo>
                <a:lnTo>
                  <a:pt x="436907" y="3960000"/>
                </a:lnTo>
                <a:cubicBezTo>
                  <a:pt x="195610" y="3960000"/>
                  <a:pt x="0" y="3764390"/>
                  <a:pt x="0" y="3523093"/>
                </a:cubicBezTo>
                <a:lnTo>
                  <a:pt x="0" y="436907"/>
                </a:lnTo>
                <a:cubicBezTo>
                  <a:pt x="0" y="195610"/>
                  <a:pt x="195610" y="0"/>
                  <a:pt x="436907" y="0"/>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a:endParaRPr lang="ko-KR" altLang="en-US" sz="1400">
              <a:solidFill>
                <a:schemeClr val="tx1"/>
              </a:solidFill>
            </a:endParaRPr>
          </a:p>
        </p:txBody>
      </p:sp>
      <p:sp>
        <p:nvSpPr>
          <p:cNvPr id="98" name="Rounded Rectangle 8">
            <a:extLst>
              <a:ext uri="{FF2B5EF4-FFF2-40B4-BE49-F238E27FC236}">
                <a16:creationId xmlns:a16="http://schemas.microsoft.com/office/drawing/2014/main" id="{CF999092-51D0-4040-A441-EE93FB3BE0AB}"/>
              </a:ext>
            </a:extLst>
          </p:cNvPr>
          <p:cNvSpPr/>
          <p:nvPr/>
        </p:nvSpPr>
        <p:spPr>
          <a:xfrm>
            <a:off x="4171996" y="5441626"/>
            <a:ext cx="573099" cy="610732"/>
          </a:xfrm>
          <a:custGeom>
            <a:gdLst>
              <a:gd name="connsiteX0" fmla="*/ 554477 w 3888432"/>
              <a:gd name="connsiteY0" fmla="*/ 1512168 h 3960440"/>
              <a:gd name="connsiteX1" fmla="*/ 554477 w 3888432"/>
              <a:gd name="connsiteY1" fmla="*/ 3312368 h 3960440"/>
              <a:gd name="connsiteX2" fmla="*/ 1201638 w 3888432"/>
              <a:gd name="connsiteY2" fmla="*/ 3312368 h 3960440"/>
              <a:gd name="connsiteX3" fmla="*/ 1201638 w 3888432"/>
              <a:gd name="connsiteY3" fmla="*/ 1512168 h 3960440"/>
              <a:gd name="connsiteX4" fmla="*/ 554477 w 3888432"/>
              <a:gd name="connsiteY4" fmla="*/ 1512168 h 3960440"/>
              <a:gd name="connsiteX5" fmla="*/ 2840340 w 3888432"/>
              <a:gd name="connsiteY5" fmla="*/ 1479943 h 3960440"/>
              <a:gd name="connsiteX6" fmla="*/ 2136833 w 3888432"/>
              <a:gd name="connsiteY6" fmla="*/ 1785510 h 3960440"/>
              <a:gd name="connsiteX7" fmla="*/ 2136833 w 3888432"/>
              <a:gd name="connsiteY7" fmla="*/ 1510185 h 3960440"/>
              <a:gd name="connsiteX8" fmla="*/ 1489672 w 3888432"/>
              <a:gd name="connsiteY8" fmla="*/ 1510185 h 3960440"/>
              <a:gd name="connsiteX9" fmla="*/ 1489672 w 3888432"/>
              <a:gd name="connsiteY9" fmla="*/ 3310385 h 3960440"/>
              <a:gd name="connsiteX10" fmla="*/ 2136833 w 3888432"/>
              <a:gd name="connsiteY10" fmla="*/ 3310385 h 3960440"/>
              <a:gd name="connsiteX11" fmla="*/ 2147184 w 3888432"/>
              <a:gd name="connsiteY11" fmla="*/ 2155564 h 3960440"/>
              <a:gd name="connsiteX12" fmla="*/ 2673919 w 3888432"/>
              <a:gd name="connsiteY12" fmla="*/ 2138897 h 3960440"/>
              <a:gd name="connsiteX13" fmla="*/ 2679688 w 3888432"/>
              <a:gd name="connsiteY13" fmla="*/ 3312366 h 3960440"/>
              <a:gd name="connsiteX14" fmla="*/ 3326849 w 3888432"/>
              <a:gd name="connsiteY14" fmla="*/ 3312366 h 3960440"/>
              <a:gd name="connsiteX15" fmla="*/ 3333768 w 3888432"/>
              <a:gd name="connsiteY15" fmla="*/ 2128613 h 3960440"/>
              <a:gd name="connsiteX16" fmla="*/ 2840340 w 3888432"/>
              <a:gd name="connsiteY16" fmla="*/ 1479943 h 3960440"/>
              <a:gd name="connsiteX17" fmla="*/ 878058 w 3888432"/>
              <a:gd name="connsiteY17" fmla="*/ 648072 h 3960440"/>
              <a:gd name="connsiteX18" fmla="*/ 554477 w 3888432"/>
              <a:gd name="connsiteY18" fmla="*/ 971653 h 3960440"/>
              <a:gd name="connsiteX19" fmla="*/ 878058 w 3888432"/>
              <a:gd name="connsiteY19" fmla="*/ 1295234 h 3960440"/>
              <a:gd name="connsiteX20" fmla="*/ 1201639 w 3888432"/>
              <a:gd name="connsiteY20" fmla="*/ 971653 h 3960440"/>
              <a:gd name="connsiteX21" fmla="*/ 878058 w 3888432"/>
              <a:gd name="connsiteY21" fmla="*/ 648072 h 3960440"/>
              <a:gd name="connsiteX22" fmla="*/ 333511 w 3888432"/>
              <a:gd name="connsiteY22" fmla="*/ 0 h 3960440"/>
              <a:gd name="connsiteX23" fmla="*/ 3554921 w 3888432"/>
              <a:gd name="connsiteY23" fmla="*/ 0 h 3960440"/>
              <a:gd name="connsiteX24" fmla="*/ 3888432 w 3888432"/>
              <a:gd name="connsiteY24" fmla="*/ 333511 h 3960440"/>
              <a:gd name="connsiteX25" fmla="*/ 3888432 w 3888432"/>
              <a:gd name="connsiteY25" fmla="*/ 3626929 h 3960440"/>
              <a:gd name="connsiteX26" fmla="*/ 3554921 w 3888432"/>
              <a:gd name="connsiteY26" fmla="*/ 3960440 h 3960440"/>
              <a:gd name="connsiteX27" fmla="*/ 333511 w 3888432"/>
              <a:gd name="connsiteY27" fmla="*/ 3960440 h 3960440"/>
              <a:gd name="connsiteX28" fmla="*/ 0 w 3888432"/>
              <a:gd name="connsiteY28" fmla="*/ 3626929 h 3960440"/>
              <a:gd name="connsiteX29" fmla="*/ 0 w 3888432"/>
              <a:gd name="connsiteY29" fmla="*/ 333511 h 3960440"/>
              <a:gd name="connsiteX30" fmla="*/ 333511 w 3888432"/>
              <a:gd name="connsiteY30" fmla="*/ 0 h 3960440"/>
              <a:gd name="connsiteX31" fmla="*/ 333511 w 3888432"/>
              <a:gd name="connsiteY31" fmla="*/ 0 h 396044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888432" h="3960440">
                <a:moveTo>
                  <a:pt x="554477" y="1512168"/>
                </a:moveTo>
                <a:lnTo>
                  <a:pt x="554477" y="3312368"/>
                </a:lnTo>
                <a:lnTo>
                  <a:pt x="1201638" y="3312368"/>
                </a:lnTo>
                <a:lnTo>
                  <a:pt x="1201638" y="1512168"/>
                </a:lnTo>
                <a:lnTo>
                  <a:pt x="554477" y="1512168"/>
                </a:lnTo>
                <a:close/>
                <a:moveTo>
                  <a:pt x="2840340" y="1479943"/>
                </a:moveTo>
                <a:cubicBezTo>
                  <a:pt x="2293254" y="1484797"/>
                  <a:pt x="2254084" y="1780470"/>
                  <a:pt x="2136833" y="1785510"/>
                </a:cubicBezTo>
                <a:lnTo>
                  <a:pt x="2136833" y="1510185"/>
                </a:lnTo>
                <a:lnTo>
                  <a:pt x="1489672" y="1510185"/>
                </a:lnTo>
                <a:lnTo>
                  <a:pt x="1489672" y="3310385"/>
                </a:lnTo>
                <a:lnTo>
                  <a:pt x="2136833" y="3310385"/>
                </a:lnTo>
                <a:cubicBezTo>
                  <a:pt x="2140283" y="2925445"/>
                  <a:pt x="2133383" y="2560917"/>
                  <a:pt x="2147184" y="2155564"/>
                </a:cubicBezTo>
                <a:cubicBezTo>
                  <a:pt x="2187272" y="1842063"/>
                  <a:pt x="2668986" y="1938990"/>
                  <a:pt x="2673919" y="2138897"/>
                </a:cubicBezTo>
                <a:lnTo>
                  <a:pt x="2679688" y="3312366"/>
                </a:lnTo>
                <a:lnTo>
                  <a:pt x="3326849" y="3312366"/>
                </a:lnTo>
                <a:cubicBezTo>
                  <a:pt x="3329155" y="2917782"/>
                  <a:pt x="3331462" y="2523197"/>
                  <a:pt x="3333768" y="2128613"/>
                </a:cubicBezTo>
                <a:cubicBezTo>
                  <a:pt x="3339026" y="1942962"/>
                  <a:pt x="3184753" y="1475890"/>
                  <a:pt x="2840340" y="1479943"/>
                </a:cubicBezTo>
                <a:close/>
                <a:moveTo>
                  <a:pt x="878058" y="648072"/>
                </a:moveTo>
                <a:cubicBezTo>
                  <a:pt x="699349" y="648072"/>
                  <a:pt x="554477" y="792944"/>
                  <a:pt x="554477" y="971653"/>
                </a:cubicBezTo>
                <a:cubicBezTo>
                  <a:pt x="554477" y="1150362"/>
                  <a:pt x="699349" y="1295234"/>
                  <a:pt x="878058" y="1295234"/>
                </a:cubicBezTo>
                <a:cubicBezTo>
                  <a:pt x="1056767" y="1295234"/>
                  <a:pt x="1201639" y="1150362"/>
                  <a:pt x="1201639" y="971653"/>
                </a:cubicBezTo>
                <a:cubicBezTo>
                  <a:pt x="1201639" y="792944"/>
                  <a:pt x="1056767" y="648072"/>
                  <a:pt x="878058" y="648072"/>
                </a:cubicBezTo>
                <a:close/>
                <a:moveTo>
                  <a:pt x="333511" y="0"/>
                </a:moveTo>
                <a:lnTo>
                  <a:pt x="3554921" y="0"/>
                </a:lnTo>
                <a:cubicBezTo>
                  <a:pt x="3739114" y="0"/>
                  <a:pt x="3888432" y="149318"/>
                  <a:pt x="3888432" y="333511"/>
                </a:cubicBezTo>
                <a:lnTo>
                  <a:pt x="3888432" y="3626929"/>
                </a:lnTo>
                <a:cubicBezTo>
                  <a:pt x="3888432" y="3811122"/>
                  <a:pt x="3739114" y="3960440"/>
                  <a:pt x="3554921" y="3960440"/>
                </a:cubicBezTo>
                <a:lnTo>
                  <a:pt x="333511" y="3960440"/>
                </a:lnTo>
                <a:cubicBezTo>
                  <a:pt x="149318" y="3960440"/>
                  <a:pt x="0" y="3811122"/>
                  <a:pt x="0" y="3626929"/>
                </a:cubicBezTo>
                <a:lnTo>
                  <a:pt x="0" y="333511"/>
                </a:lnTo>
                <a:cubicBezTo>
                  <a:pt x="0" y="149318"/>
                  <a:pt x="149318" y="0"/>
                  <a:pt x="333511" y="0"/>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a:endParaRPr lang="ko-KR" altLang="en-US" sz="1400">
              <a:solidFill>
                <a:schemeClr val="tx1"/>
              </a:solidFill>
            </a:endParaRPr>
          </a:p>
        </p:txBody>
      </p:sp>
      <p:sp>
        <p:nvSpPr>
          <p:cNvPr id="99" name="Rounded Rectangle 2">
            <a:extLst>
              <a:ext uri="{FF2B5EF4-FFF2-40B4-BE49-F238E27FC236}">
                <a16:creationId xmlns:a16="http://schemas.microsoft.com/office/drawing/2014/main" id="{5394194E-40CF-4800-82F4-DA12261F9012}"/>
              </a:ext>
            </a:extLst>
          </p:cNvPr>
          <p:cNvSpPr/>
          <p:nvPr/>
        </p:nvSpPr>
        <p:spPr>
          <a:xfrm>
            <a:off x="6969485" y="5441626"/>
            <a:ext cx="573035" cy="610732"/>
          </a:xfrm>
          <a:custGeom>
            <a:gdLst>
              <a:gd name="connsiteX0" fmla="*/ 3160999 w 3960000"/>
              <a:gd name="connsiteY0" fmla="*/ 1374274 h 3960000"/>
              <a:gd name="connsiteX1" fmla="*/ 3155132 w 3960000"/>
              <a:gd name="connsiteY1" fmla="*/ 1419362 h 3960000"/>
              <a:gd name="connsiteX2" fmla="*/ 3160999 w 3960000"/>
              <a:gd name="connsiteY2" fmla="*/ 1374274 h 3960000"/>
              <a:gd name="connsiteX3" fmla="*/ 2496208 w 3960000"/>
              <a:gd name="connsiteY3" fmla="*/ 770986 h 3960000"/>
              <a:gd name="connsiteX4" fmla="*/ 1921633 w 3960000"/>
              <a:gd name="connsiteY4" fmla="*/ 1292845 h 3960000"/>
              <a:gd name="connsiteX5" fmla="*/ 1942445 w 3960000"/>
              <a:gd name="connsiteY5" fmla="*/ 1570340 h 3960000"/>
              <a:gd name="connsiteX6" fmla="*/ 815277 w 3960000"/>
              <a:gd name="connsiteY6" fmla="*/ 836121 h 3960000"/>
              <a:gd name="connsiteX7" fmla="*/ 965659 w 3960000"/>
              <a:gd name="connsiteY7" fmla="*/ 1735195 h 3960000"/>
              <a:gd name="connsiteX8" fmla="*/ 570453 w 3960000"/>
              <a:gd name="connsiteY8" fmla="*/ 1629310 h 3960000"/>
              <a:gd name="connsiteX9" fmla="*/ 1196057 w 3960000"/>
              <a:gd name="connsiteY9" fmla="*/ 2257108 h 3960000"/>
              <a:gd name="connsiteX10" fmla="*/ 813848 w 3960000"/>
              <a:gd name="connsiteY10" fmla="*/ 2296824 h 3960000"/>
              <a:gd name="connsiteX11" fmla="*/ 1486410 w 3960000"/>
              <a:gd name="connsiteY11" fmla="*/ 2607420 h 3960000"/>
              <a:gd name="connsiteX12" fmla="*/ 489408 w 3960000"/>
              <a:gd name="connsiteY12" fmla="*/ 2829018 h 3960000"/>
              <a:gd name="connsiteX13" fmla="*/ 2062787 w 3960000"/>
              <a:gd name="connsiteY13" fmla="*/ 3146219 h 3960000"/>
              <a:gd name="connsiteX14" fmla="*/ 3074271 w 3960000"/>
              <a:gd name="connsiteY14" fmla="*/ 2105563 h 3960000"/>
              <a:gd name="connsiteX15" fmla="*/ 3207849 w 3960000"/>
              <a:gd name="connsiteY15" fmla="*/ 1493166 h 3960000"/>
              <a:gd name="connsiteX16" fmla="*/ 3449507 w 3960000"/>
              <a:gd name="connsiteY16" fmla="*/ 1170564 h 3960000"/>
              <a:gd name="connsiteX17" fmla="*/ 3140091 w 3960000"/>
              <a:gd name="connsiteY17" fmla="*/ 1227260 h 3960000"/>
              <a:gd name="connsiteX18" fmla="*/ 3324107 w 3960000"/>
              <a:gd name="connsiteY18" fmla="*/ 851504 h 3960000"/>
              <a:gd name="connsiteX19" fmla="*/ 2995677 w 3960000"/>
              <a:gd name="connsiteY19" fmla="*/ 1008938 h 3960000"/>
              <a:gd name="connsiteX20" fmla="*/ 2496208 w 3960000"/>
              <a:gd name="connsiteY20" fmla="*/ 770986 h 3960000"/>
              <a:gd name="connsiteX21" fmla="*/ 308009 w 3960000"/>
              <a:gd name="connsiteY21" fmla="*/ 0 h 3960000"/>
              <a:gd name="connsiteX22" fmla="*/ 3651991 w 3960000"/>
              <a:gd name="connsiteY22" fmla="*/ 0 h 3960000"/>
              <a:gd name="connsiteX23" fmla="*/ 3960000 w 3960000"/>
              <a:gd name="connsiteY23" fmla="*/ 308009 h 3960000"/>
              <a:gd name="connsiteX24" fmla="*/ 3960000 w 3960000"/>
              <a:gd name="connsiteY24" fmla="*/ 3651991 h 3960000"/>
              <a:gd name="connsiteX25" fmla="*/ 3651991 w 3960000"/>
              <a:gd name="connsiteY25" fmla="*/ 3960000 h 3960000"/>
              <a:gd name="connsiteX26" fmla="*/ 308009 w 3960000"/>
              <a:gd name="connsiteY26" fmla="*/ 3960000 h 3960000"/>
              <a:gd name="connsiteX27" fmla="*/ 0 w 3960000"/>
              <a:gd name="connsiteY27" fmla="*/ 3651991 h 3960000"/>
              <a:gd name="connsiteX28" fmla="*/ 0 w 3960000"/>
              <a:gd name="connsiteY28" fmla="*/ 308009 h 3960000"/>
              <a:gd name="connsiteX29" fmla="*/ 308009 w 3960000"/>
              <a:gd name="connsiteY29" fmla="*/ 0 h 3960000"/>
              <a:gd name="connsiteX30" fmla="*/ 308009 w 3960000"/>
              <a:gd name="connsiteY30" fmla="*/ 0 h 3960000"/>
              <a:gd name="connsiteX31" fmla="*/ 308009 w 3960000"/>
              <a:gd name="connsiteY31" fmla="*/ 0 h 3960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960000" h="3960000">
                <a:moveTo>
                  <a:pt x="3160999" y="1374274"/>
                </a:moveTo>
                <a:lnTo>
                  <a:pt x="3155132" y="1419362"/>
                </a:lnTo>
                <a:lnTo>
                  <a:pt x="3160999" y="1374274"/>
                </a:lnTo>
                <a:close/>
                <a:moveTo>
                  <a:pt x="2496208" y="770986"/>
                </a:moveTo>
                <a:cubicBezTo>
                  <a:pt x="2113414" y="770986"/>
                  <a:pt x="1929581" y="1106902"/>
                  <a:pt x="1921633" y="1292845"/>
                </a:cubicBezTo>
                <a:cubicBezTo>
                  <a:pt x="1914712" y="1454769"/>
                  <a:pt x="1928136" y="1522392"/>
                  <a:pt x="1942445" y="1570340"/>
                </a:cubicBezTo>
                <a:cubicBezTo>
                  <a:pt x="1547199" y="1510736"/>
                  <a:pt x="1237189" y="1330681"/>
                  <a:pt x="815277" y="836121"/>
                </a:cubicBezTo>
                <a:cubicBezTo>
                  <a:pt x="618819" y="1229038"/>
                  <a:pt x="733086" y="1558961"/>
                  <a:pt x="965659" y="1735195"/>
                </a:cubicBezTo>
                <a:cubicBezTo>
                  <a:pt x="864541" y="1716416"/>
                  <a:pt x="662904" y="1695759"/>
                  <a:pt x="570453" y="1629310"/>
                </a:cubicBezTo>
                <a:cubicBezTo>
                  <a:pt x="597898" y="2016450"/>
                  <a:pt x="990931" y="2177657"/>
                  <a:pt x="1196057" y="2257108"/>
                </a:cubicBezTo>
                <a:cubicBezTo>
                  <a:pt x="1113718" y="2275887"/>
                  <a:pt x="943857" y="2321380"/>
                  <a:pt x="813848" y="2296824"/>
                </a:cubicBezTo>
                <a:cubicBezTo>
                  <a:pt x="926523" y="2634848"/>
                  <a:pt x="1326064" y="2611755"/>
                  <a:pt x="1486410" y="2607420"/>
                </a:cubicBezTo>
                <a:cubicBezTo>
                  <a:pt x="1297174" y="2749708"/>
                  <a:pt x="1000058" y="2795794"/>
                  <a:pt x="489408" y="2829018"/>
                </a:cubicBezTo>
                <a:cubicBezTo>
                  <a:pt x="914827" y="3139596"/>
                  <a:pt x="1734874" y="3242281"/>
                  <a:pt x="2062787" y="3146219"/>
                </a:cubicBezTo>
                <a:cubicBezTo>
                  <a:pt x="2763394" y="2903535"/>
                  <a:pt x="2915370" y="2621267"/>
                  <a:pt x="3074271" y="2105563"/>
                </a:cubicBezTo>
                <a:cubicBezTo>
                  <a:pt x="3173740" y="1733406"/>
                  <a:pt x="3145310" y="1648999"/>
                  <a:pt x="3207849" y="1493166"/>
                </a:cubicBezTo>
                <a:cubicBezTo>
                  <a:pt x="3270388" y="1337333"/>
                  <a:pt x="3414210" y="1276468"/>
                  <a:pt x="3449507" y="1170564"/>
                </a:cubicBezTo>
                <a:cubicBezTo>
                  <a:pt x="3349883" y="1192977"/>
                  <a:pt x="3252716" y="1239516"/>
                  <a:pt x="3140091" y="1227260"/>
                </a:cubicBezTo>
                <a:cubicBezTo>
                  <a:pt x="3219995" y="1183499"/>
                  <a:pt x="3274317" y="996523"/>
                  <a:pt x="3324107" y="851504"/>
                </a:cubicBezTo>
                <a:cubicBezTo>
                  <a:pt x="3215037" y="921165"/>
                  <a:pt x="3152155" y="998691"/>
                  <a:pt x="2995677" y="1008938"/>
                </a:cubicBezTo>
                <a:cubicBezTo>
                  <a:pt x="2884471" y="881691"/>
                  <a:pt x="2678487" y="770986"/>
                  <a:pt x="2496208" y="770986"/>
                </a:cubicBezTo>
                <a:close/>
                <a:moveTo>
                  <a:pt x="308009" y="0"/>
                </a:moveTo>
                <a:lnTo>
                  <a:pt x="3651991" y="0"/>
                </a:lnTo>
                <a:cubicBezTo>
                  <a:pt x="3822100" y="0"/>
                  <a:pt x="3960000" y="137900"/>
                  <a:pt x="3960000" y="308009"/>
                </a:cubicBezTo>
                <a:lnTo>
                  <a:pt x="3960000" y="3651991"/>
                </a:lnTo>
                <a:cubicBezTo>
                  <a:pt x="3960000" y="3822100"/>
                  <a:pt x="3822100" y="3960000"/>
                  <a:pt x="3651991" y="3960000"/>
                </a:cubicBezTo>
                <a:lnTo>
                  <a:pt x="308009" y="3960000"/>
                </a:lnTo>
                <a:cubicBezTo>
                  <a:pt x="137900" y="3960000"/>
                  <a:pt x="0" y="3822100"/>
                  <a:pt x="0" y="3651991"/>
                </a:cubicBezTo>
                <a:lnTo>
                  <a:pt x="0" y="308009"/>
                </a:lnTo>
                <a:cubicBezTo>
                  <a:pt x="0" y="137900"/>
                  <a:pt x="137900" y="0"/>
                  <a:pt x="308009" y="0"/>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a:endParaRPr lang="ko-KR" altLang="en-US" sz="1400">
              <a:solidFill>
                <a:schemeClr val="tx1"/>
              </a:solidFill>
            </a:endParaRPr>
          </a:p>
        </p:txBody>
      </p:sp>
      <p:sp>
        <p:nvSpPr>
          <p:cNvPr id="100" name="Rounded Rectangle 3">
            <a:extLst>
              <a:ext uri="{FF2B5EF4-FFF2-40B4-BE49-F238E27FC236}">
                <a16:creationId xmlns:a16="http://schemas.microsoft.com/office/drawing/2014/main" id="{C2FE4DD9-BD0F-42FA-8558-1E2788EACC02}"/>
              </a:ext>
            </a:extLst>
          </p:cNvPr>
          <p:cNvSpPr>
            <a:spLocks noChangeAspect="1"/>
          </p:cNvSpPr>
          <p:nvPr/>
        </p:nvSpPr>
        <p:spPr>
          <a:xfrm>
            <a:off x="6031478" y="5441626"/>
            <a:ext cx="573035" cy="610732"/>
          </a:xfrm>
          <a:custGeom>
            <a:gdLst>
              <a:gd name="connsiteX0" fmla="*/ 2841893 w 3960000"/>
              <a:gd name="connsiteY0" fmla="*/ 181064 h 3960000"/>
              <a:gd name="connsiteX1" fmla="*/ 2105790 w 3960000"/>
              <a:gd name="connsiteY1" fmla="*/ 859562 h 3960000"/>
              <a:gd name="connsiteX2" fmla="*/ 2106860 w 3960000"/>
              <a:gd name="connsiteY2" fmla="*/ 863292 h 3960000"/>
              <a:gd name="connsiteX3" fmla="*/ 2106860 w 3960000"/>
              <a:gd name="connsiteY3" fmla="*/ 1248172 h 3960000"/>
              <a:gd name="connsiteX4" fmla="*/ 1691968 w 3960000"/>
              <a:gd name="connsiteY4" fmla="*/ 1248172 h 3960000"/>
              <a:gd name="connsiteX5" fmla="*/ 1691968 w 3960000"/>
              <a:gd name="connsiteY5" fmla="*/ 1824236 h 3960000"/>
              <a:gd name="connsiteX6" fmla="*/ 2106860 w 3960000"/>
              <a:gd name="connsiteY6" fmla="*/ 1824236 h 3960000"/>
              <a:gd name="connsiteX7" fmla="*/ 2106860 w 3960000"/>
              <a:gd name="connsiteY7" fmla="*/ 3779396 h 3960000"/>
              <a:gd name="connsiteX8" fmla="*/ 2754932 w 3960000"/>
              <a:gd name="connsiteY8" fmla="*/ 3779396 h 3960000"/>
              <a:gd name="connsiteX9" fmla="*/ 2754932 w 3960000"/>
              <a:gd name="connsiteY9" fmla="*/ 1824236 h 3960000"/>
              <a:gd name="connsiteX10" fmla="*/ 3305869 w 3960000"/>
              <a:gd name="connsiteY10" fmla="*/ 1813665 h 3960000"/>
              <a:gd name="connsiteX11" fmla="*/ 3348152 w 3960000"/>
              <a:gd name="connsiteY11" fmla="*/ 1248172 h 3960000"/>
              <a:gd name="connsiteX12" fmla="*/ 2754932 w 3960000"/>
              <a:gd name="connsiteY12" fmla="*/ 1248172 h 3960000"/>
              <a:gd name="connsiteX13" fmla="*/ 2754932 w 3960000"/>
              <a:gd name="connsiteY13" fmla="*/ 907124 h 3960000"/>
              <a:gd name="connsiteX14" fmla="*/ 3369037 w 3960000"/>
              <a:gd name="connsiteY14" fmla="*/ 704441 h 3960000"/>
              <a:gd name="connsiteX15" fmla="*/ 3410216 w 3960000"/>
              <a:gd name="connsiteY15" fmla="*/ 195189 h 3960000"/>
              <a:gd name="connsiteX16" fmla="*/ 2841893 w 3960000"/>
              <a:gd name="connsiteY16" fmla="*/ 181064 h 3960000"/>
              <a:gd name="connsiteX17" fmla="*/ 308009 w 3960000"/>
              <a:gd name="connsiteY17" fmla="*/ 0 h 3960000"/>
              <a:gd name="connsiteX18" fmla="*/ 3651991 w 3960000"/>
              <a:gd name="connsiteY18" fmla="*/ 0 h 3960000"/>
              <a:gd name="connsiteX19" fmla="*/ 3960000 w 3960000"/>
              <a:gd name="connsiteY19" fmla="*/ 308009 h 3960000"/>
              <a:gd name="connsiteX20" fmla="*/ 3960000 w 3960000"/>
              <a:gd name="connsiteY20" fmla="*/ 3651991 h 3960000"/>
              <a:gd name="connsiteX21" fmla="*/ 3651991 w 3960000"/>
              <a:gd name="connsiteY21" fmla="*/ 3960000 h 3960000"/>
              <a:gd name="connsiteX22" fmla="*/ 308009 w 3960000"/>
              <a:gd name="connsiteY22" fmla="*/ 3960000 h 3960000"/>
              <a:gd name="connsiteX23" fmla="*/ 0 w 3960000"/>
              <a:gd name="connsiteY23" fmla="*/ 3651991 h 3960000"/>
              <a:gd name="connsiteX24" fmla="*/ 0 w 3960000"/>
              <a:gd name="connsiteY24" fmla="*/ 308009 h 3960000"/>
              <a:gd name="connsiteX25" fmla="*/ 308009 w 3960000"/>
              <a:gd name="connsiteY25" fmla="*/ 0 h 3960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60000" h="3960000">
                <a:moveTo>
                  <a:pt x="2841893" y="181064"/>
                </a:moveTo>
                <a:cubicBezTo>
                  <a:pt x="2485731" y="190239"/>
                  <a:pt x="2106781" y="339266"/>
                  <a:pt x="2105790" y="859562"/>
                </a:cubicBezTo>
                <a:lnTo>
                  <a:pt x="2106860" y="863292"/>
                </a:lnTo>
                <a:lnTo>
                  <a:pt x="2106860" y="1248172"/>
                </a:lnTo>
                <a:lnTo>
                  <a:pt x="1691968" y="1248172"/>
                </a:lnTo>
                <a:lnTo>
                  <a:pt x="1691968" y="1824236"/>
                </a:lnTo>
                <a:lnTo>
                  <a:pt x="2106860" y="1824236"/>
                </a:lnTo>
                <a:lnTo>
                  <a:pt x="2106860" y="3779396"/>
                </a:lnTo>
                <a:lnTo>
                  <a:pt x="2754932" y="3779396"/>
                </a:lnTo>
                <a:lnTo>
                  <a:pt x="2754932" y="1824236"/>
                </a:lnTo>
                <a:lnTo>
                  <a:pt x="3305869" y="1813665"/>
                </a:lnTo>
                <a:lnTo>
                  <a:pt x="3348152" y="1248172"/>
                </a:lnTo>
                <a:lnTo>
                  <a:pt x="2754932" y="1248172"/>
                </a:lnTo>
                <a:lnTo>
                  <a:pt x="2754932" y="907124"/>
                </a:lnTo>
                <a:cubicBezTo>
                  <a:pt x="2746287" y="682909"/>
                  <a:pt x="3126764" y="685506"/>
                  <a:pt x="3369037" y="704441"/>
                </a:cubicBezTo>
                <a:cubicBezTo>
                  <a:pt x="3391941" y="556446"/>
                  <a:pt x="3409927" y="381656"/>
                  <a:pt x="3410216" y="195189"/>
                </a:cubicBezTo>
                <a:cubicBezTo>
                  <a:pt x="3239930" y="163882"/>
                  <a:pt x="3118909" y="173928"/>
                  <a:pt x="2841893" y="181064"/>
                </a:cubicBezTo>
                <a:close/>
                <a:moveTo>
                  <a:pt x="308009" y="0"/>
                </a:moveTo>
                <a:lnTo>
                  <a:pt x="3651991" y="0"/>
                </a:lnTo>
                <a:cubicBezTo>
                  <a:pt x="3822100" y="0"/>
                  <a:pt x="3960000" y="137900"/>
                  <a:pt x="3960000" y="308009"/>
                </a:cubicBezTo>
                <a:lnTo>
                  <a:pt x="3960000" y="3651991"/>
                </a:lnTo>
                <a:cubicBezTo>
                  <a:pt x="3960000" y="3822100"/>
                  <a:pt x="3822100" y="3960000"/>
                  <a:pt x="3651991" y="3960000"/>
                </a:cubicBezTo>
                <a:lnTo>
                  <a:pt x="308009" y="3960000"/>
                </a:lnTo>
                <a:cubicBezTo>
                  <a:pt x="137900" y="3960000"/>
                  <a:pt x="0" y="3822100"/>
                  <a:pt x="0" y="3651991"/>
                </a:cubicBezTo>
                <a:lnTo>
                  <a:pt x="0" y="308009"/>
                </a:lnTo>
                <a:cubicBezTo>
                  <a:pt x="0" y="137900"/>
                  <a:pt x="137900" y="0"/>
                  <a:pt x="308009" y="0"/>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a:endParaRPr lang="ko-KR" altLang="en-US" sz="1400">
              <a:solidFill>
                <a:schemeClr val="tx1"/>
              </a:solidFill>
            </a:endParaRPr>
          </a:p>
        </p:txBody>
      </p:sp>
      <p:sp>
        <p:nvSpPr>
          <p:cNvPr id="101" name="Rounded Rectangle 10">
            <a:extLst>
              <a:ext uri="{FF2B5EF4-FFF2-40B4-BE49-F238E27FC236}">
                <a16:creationId xmlns:a16="http://schemas.microsoft.com/office/drawing/2014/main" id="{798E328E-1056-4BD6-8D0A-FEC675AE63E6}"/>
              </a:ext>
            </a:extLst>
          </p:cNvPr>
          <p:cNvSpPr>
            <a:spLocks noChangeAspect="1"/>
          </p:cNvSpPr>
          <p:nvPr/>
        </p:nvSpPr>
        <p:spPr>
          <a:xfrm>
            <a:off x="7924478" y="5429218"/>
            <a:ext cx="575078" cy="623138"/>
          </a:xfrm>
          <a:custGeom>
            <a:rect l="l" t="t" r="r" b="b"/>
            <a:pathLst>
              <a:path w="3186824" h="3240000">
                <a:moveTo>
                  <a:pt x="2141174" y="1384899"/>
                </a:moveTo>
                <a:lnTo>
                  <a:pt x="2141174" y="1528887"/>
                </a:lnTo>
                <a:lnTo>
                  <a:pt x="1997174" y="1528887"/>
                </a:lnTo>
                <a:lnTo>
                  <a:pt x="1997174" y="1744911"/>
                </a:lnTo>
                <a:lnTo>
                  <a:pt x="2141174" y="1744911"/>
                </a:lnTo>
                <a:lnTo>
                  <a:pt x="2141174" y="1888899"/>
                </a:lnTo>
                <a:lnTo>
                  <a:pt x="2357174" y="1888899"/>
                </a:lnTo>
                <a:lnTo>
                  <a:pt x="2357174" y="1744911"/>
                </a:lnTo>
                <a:lnTo>
                  <a:pt x="2501174" y="1744911"/>
                </a:lnTo>
                <a:lnTo>
                  <a:pt x="2501174" y="1528887"/>
                </a:lnTo>
                <a:lnTo>
                  <a:pt x="2357174" y="1528887"/>
                </a:lnTo>
                <a:lnTo>
                  <a:pt x="2357174" y="1384899"/>
                </a:lnTo>
                <a:close/>
                <a:moveTo>
                  <a:pt x="1286582" y="1008157"/>
                </a:moveTo>
                <a:cubicBezTo>
                  <a:pt x="1148208" y="1006486"/>
                  <a:pt x="1009270" y="1051569"/>
                  <a:pt x="894997" y="1143711"/>
                </a:cubicBezTo>
                <a:cubicBezTo>
                  <a:pt x="666451" y="1327995"/>
                  <a:pt x="600947" y="1648602"/>
                  <a:pt x="738892" y="1907765"/>
                </a:cubicBezTo>
                <a:cubicBezTo>
                  <a:pt x="876837" y="2166928"/>
                  <a:pt x="1179371" y="2291639"/>
                  <a:pt x="1459875" y="2204971"/>
                </a:cubicBezTo>
                <a:cubicBezTo>
                  <a:pt x="1676459" y="2138053"/>
                  <a:pt x="1832801" y="1959669"/>
                  <a:pt x="1876637" y="1747242"/>
                </a:cubicBezTo>
                <a:lnTo>
                  <a:pt x="1879565" y="1747242"/>
                </a:lnTo>
                <a:lnTo>
                  <a:pt x="1879565" y="1728291"/>
                </a:lnTo>
                <a:cubicBezTo>
                  <a:pt x="1891883" y="1671800"/>
                  <a:pt x="1894168" y="1612713"/>
                  <a:pt x="1887545" y="1552862"/>
                </a:cubicBezTo>
                <a:lnTo>
                  <a:pt x="1879565" y="1553745"/>
                </a:lnTo>
                <a:lnTo>
                  <a:pt x="1879565" y="1531218"/>
                </a:lnTo>
                <a:lnTo>
                  <a:pt x="1231565" y="1531218"/>
                </a:lnTo>
                <a:lnTo>
                  <a:pt x="1231565" y="1747242"/>
                </a:lnTo>
                <a:lnTo>
                  <a:pt x="1565835" y="1747242"/>
                </a:lnTo>
                <a:cubicBezTo>
                  <a:pt x="1530201" y="1827940"/>
                  <a:pt x="1460959" y="1892348"/>
                  <a:pt x="1371795" y="1919897"/>
                </a:cubicBezTo>
                <a:cubicBezTo>
                  <a:pt x="1228031" y="1964316"/>
                  <a:pt x="1072976" y="1900399"/>
                  <a:pt x="1002277" y="1767573"/>
                </a:cubicBezTo>
                <a:cubicBezTo>
                  <a:pt x="931578" y="1634747"/>
                  <a:pt x="965150" y="1470429"/>
                  <a:pt x="1082284" y="1375980"/>
                </a:cubicBezTo>
                <a:cubicBezTo>
                  <a:pt x="1199418" y="1281531"/>
                  <a:pt x="1367118" y="1283556"/>
                  <a:pt x="1481937" y="1380807"/>
                </a:cubicBezTo>
                <a:lnTo>
                  <a:pt x="1674778" y="1153129"/>
                </a:lnTo>
                <a:cubicBezTo>
                  <a:pt x="1562764" y="1058254"/>
                  <a:pt x="1424955" y="1009828"/>
                  <a:pt x="1286582" y="1008157"/>
                </a:cubicBezTo>
                <a:close/>
                <a:moveTo>
                  <a:pt x="293028" y="0"/>
                </a:moveTo>
                <a:lnTo>
                  <a:pt x="2893796" y="0"/>
                </a:lnTo>
                <a:cubicBezTo>
                  <a:pt x="3055631" y="0"/>
                  <a:pt x="3186824" y="131193"/>
                  <a:pt x="3186824" y="293028"/>
                </a:cubicBezTo>
                <a:lnTo>
                  <a:pt x="3186824" y="2946972"/>
                </a:lnTo>
                <a:cubicBezTo>
                  <a:pt x="3186824" y="3108807"/>
                  <a:pt x="3055631" y="3240000"/>
                  <a:pt x="2893796" y="3240000"/>
                </a:cubicBezTo>
                <a:lnTo>
                  <a:pt x="293028" y="3240000"/>
                </a:lnTo>
                <a:cubicBezTo>
                  <a:pt x="131193" y="3240000"/>
                  <a:pt x="0" y="3108807"/>
                  <a:pt x="0" y="2946972"/>
                </a:cubicBezTo>
                <a:lnTo>
                  <a:pt x="0" y="293028"/>
                </a:lnTo>
                <a:cubicBezTo>
                  <a:pt x="0" y="131193"/>
                  <a:pt x="131193" y="0"/>
                  <a:pt x="293028" y="0"/>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p>
        </p:txBody>
      </p:sp>
      <p:sp>
        <p:nvSpPr>
          <p:cNvPr id="102" name="Block Arc 6">
            <a:extLst>
              <a:ext uri="{FF2B5EF4-FFF2-40B4-BE49-F238E27FC236}">
                <a16:creationId xmlns:a16="http://schemas.microsoft.com/office/drawing/2014/main" id="{62965521-2EFF-4BE9-866C-3D9369FA5C74}"/>
              </a:ext>
            </a:extLst>
          </p:cNvPr>
          <p:cNvSpPr/>
          <p:nvPr/>
        </p:nvSpPr>
        <p:spPr>
          <a:xfrm>
            <a:off x="8814348" y="5472138"/>
            <a:ext cx="539102" cy="580219"/>
          </a:xfrm>
          <a:custGeom>
            <a:gdLst>
              <a:gd name="connsiteX0" fmla="*/ 2664630 w 3189723"/>
              <a:gd name="connsiteY0" fmla="*/ 2175617 h 3221116"/>
              <a:gd name="connsiteX1" fmla="*/ 2658205 w 3189723"/>
              <a:gd name="connsiteY1" fmla="*/ 2178566 h 3221116"/>
              <a:gd name="connsiteX2" fmla="*/ 2664630 w 3189723"/>
              <a:gd name="connsiteY2" fmla="*/ 2175617 h 3221116"/>
              <a:gd name="connsiteX3" fmla="*/ 1477043 w 3189723"/>
              <a:gd name="connsiteY3" fmla="*/ 1144372 h 3221116"/>
              <a:gd name="connsiteX4" fmla="*/ 1409070 w 3189723"/>
              <a:gd name="connsiteY4" fmla="*/ 1159393 h 3221116"/>
              <a:gd name="connsiteX5" fmla="*/ 1152384 w 3189723"/>
              <a:gd name="connsiteY5" fmla="*/ 1703728 h 3221116"/>
              <a:gd name="connsiteX6" fmla="*/ 1514013 w 3189723"/>
              <a:gd name="connsiteY6" fmla="*/ 2152290 h 3221116"/>
              <a:gd name="connsiteX7" fmla="*/ 1850815 w 3189723"/>
              <a:gd name="connsiteY7" fmla="*/ 1654259 h 3221116"/>
              <a:gd name="connsiteX8" fmla="*/ 1830467 w 3189723"/>
              <a:gd name="connsiteY8" fmla="*/ 1515986 h 3221116"/>
              <a:gd name="connsiteX9" fmla="*/ 1477043 w 3189723"/>
              <a:gd name="connsiteY9" fmla="*/ 1144372 h 3221116"/>
              <a:gd name="connsiteX10" fmla="*/ 1651152 w 3189723"/>
              <a:gd name="connsiteY10" fmla="*/ 501 h 3221116"/>
              <a:gd name="connsiteX11" fmla="*/ 2580395 w 3189723"/>
              <a:gd name="connsiteY11" fmla="*/ 324821 h 3221116"/>
              <a:gd name="connsiteX12" fmla="*/ 3030464 w 3189723"/>
              <a:gd name="connsiteY12" fmla="*/ 2249544 h 3221116"/>
              <a:gd name="connsiteX13" fmla="*/ 2585849 w 3189723"/>
              <a:gd name="connsiteY13" fmla="*/ 2588887 h 3221116"/>
              <a:gd name="connsiteX14" fmla="*/ 1973374 w 3189723"/>
              <a:gd name="connsiteY14" fmla="*/ 2195096 h 3221116"/>
              <a:gd name="connsiteX15" fmla="*/ 1390827 w 3189723"/>
              <a:gd name="connsiteY15" fmla="*/ 2527630 h 3221116"/>
              <a:gd name="connsiteX16" fmla="*/ 783896 w 3189723"/>
              <a:gd name="connsiteY16" fmla="*/ 1665044 h 3221116"/>
              <a:gd name="connsiteX17" fmla="*/ 1268509 w 3189723"/>
              <a:gd name="connsiteY17" fmla="*/ 819983 h 3221116"/>
              <a:gd name="connsiteX18" fmla="*/ 1328805 w 3189723"/>
              <a:gd name="connsiteY18" fmla="*/ 807930 h 3221116"/>
              <a:gd name="connsiteX19" fmla="*/ 1390827 w 3189723"/>
              <a:gd name="connsiteY19" fmla="*/ 802457 h 3221116"/>
              <a:gd name="connsiteX20" fmla="*/ 1462242 w 3189723"/>
              <a:gd name="connsiteY20" fmla="*/ 801708 h 3221116"/>
              <a:gd name="connsiteX21" fmla="*/ 1956122 w 3189723"/>
              <a:gd name="connsiteY21" fmla="*/ 1110076 h 3221116"/>
              <a:gd name="connsiteX22" fmla="*/ 1973374 w 3189723"/>
              <a:gd name="connsiteY22" fmla="*/ 875315 h 3221116"/>
              <a:gd name="connsiteX23" fmla="*/ 2333414 w 3189723"/>
              <a:gd name="connsiteY23" fmla="*/ 875315 h 3221116"/>
              <a:gd name="connsiteX24" fmla="*/ 2324788 w 3189723"/>
              <a:gd name="connsiteY24" fmla="*/ 2054049 h 3221116"/>
              <a:gd name="connsiteX25" fmla="*/ 2661746 w 3189723"/>
              <a:gd name="connsiteY25" fmla="*/ 2179658 h 3221116"/>
              <a:gd name="connsiteX26" fmla="*/ 2691046 w 3189723"/>
              <a:gd name="connsiteY26" fmla="*/ 2188689 h 3221116"/>
              <a:gd name="connsiteX27" fmla="*/ 2667011 w 3189723"/>
              <a:gd name="connsiteY27" fmla="*/ 2175828 h 3221116"/>
              <a:gd name="connsiteX28" fmla="*/ 2332141 w 3189723"/>
              <a:gd name="connsiteY28" fmla="*/ 653899 h 3221116"/>
              <a:gd name="connsiteX29" fmla="*/ 776764 w 3189723"/>
              <a:gd name="connsiteY29" fmla="*/ 749845 h 3221116"/>
              <a:gd name="connsiteX30" fmla="*/ 631487 w 3189723"/>
              <a:gd name="connsiteY30" fmla="*/ 2301392 h 3221116"/>
              <a:gd name="connsiteX31" fmla="*/ 2142017 w 3189723"/>
              <a:gd name="connsiteY31" fmla="*/ 2684410 h 3221116"/>
              <a:gd name="connsiteX32" fmla="*/ 2324866 w 3189723"/>
              <a:gd name="connsiteY32" fmla="*/ 3053856 h 3221116"/>
              <a:gd name="connsiteX33" fmla="*/ 294693 w 3189723"/>
              <a:gd name="connsiteY33" fmla="*/ 2539075 h 3221116"/>
              <a:gd name="connsiteX34" fmla="*/ 489947 w 3189723"/>
              <a:gd name="connsiteY34" fmla="*/ 453774 h 3221116"/>
              <a:gd name="connsiteX35" fmla="*/ 1651152 w 3189723"/>
              <a:gd name="connsiteY35" fmla="*/ 501 h 3221116"/>
              <a:gd name="connsiteX36" fmla="*/ 1651152 w 3221102"/>
              <a:gd name="connsiteY36" fmla="*/ 501 h 3221116"/>
              <a:gd name="connsiteX37" fmla="*/ 1651152 w 3221102"/>
              <a:gd name="connsiteY37" fmla="*/ 501 h 322111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189723" h="3221116">
                <a:moveTo>
                  <a:pt x="2664630" y="2175617"/>
                </a:moveTo>
                <a:lnTo>
                  <a:pt x="2658205" y="2178566"/>
                </a:lnTo>
                <a:cubicBezTo>
                  <a:pt x="2662222" y="2175972"/>
                  <a:pt x="2664284" y="2175096"/>
                  <a:pt x="2664630" y="2175617"/>
                </a:cubicBezTo>
                <a:close/>
                <a:moveTo>
                  <a:pt x="1477043" y="1144372"/>
                </a:moveTo>
                <a:lnTo>
                  <a:pt x="1409070" y="1159393"/>
                </a:lnTo>
                <a:cubicBezTo>
                  <a:pt x="1167974" y="1216277"/>
                  <a:pt x="1134894" y="1538245"/>
                  <a:pt x="1152384" y="1703728"/>
                </a:cubicBezTo>
                <a:cubicBezTo>
                  <a:pt x="1169874" y="1869211"/>
                  <a:pt x="1272747" y="2156947"/>
                  <a:pt x="1514013" y="2152290"/>
                </a:cubicBezTo>
                <a:cubicBezTo>
                  <a:pt x="1680659" y="2149073"/>
                  <a:pt x="1865876" y="1940767"/>
                  <a:pt x="1850815" y="1654259"/>
                </a:cubicBezTo>
                <a:cubicBezTo>
                  <a:pt x="1844015" y="1608142"/>
                  <a:pt x="1837162" y="1561942"/>
                  <a:pt x="1830467" y="1515986"/>
                </a:cubicBezTo>
                <a:cubicBezTo>
                  <a:pt x="1779361" y="1292438"/>
                  <a:pt x="1635542" y="1134285"/>
                  <a:pt x="1477043" y="1144372"/>
                </a:cubicBezTo>
                <a:close/>
                <a:moveTo>
                  <a:pt x="1651152" y="501"/>
                </a:moveTo>
                <a:cubicBezTo>
                  <a:pt x="1977584" y="8635"/>
                  <a:pt x="2235425" y="52153"/>
                  <a:pt x="2580395" y="324821"/>
                </a:cubicBezTo>
                <a:cubicBezTo>
                  <a:pt x="3000061" y="656529"/>
                  <a:pt x="3430704" y="1549940"/>
                  <a:pt x="3030464" y="2249544"/>
                </a:cubicBezTo>
                <a:cubicBezTo>
                  <a:pt x="2882259" y="2451798"/>
                  <a:pt x="2785813" y="2507403"/>
                  <a:pt x="2585849" y="2588887"/>
                </a:cubicBezTo>
                <a:cubicBezTo>
                  <a:pt x="2194785" y="2615774"/>
                  <a:pt x="1984876" y="2478759"/>
                  <a:pt x="1973374" y="2195096"/>
                </a:cubicBezTo>
                <a:cubicBezTo>
                  <a:pt x="1841986" y="2496540"/>
                  <a:pt x="1610941" y="2555551"/>
                  <a:pt x="1390827" y="2527630"/>
                </a:cubicBezTo>
                <a:cubicBezTo>
                  <a:pt x="1131071" y="2494680"/>
                  <a:pt x="853863" y="2136270"/>
                  <a:pt x="783896" y="1665044"/>
                </a:cubicBezTo>
                <a:cubicBezTo>
                  <a:pt x="715204" y="1202409"/>
                  <a:pt x="991941" y="900416"/>
                  <a:pt x="1268509" y="819983"/>
                </a:cubicBezTo>
                <a:cubicBezTo>
                  <a:pt x="1288264" y="814237"/>
                  <a:pt x="1308391" y="810536"/>
                  <a:pt x="1328805" y="807930"/>
                </a:cubicBezTo>
                <a:cubicBezTo>
                  <a:pt x="1349219" y="805325"/>
                  <a:pt x="1369921" y="803817"/>
                  <a:pt x="1390827" y="802457"/>
                </a:cubicBezTo>
                <a:cubicBezTo>
                  <a:pt x="1416795" y="800769"/>
                  <a:pt x="1355770" y="788713"/>
                  <a:pt x="1462242" y="801708"/>
                </a:cubicBezTo>
                <a:cubicBezTo>
                  <a:pt x="1599590" y="818472"/>
                  <a:pt x="1776043" y="890774"/>
                  <a:pt x="1956122" y="1110076"/>
                </a:cubicBezTo>
                <a:lnTo>
                  <a:pt x="1973374" y="875315"/>
                </a:lnTo>
                <a:lnTo>
                  <a:pt x="2333414" y="875315"/>
                </a:lnTo>
                <a:cubicBezTo>
                  <a:pt x="2330539" y="1325736"/>
                  <a:pt x="2327663" y="1603628"/>
                  <a:pt x="2324788" y="2054049"/>
                </a:cubicBezTo>
                <a:cubicBezTo>
                  <a:pt x="2290850" y="2479718"/>
                  <a:pt x="2627788" y="2217580"/>
                  <a:pt x="2661746" y="2179658"/>
                </a:cubicBezTo>
                <a:lnTo>
                  <a:pt x="2691046" y="2188689"/>
                </a:lnTo>
                <a:lnTo>
                  <a:pt x="2667011" y="2175828"/>
                </a:lnTo>
                <a:cubicBezTo>
                  <a:pt x="2945550" y="1655295"/>
                  <a:pt x="2803444" y="1009445"/>
                  <a:pt x="2332141" y="653899"/>
                </a:cubicBezTo>
                <a:cubicBezTo>
                  <a:pt x="1860838" y="298353"/>
                  <a:pt x="1200794" y="339069"/>
                  <a:pt x="776764" y="749845"/>
                </a:cubicBezTo>
                <a:cubicBezTo>
                  <a:pt x="352733" y="1160621"/>
                  <a:pt x="291083" y="1819040"/>
                  <a:pt x="631487" y="2301392"/>
                </a:cubicBezTo>
                <a:cubicBezTo>
                  <a:pt x="971891" y="2783745"/>
                  <a:pt x="1612904" y="2946283"/>
                  <a:pt x="2142017" y="2684410"/>
                </a:cubicBezTo>
                <a:lnTo>
                  <a:pt x="2324866" y="3053856"/>
                </a:lnTo>
                <a:cubicBezTo>
                  <a:pt x="1613730" y="3405817"/>
                  <a:pt x="752200" y="3187363"/>
                  <a:pt x="294693" y="2539075"/>
                </a:cubicBezTo>
                <a:cubicBezTo>
                  <a:pt x="-162814" y="1890787"/>
                  <a:pt x="-79956" y="1005863"/>
                  <a:pt x="489947" y="453774"/>
                </a:cubicBezTo>
                <a:cubicBezTo>
                  <a:pt x="810518" y="143225"/>
                  <a:pt x="1231454" y="-9956"/>
                  <a:pt x="1651152" y="501"/>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tx1"/>
              </a:solidFill>
            </a:endParaRPr>
          </a:p>
        </p:txBody>
      </p:sp>
      <p:grpSp>
        <p:nvGrpSpPr>
          <p:cNvPr id="106" name="Google Shape;10001;p74"/>
          <p:cNvGrpSpPr/>
          <p:nvPr/>
        </p:nvGrpSpPr>
        <p:grpSpPr>
          <a:xfrm>
            <a:off x="10468323" y="5417440"/>
            <a:ext cx="547745" cy="583778"/>
            <a:chOff x="-65145698" y="3727425"/>
            <a:chExt cx="317425" cy="317425"/>
          </a:xfrm>
          <a:solidFill>
            <a:srgbClr val="00677F"/>
          </a:solidFill>
        </p:grpSpPr>
        <p:sp>
          <p:nvSpPr>
            <p:cNvPr id="107" name="Google Shape;10002;p74"/>
            <p:cNvSpPr/>
            <p:nvPr/>
          </p:nvSpPr>
          <p:spPr>
            <a:xfrm>
              <a:off x="-65145698" y="3769150"/>
              <a:ext cx="275675" cy="275700"/>
            </a:xfrm>
            <a:custGeom>
              <a:rect l="l" t="t" r="r" b="b"/>
              <a:pathLst>
                <a:path w="11027" h="11028" extrusionOk="0">
                  <a:moveTo>
                    <a:pt x="5514" y="1"/>
                  </a:moveTo>
                  <a:cubicBezTo>
                    <a:pt x="2489" y="1"/>
                    <a:pt x="0" y="2458"/>
                    <a:pt x="0" y="5514"/>
                  </a:cubicBezTo>
                  <a:cubicBezTo>
                    <a:pt x="0" y="8539"/>
                    <a:pt x="2489" y="11027"/>
                    <a:pt x="5514" y="11027"/>
                  </a:cubicBezTo>
                  <a:cubicBezTo>
                    <a:pt x="8538" y="11027"/>
                    <a:pt x="11027" y="8539"/>
                    <a:pt x="11027" y="5514"/>
                  </a:cubicBezTo>
                  <a:cubicBezTo>
                    <a:pt x="11027" y="5294"/>
                    <a:pt x="10869" y="5105"/>
                    <a:pt x="10649" y="5105"/>
                  </a:cubicBezTo>
                  <a:lnTo>
                    <a:pt x="5955" y="5105"/>
                  </a:lnTo>
                  <a:lnTo>
                    <a:pt x="5955" y="410"/>
                  </a:lnTo>
                  <a:cubicBezTo>
                    <a:pt x="5955" y="190"/>
                    <a:pt x="5766" y="1"/>
                    <a:pt x="5514" y="1"/>
                  </a:cubicBezTo>
                  <a:close/>
                </a:path>
              </a:pathLst>
            </a:custGeom>
            <a:grpFill/>
            <a:ln>
              <a:noFill/>
            </a:ln>
          </p:spPr>
          <p:txBody>
            <a:bodyPr spcFirstLastPara="1" wrap="square" lIns="91417" tIns="91417" rIns="91417" bIns="91417" anchor="ctr" anchorCtr="0">
              <a:noAutofit/>
            </a:bodyPr>
            <a:lstStyle/>
            <a:p>
              <a:endParaRPr sz="1400"/>
            </a:p>
          </p:txBody>
        </p:sp>
        <p:sp>
          <p:nvSpPr>
            <p:cNvPr id="108" name="Google Shape;10003;p74"/>
            <p:cNvSpPr/>
            <p:nvPr/>
          </p:nvSpPr>
          <p:spPr>
            <a:xfrm>
              <a:off x="-64977150" y="3727425"/>
              <a:ext cx="148875" cy="147300"/>
            </a:xfrm>
            <a:custGeom>
              <a:rect l="l" t="t" r="r" b="b"/>
              <a:pathLst>
                <a:path w="5955" h="5892" extrusionOk="0">
                  <a:moveTo>
                    <a:pt x="441" y="0"/>
                  </a:moveTo>
                  <a:cubicBezTo>
                    <a:pt x="189" y="0"/>
                    <a:pt x="0" y="158"/>
                    <a:pt x="0" y="378"/>
                  </a:cubicBezTo>
                  <a:lnTo>
                    <a:pt x="0" y="5513"/>
                  </a:lnTo>
                  <a:cubicBezTo>
                    <a:pt x="0" y="5702"/>
                    <a:pt x="189" y="5891"/>
                    <a:pt x="441" y="5891"/>
                  </a:cubicBezTo>
                  <a:lnTo>
                    <a:pt x="5514" y="5891"/>
                  </a:lnTo>
                  <a:cubicBezTo>
                    <a:pt x="5734" y="5891"/>
                    <a:pt x="5955" y="5702"/>
                    <a:pt x="5955" y="5513"/>
                  </a:cubicBezTo>
                  <a:cubicBezTo>
                    <a:pt x="5955" y="2489"/>
                    <a:pt x="3466" y="0"/>
                    <a:pt x="441" y="0"/>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132" name="Google Shape;10027;p74"/>
          <p:cNvGrpSpPr/>
          <p:nvPr/>
        </p:nvGrpSpPr>
        <p:grpSpPr>
          <a:xfrm>
            <a:off x="5311526" y="3702800"/>
            <a:ext cx="523629" cy="508065"/>
            <a:chOff x="-61354872" y="3751050"/>
            <a:chExt cx="316650" cy="288275"/>
          </a:xfrm>
          <a:solidFill>
            <a:srgbClr val="00677F"/>
          </a:solidFill>
        </p:grpSpPr>
        <p:sp>
          <p:nvSpPr>
            <p:cNvPr id="133" name="Google Shape;10028;p74"/>
            <p:cNvSpPr/>
            <p:nvPr/>
          </p:nvSpPr>
          <p:spPr>
            <a:xfrm>
              <a:off x="-61200500" y="3875475"/>
              <a:ext cx="41775" cy="41000"/>
            </a:xfrm>
            <a:custGeom>
              <a:rect l="l" t="t" r="r" b="b"/>
              <a:pathLst>
                <a:path w="1670" h="1640" extrusionOk="0">
                  <a:moveTo>
                    <a:pt x="820" y="1"/>
                  </a:moveTo>
                  <a:cubicBezTo>
                    <a:pt x="379" y="1"/>
                    <a:pt x="1" y="348"/>
                    <a:pt x="1" y="820"/>
                  </a:cubicBezTo>
                  <a:cubicBezTo>
                    <a:pt x="1" y="1261"/>
                    <a:pt x="379" y="1639"/>
                    <a:pt x="820" y="1639"/>
                  </a:cubicBezTo>
                  <a:cubicBezTo>
                    <a:pt x="1292" y="1639"/>
                    <a:pt x="1670" y="1261"/>
                    <a:pt x="1670" y="820"/>
                  </a:cubicBezTo>
                  <a:cubicBezTo>
                    <a:pt x="1670" y="348"/>
                    <a:pt x="1292" y="1"/>
                    <a:pt x="820" y="1"/>
                  </a:cubicBezTo>
                  <a:close/>
                </a:path>
              </a:pathLst>
            </a:custGeom>
            <a:grpFill/>
            <a:ln>
              <a:noFill/>
            </a:ln>
          </p:spPr>
          <p:txBody>
            <a:bodyPr spcFirstLastPara="1" wrap="square" lIns="91417" tIns="91417" rIns="91417" bIns="91417" anchor="ctr" anchorCtr="0">
              <a:noAutofit/>
            </a:bodyPr>
            <a:lstStyle/>
            <a:p>
              <a:endParaRPr sz="1400"/>
            </a:p>
          </p:txBody>
        </p:sp>
        <p:sp>
          <p:nvSpPr>
            <p:cNvPr id="134" name="Google Shape;10029;p74"/>
            <p:cNvSpPr/>
            <p:nvPr/>
          </p:nvSpPr>
          <p:spPr>
            <a:xfrm>
              <a:off x="-61293425" y="3813275"/>
              <a:ext cx="192975" cy="165425"/>
            </a:xfrm>
            <a:custGeom>
              <a:rect l="l" t="t" r="r" b="b"/>
              <a:pathLst>
                <a:path w="7718" h="6617" extrusionOk="0">
                  <a:moveTo>
                    <a:pt x="6191" y="1260"/>
                  </a:moveTo>
                  <a:cubicBezTo>
                    <a:pt x="6301" y="1260"/>
                    <a:pt x="6411" y="1292"/>
                    <a:pt x="6490" y="1355"/>
                  </a:cubicBezTo>
                  <a:cubicBezTo>
                    <a:pt x="6648" y="1512"/>
                    <a:pt x="6648" y="1796"/>
                    <a:pt x="6490" y="1953"/>
                  </a:cubicBezTo>
                  <a:lnTo>
                    <a:pt x="5954" y="2457"/>
                  </a:lnTo>
                  <a:cubicBezTo>
                    <a:pt x="6112" y="2709"/>
                    <a:pt x="6207" y="3025"/>
                    <a:pt x="6207" y="3308"/>
                  </a:cubicBezTo>
                  <a:cubicBezTo>
                    <a:pt x="6207" y="3592"/>
                    <a:pt x="6112" y="3907"/>
                    <a:pt x="5954" y="4127"/>
                  </a:cubicBezTo>
                  <a:lnTo>
                    <a:pt x="6490" y="4631"/>
                  </a:lnTo>
                  <a:cubicBezTo>
                    <a:pt x="6648" y="4789"/>
                    <a:pt x="6648" y="5072"/>
                    <a:pt x="6490" y="5230"/>
                  </a:cubicBezTo>
                  <a:cubicBezTo>
                    <a:pt x="6396" y="5324"/>
                    <a:pt x="6270" y="5356"/>
                    <a:pt x="6207" y="5356"/>
                  </a:cubicBezTo>
                  <a:cubicBezTo>
                    <a:pt x="6080" y="5356"/>
                    <a:pt x="6017" y="5324"/>
                    <a:pt x="5923" y="5230"/>
                  </a:cubicBezTo>
                  <a:lnTo>
                    <a:pt x="5419" y="4726"/>
                  </a:lnTo>
                  <a:cubicBezTo>
                    <a:pt x="5167" y="4883"/>
                    <a:pt x="4852" y="4946"/>
                    <a:pt x="4600" y="4946"/>
                  </a:cubicBezTo>
                  <a:cubicBezTo>
                    <a:pt x="4316" y="4946"/>
                    <a:pt x="4001" y="4883"/>
                    <a:pt x="3749" y="4726"/>
                  </a:cubicBezTo>
                  <a:lnTo>
                    <a:pt x="3245" y="5230"/>
                  </a:lnTo>
                  <a:cubicBezTo>
                    <a:pt x="3182" y="5324"/>
                    <a:pt x="3056" y="5356"/>
                    <a:pt x="2961" y="5356"/>
                  </a:cubicBezTo>
                  <a:cubicBezTo>
                    <a:pt x="2835" y="5356"/>
                    <a:pt x="2772" y="5324"/>
                    <a:pt x="2709" y="5230"/>
                  </a:cubicBezTo>
                  <a:cubicBezTo>
                    <a:pt x="2552" y="5072"/>
                    <a:pt x="2552" y="4789"/>
                    <a:pt x="2709" y="4631"/>
                  </a:cubicBezTo>
                  <a:lnTo>
                    <a:pt x="3214" y="4127"/>
                  </a:lnTo>
                  <a:cubicBezTo>
                    <a:pt x="2961" y="3907"/>
                    <a:pt x="2898" y="3623"/>
                    <a:pt x="2898" y="3308"/>
                  </a:cubicBezTo>
                  <a:cubicBezTo>
                    <a:pt x="2898" y="2993"/>
                    <a:pt x="2961" y="2709"/>
                    <a:pt x="3119" y="2457"/>
                  </a:cubicBezTo>
                  <a:lnTo>
                    <a:pt x="2615" y="1953"/>
                  </a:lnTo>
                  <a:cubicBezTo>
                    <a:pt x="2457" y="1796"/>
                    <a:pt x="2457" y="1512"/>
                    <a:pt x="2615" y="1355"/>
                  </a:cubicBezTo>
                  <a:cubicBezTo>
                    <a:pt x="2694" y="1292"/>
                    <a:pt x="2804" y="1260"/>
                    <a:pt x="2914" y="1260"/>
                  </a:cubicBezTo>
                  <a:cubicBezTo>
                    <a:pt x="3025" y="1260"/>
                    <a:pt x="3135" y="1292"/>
                    <a:pt x="3214" y="1355"/>
                  </a:cubicBezTo>
                  <a:lnTo>
                    <a:pt x="3718" y="1890"/>
                  </a:lnTo>
                  <a:cubicBezTo>
                    <a:pt x="3970" y="1733"/>
                    <a:pt x="4253" y="1638"/>
                    <a:pt x="4537" y="1638"/>
                  </a:cubicBezTo>
                  <a:cubicBezTo>
                    <a:pt x="4820" y="1638"/>
                    <a:pt x="5135" y="1733"/>
                    <a:pt x="5387" y="1890"/>
                  </a:cubicBezTo>
                  <a:lnTo>
                    <a:pt x="5891" y="1355"/>
                  </a:lnTo>
                  <a:cubicBezTo>
                    <a:pt x="5970" y="1292"/>
                    <a:pt x="6080" y="1260"/>
                    <a:pt x="6191" y="1260"/>
                  </a:cubicBezTo>
                  <a:close/>
                  <a:moveTo>
                    <a:pt x="0" y="0"/>
                  </a:moveTo>
                  <a:lnTo>
                    <a:pt x="0" y="1260"/>
                  </a:lnTo>
                  <a:lnTo>
                    <a:pt x="851" y="1260"/>
                  </a:lnTo>
                  <a:cubicBezTo>
                    <a:pt x="1071" y="1260"/>
                    <a:pt x="1260" y="1449"/>
                    <a:pt x="1260" y="1638"/>
                  </a:cubicBezTo>
                  <a:cubicBezTo>
                    <a:pt x="1260" y="1859"/>
                    <a:pt x="1071" y="2079"/>
                    <a:pt x="851" y="2079"/>
                  </a:cubicBezTo>
                  <a:lnTo>
                    <a:pt x="0" y="2079"/>
                  </a:lnTo>
                  <a:lnTo>
                    <a:pt x="0" y="4568"/>
                  </a:lnTo>
                  <a:lnTo>
                    <a:pt x="851" y="4568"/>
                  </a:lnTo>
                  <a:cubicBezTo>
                    <a:pt x="1071" y="4568"/>
                    <a:pt x="1260" y="4757"/>
                    <a:pt x="1260" y="4946"/>
                  </a:cubicBezTo>
                  <a:cubicBezTo>
                    <a:pt x="1260" y="5198"/>
                    <a:pt x="1071" y="5387"/>
                    <a:pt x="851" y="5387"/>
                  </a:cubicBezTo>
                  <a:lnTo>
                    <a:pt x="0" y="5387"/>
                  </a:lnTo>
                  <a:lnTo>
                    <a:pt x="0" y="6616"/>
                  </a:lnTo>
                  <a:lnTo>
                    <a:pt x="7719" y="6616"/>
                  </a:lnTo>
                  <a:lnTo>
                    <a:pt x="7719" y="0"/>
                  </a:lnTo>
                  <a:close/>
                </a:path>
              </a:pathLst>
            </a:custGeom>
            <a:grpFill/>
            <a:ln>
              <a:noFill/>
            </a:ln>
          </p:spPr>
          <p:txBody>
            <a:bodyPr spcFirstLastPara="1" wrap="square" lIns="91417" tIns="91417" rIns="91417" bIns="91417" anchor="ctr" anchorCtr="0">
              <a:noAutofit/>
            </a:bodyPr>
            <a:lstStyle/>
            <a:p>
              <a:endParaRPr sz="1400"/>
            </a:p>
          </p:txBody>
        </p:sp>
        <p:sp>
          <p:nvSpPr>
            <p:cNvPr id="135" name="Google Shape;10030;p74"/>
            <p:cNvSpPr/>
            <p:nvPr/>
          </p:nvSpPr>
          <p:spPr>
            <a:xfrm>
              <a:off x="-61354872" y="3751050"/>
              <a:ext cx="316650" cy="288275"/>
            </a:xfrm>
            <a:custGeom>
              <a:rect l="l" t="t" r="r" b="b"/>
              <a:pathLst>
                <a:path w="12666" h="11531" extrusionOk="0">
                  <a:moveTo>
                    <a:pt x="10618" y="1701"/>
                  </a:moveTo>
                  <a:cubicBezTo>
                    <a:pt x="10870" y="1701"/>
                    <a:pt x="11027" y="1890"/>
                    <a:pt x="11027" y="2080"/>
                  </a:cubicBezTo>
                  <a:lnTo>
                    <a:pt x="11027" y="9546"/>
                  </a:lnTo>
                  <a:cubicBezTo>
                    <a:pt x="11027" y="9767"/>
                    <a:pt x="10807" y="9956"/>
                    <a:pt x="10618" y="9956"/>
                  </a:cubicBezTo>
                  <a:lnTo>
                    <a:pt x="2080" y="9956"/>
                  </a:lnTo>
                  <a:cubicBezTo>
                    <a:pt x="1828" y="9956"/>
                    <a:pt x="1670" y="9767"/>
                    <a:pt x="1670" y="9546"/>
                  </a:cubicBezTo>
                  <a:lnTo>
                    <a:pt x="1670" y="2080"/>
                  </a:lnTo>
                  <a:cubicBezTo>
                    <a:pt x="1670" y="1859"/>
                    <a:pt x="1891" y="1701"/>
                    <a:pt x="2080" y="1701"/>
                  </a:cubicBezTo>
                  <a:close/>
                  <a:moveTo>
                    <a:pt x="1198" y="0"/>
                  </a:moveTo>
                  <a:cubicBezTo>
                    <a:pt x="536" y="0"/>
                    <a:pt x="1" y="567"/>
                    <a:pt x="1" y="1229"/>
                  </a:cubicBezTo>
                  <a:lnTo>
                    <a:pt x="1" y="10334"/>
                  </a:lnTo>
                  <a:cubicBezTo>
                    <a:pt x="1" y="10995"/>
                    <a:pt x="536" y="11531"/>
                    <a:pt x="1198" y="11531"/>
                  </a:cubicBezTo>
                  <a:lnTo>
                    <a:pt x="11405" y="11531"/>
                  </a:lnTo>
                  <a:cubicBezTo>
                    <a:pt x="12067" y="11531"/>
                    <a:pt x="12666" y="10995"/>
                    <a:pt x="12666" y="10334"/>
                  </a:cubicBezTo>
                  <a:lnTo>
                    <a:pt x="12666" y="1260"/>
                  </a:lnTo>
                  <a:cubicBezTo>
                    <a:pt x="12666" y="567"/>
                    <a:pt x="12130" y="0"/>
                    <a:pt x="11405" y="0"/>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179" name="Google Shape;10074;p74"/>
          <p:cNvGrpSpPr/>
          <p:nvPr/>
        </p:nvGrpSpPr>
        <p:grpSpPr>
          <a:xfrm>
            <a:off x="6104273" y="3669046"/>
            <a:ext cx="523629" cy="546973"/>
            <a:chOff x="-60988625" y="3740800"/>
            <a:chExt cx="316650" cy="310350"/>
          </a:xfrm>
          <a:solidFill>
            <a:srgbClr val="00677F"/>
          </a:solidFill>
        </p:grpSpPr>
        <p:sp>
          <p:nvSpPr>
            <p:cNvPr id="180" name="Google Shape;10075;p74"/>
            <p:cNvSpPr/>
            <p:nvPr/>
          </p:nvSpPr>
          <p:spPr>
            <a:xfrm>
              <a:off x="-60988625" y="3740800"/>
              <a:ext cx="311125" cy="310350"/>
            </a:xfrm>
            <a:custGeom>
              <a:rect l="l" t="t" r="r" b="b"/>
              <a:pathLst>
                <a:path w="12445" h="12414" extrusionOk="0">
                  <a:moveTo>
                    <a:pt x="7026" y="1670"/>
                  </a:moveTo>
                  <a:cubicBezTo>
                    <a:pt x="7278" y="1670"/>
                    <a:pt x="7467" y="1859"/>
                    <a:pt x="7467" y="2111"/>
                  </a:cubicBezTo>
                  <a:cubicBezTo>
                    <a:pt x="7467" y="2332"/>
                    <a:pt x="7278" y="2490"/>
                    <a:pt x="7026" y="2490"/>
                  </a:cubicBezTo>
                  <a:lnTo>
                    <a:pt x="2080" y="2490"/>
                  </a:lnTo>
                  <a:cubicBezTo>
                    <a:pt x="1828" y="2490"/>
                    <a:pt x="1639" y="2300"/>
                    <a:pt x="1639" y="2111"/>
                  </a:cubicBezTo>
                  <a:cubicBezTo>
                    <a:pt x="1639" y="1828"/>
                    <a:pt x="1828" y="1670"/>
                    <a:pt x="2080" y="1670"/>
                  </a:cubicBezTo>
                  <a:close/>
                  <a:moveTo>
                    <a:pt x="7026" y="4159"/>
                  </a:moveTo>
                  <a:cubicBezTo>
                    <a:pt x="7278" y="4159"/>
                    <a:pt x="7467" y="4348"/>
                    <a:pt x="7467" y="4537"/>
                  </a:cubicBezTo>
                  <a:cubicBezTo>
                    <a:pt x="7467" y="4789"/>
                    <a:pt x="7278" y="4978"/>
                    <a:pt x="7026" y="4978"/>
                  </a:cubicBezTo>
                  <a:lnTo>
                    <a:pt x="2080" y="4978"/>
                  </a:lnTo>
                  <a:cubicBezTo>
                    <a:pt x="1828" y="4978"/>
                    <a:pt x="1639" y="4789"/>
                    <a:pt x="1639" y="4537"/>
                  </a:cubicBezTo>
                  <a:cubicBezTo>
                    <a:pt x="1639" y="4317"/>
                    <a:pt x="1828" y="4159"/>
                    <a:pt x="2080" y="4159"/>
                  </a:cubicBezTo>
                  <a:close/>
                  <a:moveTo>
                    <a:pt x="7026" y="6648"/>
                  </a:moveTo>
                  <a:cubicBezTo>
                    <a:pt x="7278" y="6648"/>
                    <a:pt x="7467" y="6837"/>
                    <a:pt x="7467" y="7058"/>
                  </a:cubicBezTo>
                  <a:cubicBezTo>
                    <a:pt x="7467" y="7310"/>
                    <a:pt x="7278" y="7467"/>
                    <a:pt x="7026" y="7467"/>
                  </a:cubicBezTo>
                  <a:lnTo>
                    <a:pt x="2080" y="7467"/>
                  </a:lnTo>
                  <a:cubicBezTo>
                    <a:pt x="1828" y="7467"/>
                    <a:pt x="1639" y="7278"/>
                    <a:pt x="1639" y="7058"/>
                  </a:cubicBezTo>
                  <a:cubicBezTo>
                    <a:pt x="1639" y="6806"/>
                    <a:pt x="1828" y="6648"/>
                    <a:pt x="2080" y="6648"/>
                  </a:cubicBezTo>
                  <a:close/>
                  <a:moveTo>
                    <a:pt x="7026" y="9106"/>
                  </a:moveTo>
                  <a:cubicBezTo>
                    <a:pt x="7278" y="9106"/>
                    <a:pt x="7467" y="9295"/>
                    <a:pt x="7467" y="9515"/>
                  </a:cubicBezTo>
                  <a:cubicBezTo>
                    <a:pt x="7467" y="9736"/>
                    <a:pt x="7278" y="9893"/>
                    <a:pt x="7026" y="9893"/>
                  </a:cubicBezTo>
                  <a:lnTo>
                    <a:pt x="2080" y="9893"/>
                  </a:lnTo>
                  <a:cubicBezTo>
                    <a:pt x="1828" y="9893"/>
                    <a:pt x="1639" y="9704"/>
                    <a:pt x="1639" y="9515"/>
                  </a:cubicBezTo>
                  <a:cubicBezTo>
                    <a:pt x="1639" y="9263"/>
                    <a:pt x="1828" y="9106"/>
                    <a:pt x="2080" y="9106"/>
                  </a:cubicBezTo>
                  <a:close/>
                  <a:moveTo>
                    <a:pt x="11500" y="10775"/>
                  </a:moveTo>
                  <a:cubicBezTo>
                    <a:pt x="11342" y="11248"/>
                    <a:pt x="10870" y="11594"/>
                    <a:pt x="10303" y="11594"/>
                  </a:cubicBezTo>
                  <a:cubicBezTo>
                    <a:pt x="9767" y="11594"/>
                    <a:pt x="9326" y="11248"/>
                    <a:pt x="9137" y="10775"/>
                  </a:cubicBezTo>
                  <a:close/>
                  <a:moveTo>
                    <a:pt x="1261" y="1"/>
                  </a:moveTo>
                  <a:cubicBezTo>
                    <a:pt x="568" y="1"/>
                    <a:pt x="32" y="568"/>
                    <a:pt x="32" y="1229"/>
                  </a:cubicBezTo>
                  <a:lnTo>
                    <a:pt x="32" y="10334"/>
                  </a:lnTo>
                  <a:cubicBezTo>
                    <a:pt x="0" y="11468"/>
                    <a:pt x="946" y="12414"/>
                    <a:pt x="2080" y="12414"/>
                  </a:cubicBezTo>
                  <a:lnTo>
                    <a:pt x="10334" y="12414"/>
                  </a:lnTo>
                  <a:cubicBezTo>
                    <a:pt x="11500" y="12414"/>
                    <a:pt x="12445" y="11468"/>
                    <a:pt x="12445" y="10334"/>
                  </a:cubicBezTo>
                  <a:cubicBezTo>
                    <a:pt x="12445" y="10082"/>
                    <a:pt x="12224" y="9893"/>
                    <a:pt x="12004" y="9893"/>
                  </a:cubicBezTo>
                  <a:lnTo>
                    <a:pt x="9074" y="9893"/>
                  </a:lnTo>
                  <a:lnTo>
                    <a:pt x="9074" y="1229"/>
                  </a:lnTo>
                  <a:cubicBezTo>
                    <a:pt x="9074" y="568"/>
                    <a:pt x="8538" y="1"/>
                    <a:pt x="7877" y="1"/>
                  </a:cubicBezTo>
                  <a:close/>
                </a:path>
              </a:pathLst>
            </a:custGeom>
            <a:grpFill/>
            <a:ln>
              <a:noFill/>
            </a:ln>
          </p:spPr>
          <p:txBody>
            <a:bodyPr spcFirstLastPara="1" wrap="square" lIns="91417" tIns="91417" rIns="91417" bIns="91417" anchor="ctr" anchorCtr="0">
              <a:noAutofit/>
            </a:bodyPr>
            <a:lstStyle/>
            <a:p>
              <a:endParaRPr sz="1400"/>
            </a:p>
          </p:txBody>
        </p:sp>
        <p:sp>
          <p:nvSpPr>
            <p:cNvPr id="181" name="Google Shape;10076;p74"/>
            <p:cNvSpPr/>
            <p:nvPr/>
          </p:nvSpPr>
          <p:spPr>
            <a:xfrm>
              <a:off x="-60742097" y="3920375"/>
              <a:ext cx="68550" cy="55175"/>
            </a:xfrm>
            <a:custGeom>
              <a:rect l="l" t="t" r="r" b="b"/>
              <a:pathLst>
                <a:path w="2742" h="2207" extrusionOk="0">
                  <a:moveTo>
                    <a:pt x="0" y="1"/>
                  </a:moveTo>
                  <a:lnTo>
                    <a:pt x="0" y="32"/>
                  </a:lnTo>
                  <a:lnTo>
                    <a:pt x="1009" y="1986"/>
                  </a:lnTo>
                  <a:cubicBezTo>
                    <a:pt x="1103" y="2080"/>
                    <a:pt x="1261" y="2206"/>
                    <a:pt x="1418" y="2206"/>
                  </a:cubicBezTo>
                  <a:cubicBezTo>
                    <a:pt x="1576" y="2206"/>
                    <a:pt x="1733" y="2143"/>
                    <a:pt x="1796" y="1986"/>
                  </a:cubicBezTo>
                  <a:lnTo>
                    <a:pt x="2741" y="32"/>
                  </a:lnTo>
                  <a:lnTo>
                    <a:pt x="2741" y="1"/>
                  </a:lnTo>
                  <a:close/>
                </a:path>
              </a:pathLst>
            </a:custGeom>
            <a:grpFill/>
            <a:ln>
              <a:noFill/>
            </a:ln>
          </p:spPr>
          <p:txBody>
            <a:bodyPr spcFirstLastPara="1" wrap="square" lIns="91417" tIns="91417" rIns="91417" bIns="91417" anchor="ctr" anchorCtr="0">
              <a:noAutofit/>
            </a:bodyPr>
            <a:lstStyle/>
            <a:p>
              <a:endParaRPr sz="1400"/>
            </a:p>
          </p:txBody>
        </p:sp>
        <p:sp>
          <p:nvSpPr>
            <p:cNvPr id="182" name="Google Shape;10077;p74"/>
            <p:cNvSpPr/>
            <p:nvPr/>
          </p:nvSpPr>
          <p:spPr>
            <a:xfrm>
              <a:off x="-60740522" y="3741600"/>
              <a:ext cx="68550" cy="158325"/>
            </a:xfrm>
            <a:custGeom>
              <a:rect l="l" t="t" r="r" b="b"/>
              <a:pathLst>
                <a:path w="2742" h="6333" extrusionOk="0">
                  <a:moveTo>
                    <a:pt x="1796" y="819"/>
                  </a:moveTo>
                  <a:cubicBezTo>
                    <a:pt x="1891" y="819"/>
                    <a:pt x="1922" y="882"/>
                    <a:pt x="1922" y="945"/>
                  </a:cubicBezTo>
                  <a:lnTo>
                    <a:pt x="1922" y="1638"/>
                  </a:lnTo>
                  <a:lnTo>
                    <a:pt x="820" y="1638"/>
                  </a:lnTo>
                  <a:lnTo>
                    <a:pt x="820" y="945"/>
                  </a:lnTo>
                  <a:cubicBezTo>
                    <a:pt x="820" y="851"/>
                    <a:pt x="883" y="819"/>
                    <a:pt x="977" y="819"/>
                  </a:cubicBezTo>
                  <a:close/>
                  <a:moveTo>
                    <a:pt x="977" y="0"/>
                  </a:moveTo>
                  <a:cubicBezTo>
                    <a:pt x="410" y="0"/>
                    <a:pt x="1" y="410"/>
                    <a:pt x="1" y="945"/>
                  </a:cubicBezTo>
                  <a:lnTo>
                    <a:pt x="1" y="6333"/>
                  </a:lnTo>
                  <a:lnTo>
                    <a:pt x="2741" y="6333"/>
                  </a:lnTo>
                  <a:lnTo>
                    <a:pt x="2741" y="945"/>
                  </a:lnTo>
                  <a:cubicBezTo>
                    <a:pt x="2741" y="410"/>
                    <a:pt x="2300" y="0"/>
                    <a:pt x="1796" y="0"/>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189" name="Google Shape;10084;p74"/>
          <p:cNvGrpSpPr/>
          <p:nvPr/>
        </p:nvGrpSpPr>
        <p:grpSpPr>
          <a:xfrm>
            <a:off x="9506542" y="3681069"/>
            <a:ext cx="479509" cy="494673"/>
            <a:chOff x="-59447249" y="3706150"/>
            <a:chExt cx="319000" cy="308775"/>
          </a:xfrm>
          <a:solidFill>
            <a:srgbClr val="00677F"/>
          </a:solidFill>
        </p:grpSpPr>
        <p:sp>
          <p:nvSpPr>
            <p:cNvPr id="190" name="Google Shape;10085;p74"/>
            <p:cNvSpPr/>
            <p:nvPr/>
          </p:nvSpPr>
          <p:spPr>
            <a:xfrm>
              <a:off x="-59381876" y="3922750"/>
              <a:ext cx="79575" cy="29950"/>
            </a:xfrm>
            <a:custGeom>
              <a:rect l="l" t="t" r="r" b="b"/>
              <a:pathLst>
                <a:path w="3183" h="1198" extrusionOk="0">
                  <a:moveTo>
                    <a:pt x="1607" y="0"/>
                  </a:moveTo>
                  <a:cubicBezTo>
                    <a:pt x="820" y="0"/>
                    <a:pt x="190" y="504"/>
                    <a:pt x="1" y="1197"/>
                  </a:cubicBezTo>
                  <a:lnTo>
                    <a:pt x="3183" y="1197"/>
                  </a:lnTo>
                  <a:cubicBezTo>
                    <a:pt x="3025" y="536"/>
                    <a:pt x="2363" y="0"/>
                    <a:pt x="1607" y="0"/>
                  </a:cubicBezTo>
                  <a:close/>
                </a:path>
              </a:pathLst>
            </a:custGeom>
            <a:grpFill/>
            <a:ln>
              <a:noFill/>
            </a:ln>
          </p:spPr>
          <p:txBody>
            <a:bodyPr spcFirstLastPara="1" wrap="square" lIns="91417" tIns="91417" rIns="91417" bIns="91417" anchor="ctr" anchorCtr="0">
              <a:noAutofit/>
            </a:bodyPr>
            <a:lstStyle/>
            <a:p>
              <a:endParaRPr sz="1400"/>
            </a:p>
          </p:txBody>
        </p:sp>
        <p:sp>
          <p:nvSpPr>
            <p:cNvPr id="191" name="Google Shape;10086;p74"/>
            <p:cNvSpPr/>
            <p:nvPr/>
          </p:nvSpPr>
          <p:spPr>
            <a:xfrm>
              <a:off x="-59364550" y="3861525"/>
              <a:ext cx="43350" cy="40900"/>
            </a:xfrm>
            <a:custGeom>
              <a:rect l="l" t="t" r="r" b="b"/>
              <a:pathLst>
                <a:path w="1733" h="1636" extrusionOk="0">
                  <a:moveTo>
                    <a:pt x="858" y="0"/>
                  </a:moveTo>
                  <a:cubicBezTo>
                    <a:pt x="784" y="0"/>
                    <a:pt x="707" y="8"/>
                    <a:pt x="631" y="23"/>
                  </a:cubicBezTo>
                  <a:cubicBezTo>
                    <a:pt x="347" y="118"/>
                    <a:pt x="127" y="307"/>
                    <a:pt x="95" y="590"/>
                  </a:cubicBezTo>
                  <a:cubicBezTo>
                    <a:pt x="1" y="906"/>
                    <a:pt x="95" y="1189"/>
                    <a:pt x="284" y="1410"/>
                  </a:cubicBezTo>
                  <a:cubicBezTo>
                    <a:pt x="446" y="1548"/>
                    <a:pt x="658" y="1636"/>
                    <a:pt x="871" y="1636"/>
                  </a:cubicBezTo>
                  <a:cubicBezTo>
                    <a:pt x="949" y="1636"/>
                    <a:pt x="1027" y="1624"/>
                    <a:pt x="1103" y="1599"/>
                  </a:cubicBezTo>
                  <a:cubicBezTo>
                    <a:pt x="1387" y="1536"/>
                    <a:pt x="1607" y="1347"/>
                    <a:pt x="1670" y="1063"/>
                  </a:cubicBezTo>
                  <a:cubicBezTo>
                    <a:pt x="1733" y="748"/>
                    <a:pt x="1670" y="464"/>
                    <a:pt x="1450" y="244"/>
                  </a:cubicBezTo>
                  <a:cubicBezTo>
                    <a:pt x="1307" y="77"/>
                    <a:pt x="1091" y="0"/>
                    <a:pt x="858" y="0"/>
                  </a:cubicBezTo>
                  <a:close/>
                </a:path>
              </a:pathLst>
            </a:custGeom>
            <a:grpFill/>
            <a:ln>
              <a:noFill/>
            </a:ln>
          </p:spPr>
          <p:txBody>
            <a:bodyPr spcFirstLastPara="1" wrap="square" lIns="91417" tIns="91417" rIns="91417" bIns="91417" anchor="ctr" anchorCtr="0">
              <a:noAutofit/>
            </a:bodyPr>
            <a:lstStyle/>
            <a:p>
              <a:endParaRPr sz="1400"/>
            </a:p>
          </p:txBody>
        </p:sp>
        <p:sp>
          <p:nvSpPr>
            <p:cNvPr id="192" name="Google Shape;10087;p74"/>
            <p:cNvSpPr/>
            <p:nvPr/>
          </p:nvSpPr>
          <p:spPr>
            <a:xfrm>
              <a:off x="-59447249" y="3706150"/>
              <a:ext cx="319000" cy="308775"/>
            </a:xfrm>
            <a:custGeom>
              <a:rect l="l" t="t" r="r" b="b"/>
              <a:pathLst>
                <a:path w="12759" h="12351" extrusionOk="0">
                  <a:moveTo>
                    <a:pt x="6428" y="820"/>
                  </a:moveTo>
                  <a:cubicBezTo>
                    <a:pt x="6900" y="820"/>
                    <a:pt x="7247" y="1166"/>
                    <a:pt x="7247" y="1639"/>
                  </a:cubicBezTo>
                  <a:lnTo>
                    <a:pt x="7247" y="4128"/>
                  </a:lnTo>
                  <a:lnTo>
                    <a:pt x="5609" y="4128"/>
                  </a:lnTo>
                  <a:lnTo>
                    <a:pt x="5609" y="1639"/>
                  </a:lnTo>
                  <a:cubicBezTo>
                    <a:pt x="5609" y="1166"/>
                    <a:pt x="5955" y="820"/>
                    <a:pt x="6428" y="820"/>
                  </a:cubicBezTo>
                  <a:close/>
                  <a:moveTo>
                    <a:pt x="10681" y="6616"/>
                  </a:moveTo>
                  <a:cubicBezTo>
                    <a:pt x="10901" y="6616"/>
                    <a:pt x="11059" y="6805"/>
                    <a:pt x="11059" y="6994"/>
                  </a:cubicBezTo>
                  <a:cubicBezTo>
                    <a:pt x="11122" y="7247"/>
                    <a:pt x="10901" y="7436"/>
                    <a:pt x="10681" y="7436"/>
                  </a:cubicBezTo>
                  <a:lnTo>
                    <a:pt x="8192" y="7436"/>
                  </a:lnTo>
                  <a:cubicBezTo>
                    <a:pt x="7971" y="7436"/>
                    <a:pt x="7751" y="7247"/>
                    <a:pt x="7751" y="6994"/>
                  </a:cubicBezTo>
                  <a:cubicBezTo>
                    <a:pt x="7751" y="6742"/>
                    <a:pt x="7971" y="6616"/>
                    <a:pt x="8192" y="6616"/>
                  </a:cubicBezTo>
                  <a:close/>
                  <a:moveTo>
                    <a:pt x="10681" y="8255"/>
                  </a:moveTo>
                  <a:cubicBezTo>
                    <a:pt x="10901" y="8255"/>
                    <a:pt x="11059" y="8444"/>
                    <a:pt x="11059" y="8696"/>
                  </a:cubicBezTo>
                  <a:cubicBezTo>
                    <a:pt x="11122" y="8885"/>
                    <a:pt x="10901" y="9074"/>
                    <a:pt x="10681" y="9074"/>
                  </a:cubicBezTo>
                  <a:lnTo>
                    <a:pt x="8192" y="9074"/>
                  </a:lnTo>
                  <a:cubicBezTo>
                    <a:pt x="7971" y="9074"/>
                    <a:pt x="7751" y="8885"/>
                    <a:pt x="7751" y="8696"/>
                  </a:cubicBezTo>
                  <a:cubicBezTo>
                    <a:pt x="7751" y="8444"/>
                    <a:pt x="7971" y="8255"/>
                    <a:pt x="8192" y="8255"/>
                  </a:cubicBezTo>
                  <a:close/>
                  <a:moveTo>
                    <a:pt x="4233" y="5360"/>
                  </a:moveTo>
                  <a:cubicBezTo>
                    <a:pt x="4671" y="5360"/>
                    <a:pt x="5082" y="5531"/>
                    <a:pt x="5388" y="5860"/>
                  </a:cubicBezTo>
                  <a:cubicBezTo>
                    <a:pt x="5829" y="6301"/>
                    <a:pt x="5987" y="6868"/>
                    <a:pt x="5829" y="7467"/>
                  </a:cubicBezTo>
                  <a:cubicBezTo>
                    <a:pt x="5766" y="7751"/>
                    <a:pt x="5640" y="7971"/>
                    <a:pt x="5451" y="8192"/>
                  </a:cubicBezTo>
                  <a:cubicBezTo>
                    <a:pt x="6176" y="8601"/>
                    <a:pt x="6711" y="9389"/>
                    <a:pt x="6711" y="10334"/>
                  </a:cubicBezTo>
                  <a:cubicBezTo>
                    <a:pt x="6711" y="10555"/>
                    <a:pt x="6491" y="10744"/>
                    <a:pt x="6270" y="10744"/>
                  </a:cubicBezTo>
                  <a:lnTo>
                    <a:pt x="2143" y="10744"/>
                  </a:lnTo>
                  <a:cubicBezTo>
                    <a:pt x="1891" y="10744"/>
                    <a:pt x="1733" y="10555"/>
                    <a:pt x="1733" y="10303"/>
                  </a:cubicBezTo>
                  <a:cubicBezTo>
                    <a:pt x="1733" y="9357"/>
                    <a:pt x="2238" y="8570"/>
                    <a:pt x="3025" y="8129"/>
                  </a:cubicBezTo>
                  <a:cubicBezTo>
                    <a:pt x="2647" y="7688"/>
                    <a:pt x="2490" y="7121"/>
                    <a:pt x="2647" y="6553"/>
                  </a:cubicBezTo>
                  <a:cubicBezTo>
                    <a:pt x="2805" y="6018"/>
                    <a:pt x="3246" y="5577"/>
                    <a:pt x="3781" y="5419"/>
                  </a:cubicBezTo>
                  <a:cubicBezTo>
                    <a:pt x="3933" y="5379"/>
                    <a:pt x="4084" y="5360"/>
                    <a:pt x="4233" y="5360"/>
                  </a:cubicBezTo>
                  <a:close/>
                  <a:moveTo>
                    <a:pt x="10681" y="9893"/>
                  </a:moveTo>
                  <a:cubicBezTo>
                    <a:pt x="10901" y="9893"/>
                    <a:pt x="11059" y="10113"/>
                    <a:pt x="11059" y="10303"/>
                  </a:cubicBezTo>
                  <a:cubicBezTo>
                    <a:pt x="11122" y="10555"/>
                    <a:pt x="10901" y="10744"/>
                    <a:pt x="10681" y="10744"/>
                  </a:cubicBezTo>
                  <a:lnTo>
                    <a:pt x="8192" y="10744"/>
                  </a:lnTo>
                  <a:cubicBezTo>
                    <a:pt x="7971" y="10744"/>
                    <a:pt x="7751" y="10555"/>
                    <a:pt x="7751" y="10303"/>
                  </a:cubicBezTo>
                  <a:cubicBezTo>
                    <a:pt x="7751" y="10050"/>
                    <a:pt x="7971" y="9893"/>
                    <a:pt x="8192" y="9893"/>
                  </a:cubicBezTo>
                  <a:close/>
                  <a:moveTo>
                    <a:pt x="6396" y="0"/>
                  </a:moveTo>
                  <a:cubicBezTo>
                    <a:pt x="5483" y="0"/>
                    <a:pt x="4726" y="725"/>
                    <a:pt x="4726" y="1639"/>
                  </a:cubicBezTo>
                  <a:lnTo>
                    <a:pt x="4726" y="2458"/>
                  </a:lnTo>
                  <a:lnTo>
                    <a:pt x="1261" y="2458"/>
                  </a:lnTo>
                  <a:cubicBezTo>
                    <a:pt x="599" y="2458"/>
                    <a:pt x="1" y="3025"/>
                    <a:pt x="1" y="3686"/>
                  </a:cubicBezTo>
                  <a:lnTo>
                    <a:pt x="1" y="11122"/>
                  </a:lnTo>
                  <a:cubicBezTo>
                    <a:pt x="1" y="11815"/>
                    <a:pt x="568" y="12350"/>
                    <a:pt x="1261" y="12350"/>
                  </a:cubicBezTo>
                  <a:lnTo>
                    <a:pt x="11468" y="12350"/>
                  </a:lnTo>
                  <a:cubicBezTo>
                    <a:pt x="12130" y="12350"/>
                    <a:pt x="12697" y="11815"/>
                    <a:pt x="12697" y="11122"/>
                  </a:cubicBezTo>
                  <a:lnTo>
                    <a:pt x="12697" y="3686"/>
                  </a:lnTo>
                  <a:cubicBezTo>
                    <a:pt x="12760" y="3025"/>
                    <a:pt x="12162" y="2458"/>
                    <a:pt x="11500" y="2458"/>
                  </a:cubicBezTo>
                  <a:lnTo>
                    <a:pt x="8034" y="2458"/>
                  </a:lnTo>
                  <a:lnTo>
                    <a:pt x="8034" y="1639"/>
                  </a:lnTo>
                  <a:cubicBezTo>
                    <a:pt x="8034" y="725"/>
                    <a:pt x="7278" y="0"/>
                    <a:pt x="6396" y="0"/>
                  </a:cubicBezTo>
                  <a:close/>
                </a:path>
              </a:pathLst>
            </a:custGeom>
            <a:grpFill/>
            <a:ln>
              <a:noFill/>
            </a:ln>
          </p:spPr>
          <p:txBody>
            <a:bodyPr spcFirstLastPara="1" wrap="square" lIns="91417" tIns="91417" rIns="91417" bIns="91417" anchor="ctr" anchorCtr="0">
              <a:noAutofit/>
            </a:bodyPr>
            <a:lstStyle/>
            <a:p>
              <a:endParaRPr sz="1400"/>
            </a:p>
          </p:txBody>
        </p:sp>
        <p:sp>
          <p:nvSpPr>
            <p:cNvPr id="193" name="Google Shape;10088;p74"/>
            <p:cNvSpPr/>
            <p:nvPr/>
          </p:nvSpPr>
          <p:spPr>
            <a:xfrm>
              <a:off x="-59293652" y="3740025"/>
              <a:ext cx="14175" cy="14200"/>
            </a:xfrm>
            <a:custGeom>
              <a:rect l="l" t="t" r="r" b="b"/>
              <a:pathLst>
                <a:path w="567" h="568" extrusionOk="0">
                  <a:moveTo>
                    <a:pt x="284" y="0"/>
                  </a:moveTo>
                  <a:cubicBezTo>
                    <a:pt x="126" y="0"/>
                    <a:pt x="0" y="126"/>
                    <a:pt x="0" y="284"/>
                  </a:cubicBezTo>
                  <a:cubicBezTo>
                    <a:pt x="0" y="441"/>
                    <a:pt x="126" y="567"/>
                    <a:pt x="284" y="567"/>
                  </a:cubicBezTo>
                  <a:cubicBezTo>
                    <a:pt x="441" y="567"/>
                    <a:pt x="567" y="441"/>
                    <a:pt x="567" y="284"/>
                  </a:cubicBezTo>
                  <a:cubicBezTo>
                    <a:pt x="567" y="126"/>
                    <a:pt x="441" y="0"/>
                    <a:pt x="284" y="0"/>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194" name="Google Shape;10089;p74"/>
          <p:cNvGrpSpPr/>
          <p:nvPr/>
        </p:nvGrpSpPr>
        <p:grpSpPr>
          <a:xfrm>
            <a:off x="8537813" y="1572992"/>
            <a:ext cx="687285" cy="724613"/>
            <a:chOff x="-64406128" y="3362225"/>
            <a:chExt cx="318225" cy="314800"/>
          </a:xfrm>
          <a:solidFill>
            <a:srgbClr val="00677F"/>
          </a:solidFill>
        </p:grpSpPr>
        <p:sp>
          <p:nvSpPr>
            <p:cNvPr id="195" name="Google Shape;10090;p74"/>
            <p:cNvSpPr/>
            <p:nvPr/>
          </p:nvSpPr>
          <p:spPr>
            <a:xfrm>
              <a:off x="-64332098" y="3362225"/>
              <a:ext cx="170150" cy="199025"/>
            </a:xfrm>
            <a:custGeom>
              <a:rect l="l" t="t" r="r" b="b"/>
              <a:pathLst>
                <a:path w="6806" h="7961" extrusionOk="0">
                  <a:moveTo>
                    <a:pt x="4506" y="3266"/>
                  </a:moveTo>
                  <a:cubicBezTo>
                    <a:pt x="4569" y="3266"/>
                    <a:pt x="4601" y="3298"/>
                    <a:pt x="4632" y="3298"/>
                  </a:cubicBezTo>
                  <a:lnTo>
                    <a:pt x="5577" y="4621"/>
                  </a:lnTo>
                  <a:cubicBezTo>
                    <a:pt x="5420" y="5881"/>
                    <a:pt x="4664" y="7110"/>
                    <a:pt x="3403" y="7110"/>
                  </a:cubicBezTo>
                  <a:cubicBezTo>
                    <a:pt x="2206" y="7110"/>
                    <a:pt x="1419" y="5944"/>
                    <a:pt x="1261" y="4621"/>
                  </a:cubicBezTo>
                  <a:lnTo>
                    <a:pt x="2206" y="3298"/>
                  </a:lnTo>
                  <a:cubicBezTo>
                    <a:pt x="2238" y="3266"/>
                    <a:pt x="2269" y="3266"/>
                    <a:pt x="2301" y="3266"/>
                  </a:cubicBezTo>
                  <a:close/>
                  <a:moveTo>
                    <a:pt x="4055" y="1"/>
                  </a:moveTo>
                  <a:cubicBezTo>
                    <a:pt x="3400" y="1"/>
                    <a:pt x="2703" y="167"/>
                    <a:pt x="2049" y="494"/>
                  </a:cubicBezTo>
                  <a:cubicBezTo>
                    <a:pt x="1957" y="483"/>
                    <a:pt x="1867" y="478"/>
                    <a:pt x="1779" y="478"/>
                  </a:cubicBezTo>
                  <a:cubicBezTo>
                    <a:pt x="1354" y="478"/>
                    <a:pt x="976" y="600"/>
                    <a:pt x="662" y="809"/>
                  </a:cubicBezTo>
                  <a:cubicBezTo>
                    <a:pt x="347" y="1061"/>
                    <a:pt x="1" y="1534"/>
                    <a:pt x="1" y="2384"/>
                  </a:cubicBezTo>
                  <a:cubicBezTo>
                    <a:pt x="1" y="2857"/>
                    <a:pt x="95" y="3613"/>
                    <a:pt x="347" y="4621"/>
                  </a:cubicBezTo>
                  <a:cubicBezTo>
                    <a:pt x="473" y="4810"/>
                    <a:pt x="536" y="6070"/>
                    <a:pt x="1482" y="7078"/>
                  </a:cubicBezTo>
                  <a:cubicBezTo>
                    <a:pt x="2049" y="7646"/>
                    <a:pt x="2710" y="7961"/>
                    <a:pt x="3403" y="7961"/>
                  </a:cubicBezTo>
                  <a:cubicBezTo>
                    <a:pt x="5136" y="7961"/>
                    <a:pt x="6207" y="6417"/>
                    <a:pt x="6396" y="4621"/>
                  </a:cubicBezTo>
                  <a:cubicBezTo>
                    <a:pt x="6554" y="4085"/>
                    <a:pt x="6774" y="3046"/>
                    <a:pt x="6806" y="2447"/>
                  </a:cubicBezTo>
                  <a:cubicBezTo>
                    <a:pt x="6806" y="1565"/>
                    <a:pt x="6459" y="872"/>
                    <a:pt x="5703" y="431"/>
                  </a:cubicBezTo>
                  <a:cubicBezTo>
                    <a:pt x="5234" y="143"/>
                    <a:pt x="4662" y="1"/>
                    <a:pt x="4055" y="1"/>
                  </a:cubicBezTo>
                  <a:close/>
                </a:path>
              </a:pathLst>
            </a:custGeom>
            <a:grpFill/>
            <a:ln>
              <a:noFill/>
            </a:ln>
          </p:spPr>
          <p:txBody>
            <a:bodyPr spcFirstLastPara="1" wrap="square" lIns="91417" tIns="91417" rIns="91417" bIns="91417" anchor="ctr" anchorCtr="0">
              <a:noAutofit/>
            </a:bodyPr>
            <a:lstStyle/>
            <a:p>
              <a:endParaRPr sz="1400"/>
            </a:p>
          </p:txBody>
        </p:sp>
        <p:sp>
          <p:nvSpPr>
            <p:cNvPr id="196" name="Google Shape;10091;p74"/>
            <p:cNvSpPr/>
            <p:nvPr/>
          </p:nvSpPr>
          <p:spPr>
            <a:xfrm>
              <a:off x="-64406128" y="3559050"/>
              <a:ext cx="318225" cy="117975"/>
            </a:xfrm>
            <a:custGeom>
              <a:rect l="l" t="t" r="r" b="b"/>
              <a:pathLst>
                <a:path w="12729" h="4719" extrusionOk="0">
                  <a:moveTo>
                    <a:pt x="4474" y="1001"/>
                  </a:moveTo>
                  <a:lnTo>
                    <a:pt x="5797" y="2293"/>
                  </a:lnTo>
                  <a:lnTo>
                    <a:pt x="5199" y="2891"/>
                  </a:lnTo>
                  <a:lnTo>
                    <a:pt x="4002" y="1159"/>
                  </a:lnTo>
                  <a:cubicBezTo>
                    <a:pt x="4159" y="1096"/>
                    <a:pt x="4380" y="1064"/>
                    <a:pt x="4474" y="1001"/>
                  </a:cubicBezTo>
                  <a:close/>
                  <a:moveTo>
                    <a:pt x="8318" y="1001"/>
                  </a:moveTo>
                  <a:cubicBezTo>
                    <a:pt x="8475" y="1064"/>
                    <a:pt x="8633" y="1159"/>
                    <a:pt x="8790" y="1190"/>
                  </a:cubicBezTo>
                  <a:lnTo>
                    <a:pt x="7593" y="2891"/>
                  </a:lnTo>
                  <a:lnTo>
                    <a:pt x="6995" y="2293"/>
                  </a:lnTo>
                  <a:lnTo>
                    <a:pt x="8318" y="1001"/>
                  </a:lnTo>
                  <a:close/>
                  <a:moveTo>
                    <a:pt x="10681" y="3112"/>
                  </a:moveTo>
                  <a:cubicBezTo>
                    <a:pt x="10901" y="3112"/>
                    <a:pt x="11059" y="3301"/>
                    <a:pt x="11059" y="3553"/>
                  </a:cubicBezTo>
                  <a:cubicBezTo>
                    <a:pt x="11059" y="3742"/>
                    <a:pt x="10870" y="3931"/>
                    <a:pt x="10681" y="3931"/>
                  </a:cubicBezTo>
                  <a:lnTo>
                    <a:pt x="9578" y="3931"/>
                  </a:lnTo>
                  <a:cubicBezTo>
                    <a:pt x="9326" y="3931"/>
                    <a:pt x="9137" y="3742"/>
                    <a:pt x="9137" y="3553"/>
                  </a:cubicBezTo>
                  <a:cubicBezTo>
                    <a:pt x="9137" y="3301"/>
                    <a:pt x="9326" y="3112"/>
                    <a:pt x="9578" y="3112"/>
                  </a:cubicBezTo>
                  <a:close/>
                  <a:moveTo>
                    <a:pt x="4458" y="1"/>
                  </a:moveTo>
                  <a:cubicBezTo>
                    <a:pt x="4348" y="1"/>
                    <a:pt x="4238" y="40"/>
                    <a:pt x="4159" y="119"/>
                  </a:cubicBezTo>
                  <a:cubicBezTo>
                    <a:pt x="4065" y="245"/>
                    <a:pt x="3939" y="308"/>
                    <a:pt x="3781" y="308"/>
                  </a:cubicBezTo>
                  <a:lnTo>
                    <a:pt x="2395" y="308"/>
                  </a:lnTo>
                  <a:cubicBezTo>
                    <a:pt x="914" y="308"/>
                    <a:pt x="0" y="1442"/>
                    <a:pt x="0" y="2639"/>
                  </a:cubicBezTo>
                  <a:lnTo>
                    <a:pt x="0" y="4341"/>
                  </a:lnTo>
                  <a:cubicBezTo>
                    <a:pt x="0" y="4561"/>
                    <a:pt x="189" y="4719"/>
                    <a:pt x="441" y="4719"/>
                  </a:cubicBezTo>
                  <a:lnTo>
                    <a:pt x="12287" y="4719"/>
                  </a:lnTo>
                  <a:cubicBezTo>
                    <a:pt x="12508" y="4719"/>
                    <a:pt x="12665" y="4530"/>
                    <a:pt x="12665" y="4341"/>
                  </a:cubicBezTo>
                  <a:lnTo>
                    <a:pt x="12665" y="2639"/>
                  </a:lnTo>
                  <a:cubicBezTo>
                    <a:pt x="12728" y="1474"/>
                    <a:pt x="11783" y="371"/>
                    <a:pt x="10303" y="371"/>
                  </a:cubicBezTo>
                  <a:lnTo>
                    <a:pt x="8948" y="371"/>
                  </a:lnTo>
                  <a:cubicBezTo>
                    <a:pt x="8727" y="371"/>
                    <a:pt x="8664" y="277"/>
                    <a:pt x="8538" y="151"/>
                  </a:cubicBezTo>
                  <a:cubicBezTo>
                    <a:pt x="8456" y="52"/>
                    <a:pt x="8339" y="5"/>
                    <a:pt x="8219" y="5"/>
                  </a:cubicBezTo>
                  <a:cubicBezTo>
                    <a:pt x="8110" y="5"/>
                    <a:pt x="7998" y="44"/>
                    <a:pt x="7908" y="119"/>
                  </a:cubicBezTo>
                  <a:lnTo>
                    <a:pt x="6333" y="1694"/>
                  </a:lnTo>
                  <a:lnTo>
                    <a:pt x="4758" y="119"/>
                  </a:lnTo>
                  <a:cubicBezTo>
                    <a:pt x="4679" y="40"/>
                    <a:pt x="4569" y="1"/>
                    <a:pt x="4458" y="1"/>
                  </a:cubicBezTo>
                  <a:close/>
                </a:path>
              </a:pathLst>
            </a:custGeom>
            <a:grpFill/>
            <a:ln>
              <a:noFill/>
            </a:ln>
          </p:spPr>
          <p:txBody>
            <a:bodyPr spcFirstLastPara="1" wrap="square" lIns="91417" tIns="91417" rIns="91417" bIns="91417" anchor="ctr" anchorCtr="0">
              <a:noAutofit/>
            </a:bodyPr>
            <a:lstStyle/>
            <a:p>
              <a:endParaRPr sz="1400"/>
            </a:p>
          </p:txBody>
        </p:sp>
      </p:grpSp>
      <p:sp>
        <p:nvSpPr>
          <p:cNvPr id="218" name="Google Shape;10113;p74"/>
          <p:cNvSpPr/>
          <p:nvPr/>
        </p:nvSpPr>
        <p:spPr>
          <a:xfrm>
            <a:off x="6972572" y="3640869"/>
            <a:ext cx="527514" cy="556004"/>
          </a:xfrm>
          <a:custGeom>
            <a:rect l="l" t="t" r="r" b="b"/>
            <a:pathLst>
              <a:path w="12759" h="12619" extrusionOk="0">
                <a:moveTo>
                  <a:pt x="10082" y="2190"/>
                </a:moveTo>
                <a:lnTo>
                  <a:pt x="11027" y="2726"/>
                </a:lnTo>
                <a:lnTo>
                  <a:pt x="8948" y="6317"/>
                </a:lnTo>
                <a:lnTo>
                  <a:pt x="8003" y="5781"/>
                </a:lnTo>
                <a:cubicBezTo>
                  <a:pt x="8349" y="5151"/>
                  <a:pt x="9704" y="2820"/>
                  <a:pt x="10082" y="2190"/>
                </a:cubicBezTo>
                <a:close/>
                <a:moveTo>
                  <a:pt x="7813" y="6601"/>
                </a:moveTo>
                <a:lnTo>
                  <a:pt x="8318" y="6916"/>
                </a:lnTo>
                <a:lnTo>
                  <a:pt x="7782" y="7262"/>
                </a:lnTo>
                <a:lnTo>
                  <a:pt x="7813" y="6601"/>
                </a:lnTo>
                <a:close/>
                <a:moveTo>
                  <a:pt x="10554" y="8522"/>
                </a:moveTo>
                <a:cubicBezTo>
                  <a:pt x="10806" y="8522"/>
                  <a:pt x="10964" y="8711"/>
                  <a:pt x="10964" y="8900"/>
                </a:cubicBezTo>
                <a:cubicBezTo>
                  <a:pt x="10964" y="9153"/>
                  <a:pt x="10806" y="9342"/>
                  <a:pt x="10554" y="9342"/>
                </a:cubicBezTo>
                <a:lnTo>
                  <a:pt x="5608" y="9342"/>
                </a:lnTo>
                <a:cubicBezTo>
                  <a:pt x="5356" y="9342"/>
                  <a:pt x="5167" y="9153"/>
                  <a:pt x="5167" y="8900"/>
                </a:cubicBezTo>
                <a:cubicBezTo>
                  <a:pt x="5167" y="8680"/>
                  <a:pt x="5356" y="8522"/>
                  <a:pt x="5608" y="8522"/>
                </a:cubicBezTo>
                <a:close/>
                <a:moveTo>
                  <a:pt x="3088" y="5592"/>
                </a:moveTo>
                <a:cubicBezTo>
                  <a:pt x="3308" y="5592"/>
                  <a:pt x="3497" y="5813"/>
                  <a:pt x="3497" y="6002"/>
                </a:cubicBezTo>
                <a:lnTo>
                  <a:pt x="3497" y="6286"/>
                </a:lnTo>
                <a:cubicBezTo>
                  <a:pt x="3970" y="6443"/>
                  <a:pt x="4348" y="6916"/>
                  <a:pt x="4348" y="7451"/>
                </a:cubicBezTo>
                <a:cubicBezTo>
                  <a:pt x="4348" y="7703"/>
                  <a:pt x="4159" y="7861"/>
                  <a:pt x="3907" y="7861"/>
                </a:cubicBezTo>
                <a:cubicBezTo>
                  <a:pt x="3655" y="7861"/>
                  <a:pt x="3497" y="7640"/>
                  <a:pt x="3497" y="7451"/>
                </a:cubicBezTo>
                <a:cubicBezTo>
                  <a:pt x="3497" y="7231"/>
                  <a:pt x="3308" y="7010"/>
                  <a:pt x="3088" y="7010"/>
                </a:cubicBezTo>
                <a:cubicBezTo>
                  <a:pt x="2836" y="7010"/>
                  <a:pt x="2678" y="7231"/>
                  <a:pt x="2678" y="7451"/>
                </a:cubicBezTo>
                <a:cubicBezTo>
                  <a:pt x="2678" y="7703"/>
                  <a:pt x="3025" y="7924"/>
                  <a:pt x="3340" y="8176"/>
                </a:cubicBezTo>
                <a:cubicBezTo>
                  <a:pt x="3781" y="8491"/>
                  <a:pt x="4348" y="8869"/>
                  <a:pt x="4348" y="9531"/>
                </a:cubicBezTo>
                <a:cubicBezTo>
                  <a:pt x="4348" y="10098"/>
                  <a:pt x="3970" y="10539"/>
                  <a:pt x="3497" y="10728"/>
                </a:cubicBezTo>
                <a:lnTo>
                  <a:pt x="3497" y="11011"/>
                </a:lnTo>
                <a:cubicBezTo>
                  <a:pt x="3497" y="11232"/>
                  <a:pt x="3308" y="11452"/>
                  <a:pt x="3088" y="11452"/>
                </a:cubicBezTo>
                <a:cubicBezTo>
                  <a:pt x="2836" y="11452"/>
                  <a:pt x="2678" y="11232"/>
                  <a:pt x="2678" y="11011"/>
                </a:cubicBezTo>
                <a:lnTo>
                  <a:pt x="2678" y="10728"/>
                </a:lnTo>
                <a:cubicBezTo>
                  <a:pt x="2206" y="10570"/>
                  <a:pt x="1859" y="10098"/>
                  <a:pt x="1859" y="9531"/>
                </a:cubicBezTo>
                <a:cubicBezTo>
                  <a:pt x="1859" y="9310"/>
                  <a:pt x="2048" y="9121"/>
                  <a:pt x="2300" y="9121"/>
                </a:cubicBezTo>
                <a:cubicBezTo>
                  <a:pt x="2521" y="9121"/>
                  <a:pt x="2678" y="9310"/>
                  <a:pt x="2678" y="9531"/>
                </a:cubicBezTo>
                <a:cubicBezTo>
                  <a:pt x="2678" y="9783"/>
                  <a:pt x="2867" y="9940"/>
                  <a:pt x="3088" y="9940"/>
                </a:cubicBezTo>
                <a:cubicBezTo>
                  <a:pt x="3308" y="9940"/>
                  <a:pt x="3497" y="9751"/>
                  <a:pt x="3497" y="9531"/>
                </a:cubicBezTo>
                <a:cubicBezTo>
                  <a:pt x="3497" y="9310"/>
                  <a:pt x="3182" y="9089"/>
                  <a:pt x="2836" y="8837"/>
                </a:cubicBezTo>
                <a:cubicBezTo>
                  <a:pt x="2395" y="8522"/>
                  <a:pt x="1859" y="8113"/>
                  <a:pt x="1859" y="7451"/>
                </a:cubicBezTo>
                <a:cubicBezTo>
                  <a:pt x="1859" y="6916"/>
                  <a:pt x="2206" y="6475"/>
                  <a:pt x="2678" y="6286"/>
                </a:cubicBezTo>
                <a:lnTo>
                  <a:pt x="2678" y="6002"/>
                </a:lnTo>
                <a:cubicBezTo>
                  <a:pt x="2678" y="5750"/>
                  <a:pt x="2867" y="5592"/>
                  <a:pt x="3088" y="5592"/>
                </a:cubicBezTo>
                <a:close/>
                <a:moveTo>
                  <a:pt x="10554" y="11011"/>
                </a:moveTo>
                <a:cubicBezTo>
                  <a:pt x="10806" y="11011"/>
                  <a:pt x="10964" y="11200"/>
                  <a:pt x="10964" y="11452"/>
                </a:cubicBezTo>
                <a:cubicBezTo>
                  <a:pt x="10964" y="11641"/>
                  <a:pt x="10806" y="11830"/>
                  <a:pt x="10554" y="11830"/>
                </a:cubicBezTo>
                <a:lnTo>
                  <a:pt x="5608" y="11830"/>
                </a:lnTo>
                <a:cubicBezTo>
                  <a:pt x="5356" y="11830"/>
                  <a:pt x="5167" y="11641"/>
                  <a:pt x="5167" y="11452"/>
                </a:cubicBezTo>
                <a:cubicBezTo>
                  <a:pt x="5167" y="11200"/>
                  <a:pt x="5356" y="11011"/>
                  <a:pt x="5608" y="11011"/>
                </a:cubicBezTo>
                <a:close/>
                <a:moveTo>
                  <a:pt x="10933" y="1"/>
                </a:moveTo>
                <a:cubicBezTo>
                  <a:pt x="10599" y="1"/>
                  <a:pt x="10280" y="176"/>
                  <a:pt x="10113" y="489"/>
                </a:cubicBezTo>
                <a:lnTo>
                  <a:pt x="7877" y="4395"/>
                </a:lnTo>
                <a:lnTo>
                  <a:pt x="1229" y="4395"/>
                </a:lnTo>
                <a:cubicBezTo>
                  <a:pt x="567" y="4395"/>
                  <a:pt x="0" y="4931"/>
                  <a:pt x="0" y="5592"/>
                </a:cubicBezTo>
                <a:lnTo>
                  <a:pt x="0" y="11389"/>
                </a:lnTo>
                <a:cubicBezTo>
                  <a:pt x="0" y="12051"/>
                  <a:pt x="567" y="12618"/>
                  <a:pt x="1229" y="12618"/>
                </a:cubicBezTo>
                <a:lnTo>
                  <a:pt x="11437" y="12618"/>
                </a:lnTo>
                <a:cubicBezTo>
                  <a:pt x="12098" y="12618"/>
                  <a:pt x="12697" y="12082"/>
                  <a:pt x="12697" y="11389"/>
                </a:cubicBezTo>
                <a:lnTo>
                  <a:pt x="12697" y="5592"/>
                </a:lnTo>
                <a:cubicBezTo>
                  <a:pt x="12602" y="4931"/>
                  <a:pt x="12067" y="4395"/>
                  <a:pt x="11374" y="4395"/>
                </a:cubicBezTo>
                <a:lnTo>
                  <a:pt x="11027" y="4395"/>
                </a:lnTo>
                <a:lnTo>
                  <a:pt x="12476" y="1875"/>
                </a:lnTo>
                <a:cubicBezTo>
                  <a:pt x="12760" y="1402"/>
                  <a:pt x="12602" y="804"/>
                  <a:pt x="12130" y="583"/>
                </a:cubicBezTo>
                <a:lnTo>
                  <a:pt x="11437" y="142"/>
                </a:lnTo>
                <a:cubicBezTo>
                  <a:pt x="11277" y="46"/>
                  <a:pt x="11103" y="1"/>
                  <a:pt x="10933" y="1"/>
                </a:cubicBezTo>
                <a:close/>
              </a:path>
            </a:pathLst>
          </a:custGeom>
          <a:solidFill>
            <a:srgbClr val="00677F"/>
          </a:solidFill>
          <a:ln>
            <a:noFill/>
          </a:ln>
        </p:spPr>
        <p:txBody>
          <a:bodyPr spcFirstLastPara="1" wrap="square" lIns="91417" tIns="91417" rIns="91417" bIns="91417" anchor="ctr" anchorCtr="0">
            <a:noAutofit/>
          </a:bodyPr>
          <a:lstStyle/>
          <a:p>
            <a:endParaRPr sz="1400"/>
          </a:p>
        </p:txBody>
      </p:sp>
      <p:grpSp>
        <p:nvGrpSpPr>
          <p:cNvPr id="223" name="Google Shape;10118;p74"/>
          <p:cNvGrpSpPr/>
          <p:nvPr/>
        </p:nvGrpSpPr>
        <p:grpSpPr>
          <a:xfrm>
            <a:off x="11298640" y="2764240"/>
            <a:ext cx="467487" cy="505847"/>
            <a:chOff x="-59400777" y="4084200"/>
            <a:chExt cx="311125" cy="315875"/>
          </a:xfrm>
          <a:solidFill>
            <a:srgbClr val="00677F"/>
          </a:solidFill>
        </p:grpSpPr>
        <p:sp>
          <p:nvSpPr>
            <p:cNvPr id="224" name="Google Shape;10119;p74"/>
            <p:cNvSpPr/>
            <p:nvPr/>
          </p:nvSpPr>
          <p:spPr>
            <a:xfrm>
              <a:off x="-59400777" y="4317350"/>
              <a:ext cx="89800" cy="82725"/>
            </a:xfrm>
            <a:custGeom>
              <a:rect l="l" t="t" r="r" b="b"/>
              <a:pathLst>
                <a:path w="3592" h="3309" extrusionOk="0">
                  <a:moveTo>
                    <a:pt x="1796" y="851"/>
                  </a:moveTo>
                  <a:cubicBezTo>
                    <a:pt x="2048" y="851"/>
                    <a:pt x="2237" y="1071"/>
                    <a:pt x="2237" y="1260"/>
                  </a:cubicBezTo>
                  <a:cubicBezTo>
                    <a:pt x="2237" y="1449"/>
                    <a:pt x="2048" y="1701"/>
                    <a:pt x="1796" y="1701"/>
                  </a:cubicBezTo>
                  <a:cubicBezTo>
                    <a:pt x="1576" y="1701"/>
                    <a:pt x="1418" y="1481"/>
                    <a:pt x="1418" y="1260"/>
                  </a:cubicBezTo>
                  <a:cubicBezTo>
                    <a:pt x="1418" y="1008"/>
                    <a:pt x="1576" y="851"/>
                    <a:pt x="1796" y="851"/>
                  </a:cubicBezTo>
                  <a:close/>
                  <a:moveTo>
                    <a:pt x="0" y="0"/>
                  </a:moveTo>
                  <a:lnTo>
                    <a:pt x="0" y="2079"/>
                  </a:lnTo>
                  <a:cubicBezTo>
                    <a:pt x="0" y="2741"/>
                    <a:pt x="536" y="3308"/>
                    <a:pt x="1229" y="3308"/>
                  </a:cubicBezTo>
                  <a:lnTo>
                    <a:pt x="2332" y="3308"/>
                  </a:lnTo>
                  <a:cubicBezTo>
                    <a:pt x="2993" y="3308"/>
                    <a:pt x="3592" y="2741"/>
                    <a:pt x="3592" y="2079"/>
                  </a:cubicBezTo>
                  <a:lnTo>
                    <a:pt x="3592" y="0"/>
                  </a:lnTo>
                  <a:close/>
                </a:path>
              </a:pathLst>
            </a:custGeom>
            <a:grpFill/>
            <a:ln>
              <a:noFill/>
            </a:ln>
          </p:spPr>
          <p:txBody>
            <a:bodyPr spcFirstLastPara="1" wrap="square" lIns="91417" tIns="91417" rIns="91417" bIns="91417" anchor="ctr" anchorCtr="0">
              <a:noAutofit/>
            </a:bodyPr>
            <a:lstStyle/>
            <a:p>
              <a:endParaRPr sz="1400"/>
            </a:p>
          </p:txBody>
        </p:sp>
        <p:sp>
          <p:nvSpPr>
            <p:cNvPr id="225" name="Google Shape;10120;p74"/>
            <p:cNvSpPr/>
            <p:nvPr/>
          </p:nvSpPr>
          <p:spPr>
            <a:xfrm>
              <a:off x="-59400002" y="4084200"/>
              <a:ext cx="89825" cy="212700"/>
            </a:xfrm>
            <a:custGeom>
              <a:rect l="l" t="t" r="r" b="b"/>
              <a:pathLst>
                <a:path w="3593" h="8508" extrusionOk="0">
                  <a:moveTo>
                    <a:pt x="1734" y="1607"/>
                  </a:moveTo>
                  <a:cubicBezTo>
                    <a:pt x="1923" y="1607"/>
                    <a:pt x="2175" y="1797"/>
                    <a:pt x="2175" y="2049"/>
                  </a:cubicBezTo>
                  <a:lnTo>
                    <a:pt x="2175" y="7278"/>
                  </a:lnTo>
                  <a:cubicBezTo>
                    <a:pt x="2175" y="7499"/>
                    <a:pt x="1986" y="7656"/>
                    <a:pt x="1734" y="7656"/>
                  </a:cubicBezTo>
                  <a:cubicBezTo>
                    <a:pt x="1513" y="7656"/>
                    <a:pt x="1356" y="7467"/>
                    <a:pt x="1356" y="7278"/>
                  </a:cubicBezTo>
                  <a:lnTo>
                    <a:pt x="1356" y="2049"/>
                  </a:lnTo>
                  <a:cubicBezTo>
                    <a:pt x="1356" y="1797"/>
                    <a:pt x="1545" y="1607"/>
                    <a:pt x="1734" y="1607"/>
                  </a:cubicBezTo>
                  <a:close/>
                  <a:moveTo>
                    <a:pt x="1230" y="1"/>
                  </a:moveTo>
                  <a:cubicBezTo>
                    <a:pt x="568" y="1"/>
                    <a:pt x="1" y="536"/>
                    <a:pt x="1" y="1198"/>
                  </a:cubicBezTo>
                  <a:lnTo>
                    <a:pt x="1" y="8507"/>
                  </a:lnTo>
                  <a:lnTo>
                    <a:pt x="3593" y="8507"/>
                  </a:lnTo>
                  <a:lnTo>
                    <a:pt x="3593" y="1198"/>
                  </a:lnTo>
                  <a:cubicBezTo>
                    <a:pt x="3561" y="536"/>
                    <a:pt x="2994" y="1"/>
                    <a:pt x="2332" y="1"/>
                  </a:cubicBezTo>
                  <a:close/>
                </a:path>
              </a:pathLst>
            </a:custGeom>
            <a:grpFill/>
            <a:ln>
              <a:noFill/>
            </a:ln>
          </p:spPr>
          <p:txBody>
            <a:bodyPr spcFirstLastPara="1" wrap="square" lIns="91417" tIns="91417" rIns="91417" bIns="91417" anchor="ctr" anchorCtr="0">
              <a:noAutofit/>
            </a:bodyPr>
            <a:lstStyle/>
            <a:p>
              <a:endParaRPr sz="1400"/>
            </a:p>
          </p:txBody>
        </p:sp>
        <p:sp>
          <p:nvSpPr>
            <p:cNvPr id="226" name="Google Shape;10121;p74"/>
            <p:cNvSpPr/>
            <p:nvPr/>
          </p:nvSpPr>
          <p:spPr>
            <a:xfrm>
              <a:off x="-59290502" y="4317350"/>
              <a:ext cx="89800" cy="82725"/>
            </a:xfrm>
            <a:custGeom>
              <a:rect l="l" t="t" r="r" b="b"/>
              <a:pathLst>
                <a:path w="3592" h="3309" extrusionOk="0">
                  <a:moveTo>
                    <a:pt x="1796" y="851"/>
                  </a:moveTo>
                  <a:cubicBezTo>
                    <a:pt x="2048" y="851"/>
                    <a:pt x="2205" y="1071"/>
                    <a:pt x="2205" y="1260"/>
                  </a:cubicBezTo>
                  <a:cubicBezTo>
                    <a:pt x="2205" y="1449"/>
                    <a:pt x="2016" y="1701"/>
                    <a:pt x="1796" y="1701"/>
                  </a:cubicBezTo>
                  <a:cubicBezTo>
                    <a:pt x="1575" y="1701"/>
                    <a:pt x="1386" y="1481"/>
                    <a:pt x="1386" y="1260"/>
                  </a:cubicBezTo>
                  <a:cubicBezTo>
                    <a:pt x="1386" y="1008"/>
                    <a:pt x="1575" y="851"/>
                    <a:pt x="1796" y="851"/>
                  </a:cubicBezTo>
                  <a:close/>
                  <a:moveTo>
                    <a:pt x="0" y="0"/>
                  </a:moveTo>
                  <a:lnTo>
                    <a:pt x="0" y="2079"/>
                  </a:lnTo>
                  <a:cubicBezTo>
                    <a:pt x="0" y="2741"/>
                    <a:pt x="536" y="3308"/>
                    <a:pt x="1260" y="3308"/>
                  </a:cubicBezTo>
                  <a:lnTo>
                    <a:pt x="2363" y="3308"/>
                  </a:lnTo>
                  <a:cubicBezTo>
                    <a:pt x="3025" y="3308"/>
                    <a:pt x="3592" y="2741"/>
                    <a:pt x="3592" y="2079"/>
                  </a:cubicBezTo>
                  <a:lnTo>
                    <a:pt x="3592" y="0"/>
                  </a:lnTo>
                  <a:close/>
                </a:path>
              </a:pathLst>
            </a:custGeom>
            <a:grpFill/>
            <a:ln>
              <a:noFill/>
            </a:ln>
          </p:spPr>
          <p:txBody>
            <a:bodyPr spcFirstLastPara="1" wrap="square" lIns="91417" tIns="91417" rIns="91417" bIns="91417" anchor="ctr" anchorCtr="0">
              <a:noAutofit/>
            </a:bodyPr>
            <a:lstStyle/>
            <a:p>
              <a:endParaRPr sz="1400"/>
            </a:p>
          </p:txBody>
        </p:sp>
        <p:sp>
          <p:nvSpPr>
            <p:cNvPr id="227" name="Google Shape;10122;p74"/>
            <p:cNvSpPr/>
            <p:nvPr/>
          </p:nvSpPr>
          <p:spPr>
            <a:xfrm>
              <a:off x="-59290502" y="4084200"/>
              <a:ext cx="89800" cy="212700"/>
            </a:xfrm>
            <a:custGeom>
              <a:rect l="l" t="t" r="r" b="b"/>
              <a:pathLst>
                <a:path w="3592" h="8508" extrusionOk="0">
                  <a:moveTo>
                    <a:pt x="1796" y="1607"/>
                  </a:moveTo>
                  <a:cubicBezTo>
                    <a:pt x="2048" y="1607"/>
                    <a:pt x="2205" y="1797"/>
                    <a:pt x="2205" y="2049"/>
                  </a:cubicBezTo>
                  <a:lnTo>
                    <a:pt x="2205" y="7278"/>
                  </a:lnTo>
                  <a:cubicBezTo>
                    <a:pt x="2205" y="7499"/>
                    <a:pt x="2016" y="7656"/>
                    <a:pt x="1796" y="7656"/>
                  </a:cubicBezTo>
                  <a:cubicBezTo>
                    <a:pt x="1607" y="7656"/>
                    <a:pt x="1386" y="7467"/>
                    <a:pt x="1386" y="7278"/>
                  </a:cubicBezTo>
                  <a:lnTo>
                    <a:pt x="1386" y="2049"/>
                  </a:lnTo>
                  <a:cubicBezTo>
                    <a:pt x="1386" y="1797"/>
                    <a:pt x="1575" y="1607"/>
                    <a:pt x="1796" y="1607"/>
                  </a:cubicBezTo>
                  <a:close/>
                  <a:moveTo>
                    <a:pt x="1260" y="1"/>
                  </a:moveTo>
                  <a:cubicBezTo>
                    <a:pt x="599" y="1"/>
                    <a:pt x="0" y="536"/>
                    <a:pt x="0" y="1198"/>
                  </a:cubicBezTo>
                  <a:lnTo>
                    <a:pt x="0" y="8507"/>
                  </a:lnTo>
                  <a:lnTo>
                    <a:pt x="3592" y="8507"/>
                  </a:lnTo>
                  <a:lnTo>
                    <a:pt x="3592" y="1198"/>
                  </a:lnTo>
                  <a:cubicBezTo>
                    <a:pt x="3592" y="536"/>
                    <a:pt x="3025" y="1"/>
                    <a:pt x="2363" y="1"/>
                  </a:cubicBezTo>
                  <a:close/>
                </a:path>
              </a:pathLst>
            </a:custGeom>
            <a:grpFill/>
            <a:ln>
              <a:noFill/>
            </a:ln>
          </p:spPr>
          <p:txBody>
            <a:bodyPr spcFirstLastPara="1" wrap="square" lIns="91417" tIns="91417" rIns="91417" bIns="91417" anchor="ctr" anchorCtr="0">
              <a:noAutofit/>
            </a:bodyPr>
            <a:lstStyle/>
            <a:p>
              <a:endParaRPr sz="1400"/>
            </a:p>
          </p:txBody>
        </p:sp>
        <p:sp>
          <p:nvSpPr>
            <p:cNvPr id="228" name="Google Shape;10123;p74"/>
            <p:cNvSpPr/>
            <p:nvPr/>
          </p:nvSpPr>
          <p:spPr>
            <a:xfrm>
              <a:off x="-59181026" y="4317350"/>
              <a:ext cx="89800" cy="82725"/>
            </a:xfrm>
            <a:custGeom>
              <a:rect l="l" t="t" r="r" b="b"/>
              <a:pathLst>
                <a:path w="3592" h="3309" extrusionOk="0">
                  <a:moveTo>
                    <a:pt x="1828" y="851"/>
                  </a:moveTo>
                  <a:cubicBezTo>
                    <a:pt x="2080" y="851"/>
                    <a:pt x="2269" y="1071"/>
                    <a:pt x="2269" y="1260"/>
                  </a:cubicBezTo>
                  <a:cubicBezTo>
                    <a:pt x="2269" y="1449"/>
                    <a:pt x="2080" y="1701"/>
                    <a:pt x="1828" y="1701"/>
                  </a:cubicBezTo>
                  <a:cubicBezTo>
                    <a:pt x="1607" y="1701"/>
                    <a:pt x="1450" y="1481"/>
                    <a:pt x="1450" y="1260"/>
                  </a:cubicBezTo>
                  <a:cubicBezTo>
                    <a:pt x="1450" y="1008"/>
                    <a:pt x="1607" y="851"/>
                    <a:pt x="1828" y="851"/>
                  </a:cubicBezTo>
                  <a:close/>
                  <a:moveTo>
                    <a:pt x="0" y="0"/>
                  </a:moveTo>
                  <a:lnTo>
                    <a:pt x="0" y="2079"/>
                  </a:lnTo>
                  <a:lnTo>
                    <a:pt x="32" y="2079"/>
                  </a:lnTo>
                  <a:cubicBezTo>
                    <a:pt x="32" y="2741"/>
                    <a:pt x="567" y="3308"/>
                    <a:pt x="1261" y="3308"/>
                  </a:cubicBezTo>
                  <a:lnTo>
                    <a:pt x="2363" y="3308"/>
                  </a:lnTo>
                  <a:cubicBezTo>
                    <a:pt x="3025" y="3308"/>
                    <a:pt x="3592" y="2741"/>
                    <a:pt x="3592" y="2079"/>
                  </a:cubicBezTo>
                  <a:lnTo>
                    <a:pt x="3592" y="0"/>
                  </a:lnTo>
                  <a:close/>
                </a:path>
              </a:pathLst>
            </a:custGeom>
            <a:grpFill/>
            <a:ln>
              <a:noFill/>
            </a:ln>
          </p:spPr>
          <p:txBody>
            <a:bodyPr spcFirstLastPara="1" wrap="square" lIns="91417" tIns="91417" rIns="91417" bIns="91417" anchor="ctr" anchorCtr="0">
              <a:noAutofit/>
            </a:bodyPr>
            <a:lstStyle/>
            <a:p>
              <a:endParaRPr sz="1400"/>
            </a:p>
          </p:txBody>
        </p:sp>
        <p:sp>
          <p:nvSpPr>
            <p:cNvPr id="229" name="Google Shape;10124;p74"/>
            <p:cNvSpPr/>
            <p:nvPr/>
          </p:nvSpPr>
          <p:spPr>
            <a:xfrm>
              <a:off x="-59179451" y="4084200"/>
              <a:ext cx="89800" cy="212700"/>
            </a:xfrm>
            <a:custGeom>
              <a:rect l="l" t="t" r="r" b="b"/>
              <a:pathLst>
                <a:path w="3592" h="8508" extrusionOk="0">
                  <a:moveTo>
                    <a:pt x="1733" y="1607"/>
                  </a:moveTo>
                  <a:cubicBezTo>
                    <a:pt x="1922" y="1607"/>
                    <a:pt x="2174" y="1797"/>
                    <a:pt x="2174" y="2049"/>
                  </a:cubicBezTo>
                  <a:lnTo>
                    <a:pt x="2174" y="7278"/>
                  </a:lnTo>
                  <a:cubicBezTo>
                    <a:pt x="2174" y="7499"/>
                    <a:pt x="1985" y="7656"/>
                    <a:pt x="1733" y="7656"/>
                  </a:cubicBezTo>
                  <a:cubicBezTo>
                    <a:pt x="1513" y="7656"/>
                    <a:pt x="1355" y="7467"/>
                    <a:pt x="1355" y="7278"/>
                  </a:cubicBezTo>
                  <a:lnTo>
                    <a:pt x="1355" y="2049"/>
                  </a:lnTo>
                  <a:cubicBezTo>
                    <a:pt x="1355" y="1797"/>
                    <a:pt x="1544" y="1607"/>
                    <a:pt x="1733" y="1607"/>
                  </a:cubicBezTo>
                  <a:close/>
                  <a:moveTo>
                    <a:pt x="1229" y="1"/>
                  </a:moveTo>
                  <a:cubicBezTo>
                    <a:pt x="567" y="1"/>
                    <a:pt x="0" y="536"/>
                    <a:pt x="0" y="1198"/>
                  </a:cubicBezTo>
                  <a:lnTo>
                    <a:pt x="0" y="8507"/>
                  </a:lnTo>
                  <a:lnTo>
                    <a:pt x="3592" y="8507"/>
                  </a:lnTo>
                  <a:lnTo>
                    <a:pt x="3592" y="1198"/>
                  </a:lnTo>
                  <a:cubicBezTo>
                    <a:pt x="3560" y="536"/>
                    <a:pt x="2993" y="1"/>
                    <a:pt x="2332" y="1"/>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234" name="Google Shape;10129;p74"/>
          <p:cNvGrpSpPr/>
          <p:nvPr/>
        </p:nvGrpSpPr>
        <p:grpSpPr>
          <a:xfrm>
            <a:off x="7821561" y="1613954"/>
            <a:ext cx="570207" cy="714002"/>
            <a:chOff x="-64022548" y="3727425"/>
            <a:chExt cx="270175" cy="317425"/>
          </a:xfrm>
          <a:solidFill>
            <a:srgbClr val="00677F"/>
          </a:solidFill>
        </p:grpSpPr>
        <p:sp>
          <p:nvSpPr>
            <p:cNvPr id="235" name="Google Shape;10130;p74"/>
            <p:cNvSpPr/>
            <p:nvPr/>
          </p:nvSpPr>
          <p:spPr>
            <a:xfrm>
              <a:off x="-64022548" y="3912500"/>
              <a:ext cx="270175" cy="90600"/>
            </a:xfrm>
            <a:custGeom>
              <a:rect l="l" t="t" r="r" b="b"/>
              <a:pathLst>
                <a:path w="10807" h="3623" extrusionOk="0">
                  <a:moveTo>
                    <a:pt x="2111" y="1"/>
                  </a:moveTo>
                  <a:cubicBezTo>
                    <a:pt x="945" y="1"/>
                    <a:pt x="0" y="946"/>
                    <a:pt x="0" y="2080"/>
                  </a:cubicBezTo>
                  <a:lnTo>
                    <a:pt x="0" y="3183"/>
                  </a:lnTo>
                  <a:cubicBezTo>
                    <a:pt x="0" y="3435"/>
                    <a:pt x="221" y="3624"/>
                    <a:pt x="441" y="3624"/>
                  </a:cubicBezTo>
                  <a:lnTo>
                    <a:pt x="10365" y="3624"/>
                  </a:lnTo>
                  <a:cubicBezTo>
                    <a:pt x="10618" y="3624"/>
                    <a:pt x="10807" y="3435"/>
                    <a:pt x="10807" y="3183"/>
                  </a:cubicBezTo>
                  <a:lnTo>
                    <a:pt x="10807" y="2080"/>
                  </a:lnTo>
                  <a:cubicBezTo>
                    <a:pt x="10807" y="946"/>
                    <a:pt x="9861" y="1"/>
                    <a:pt x="8727" y="1"/>
                  </a:cubicBezTo>
                  <a:close/>
                </a:path>
              </a:pathLst>
            </a:custGeom>
            <a:grpFill/>
            <a:ln>
              <a:noFill/>
            </a:ln>
          </p:spPr>
          <p:txBody>
            <a:bodyPr spcFirstLastPara="1" wrap="square" lIns="91417" tIns="91417" rIns="91417" bIns="91417" anchor="ctr" anchorCtr="0">
              <a:noAutofit/>
            </a:bodyPr>
            <a:lstStyle/>
            <a:p>
              <a:endParaRPr sz="1400"/>
            </a:p>
          </p:txBody>
        </p:sp>
        <p:sp>
          <p:nvSpPr>
            <p:cNvPr id="236" name="Google Shape;10131;p74"/>
            <p:cNvSpPr/>
            <p:nvPr/>
          </p:nvSpPr>
          <p:spPr>
            <a:xfrm>
              <a:off x="-64000503" y="4023550"/>
              <a:ext cx="227650" cy="21300"/>
            </a:xfrm>
            <a:custGeom>
              <a:rect l="l" t="t" r="r" b="b"/>
              <a:pathLst>
                <a:path w="9106" h="852" extrusionOk="0">
                  <a:moveTo>
                    <a:pt x="0" y="1"/>
                  </a:moveTo>
                  <a:lnTo>
                    <a:pt x="0" y="442"/>
                  </a:lnTo>
                  <a:cubicBezTo>
                    <a:pt x="0" y="694"/>
                    <a:pt x="190" y="851"/>
                    <a:pt x="442" y="851"/>
                  </a:cubicBezTo>
                  <a:lnTo>
                    <a:pt x="8696" y="851"/>
                  </a:lnTo>
                  <a:cubicBezTo>
                    <a:pt x="8948" y="851"/>
                    <a:pt x="9105" y="631"/>
                    <a:pt x="9105" y="442"/>
                  </a:cubicBezTo>
                  <a:lnTo>
                    <a:pt x="9105" y="1"/>
                  </a:lnTo>
                  <a:close/>
                </a:path>
              </a:pathLst>
            </a:custGeom>
            <a:grpFill/>
            <a:ln>
              <a:noFill/>
            </a:ln>
          </p:spPr>
          <p:txBody>
            <a:bodyPr spcFirstLastPara="1" wrap="square" lIns="91417" tIns="91417" rIns="91417" bIns="91417" anchor="ctr" anchorCtr="0">
              <a:noAutofit/>
            </a:bodyPr>
            <a:lstStyle/>
            <a:p>
              <a:endParaRPr sz="1400"/>
            </a:p>
          </p:txBody>
        </p:sp>
        <p:sp>
          <p:nvSpPr>
            <p:cNvPr id="237" name="Google Shape;10132;p74"/>
            <p:cNvSpPr/>
            <p:nvPr/>
          </p:nvSpPr>
          <p:spPr>
            <a:xfrm>
              <a:off x="-63960325" y="3727425"/>
              <a:ext cx="144925" cy="165425"/>
            </a:xfrm>
            <a:custGeom>
              <a:rect l="l" t="t" r="r" b="b"/>
              <a:pathLst>
                <a:path w="5797" h="6617" extrusionOk="0">
                  <a:moveTo>
                    <a:pt x="2930" y="0"/>
                  </a:moveTo>
                  <a:cubicBezTo>
                    <a:pt x="1292" y="0"/>
                    <a:pt x="0" y="1292"/>
                    <a:pt x="0" y="2867"/>
                  </a:cubicBezTo>
                  <a:cubicBezTo>
                    <a:pt x="32" y="3812"/>
                    <a:pt x="504" y="4694"/>
                    <a:pt x="1260" y="5230"/>
                  </a:cubicBezTo>
                  <a:lnTo>
                    <a:pt x="1260" y="6616"/>
                  </a:lnTo>
                  <a:lnTo>
                    <a:pt x="4568" y="6616"/>
                  </a:lnTo>
                  <a:lnTo>
                    <a:pt x="4568" y="5230"/>
                  </a:lnTo>
                  <a:cubicBezTo>
                    <a:pt x="5356" y="4694"/>
                    <a:pt x="5797" y="3812"/>
                    <a:pt x="5797" y="2867"/>
                  </a:cubicBezTo>
                  <a:cubicBezTo>
                    <a:pt x="5797" y="1260"/>
                    <a:pt x="4505" y="0"/>
                    <a:pt x="2930" y="0"/>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259" name="Google Shape;10154;p74"/>
          <p:cNvGrpSpPr/>
          <p:nvPr/>
        </p:nvGrpSpPr>
        <p:grpSpPr>
          <a:xfrm>
            <a:off x="7924479" y="3640435"/>
            <a:ext cx="523629" cy="557899"/>
            <a:chOff x="-60255348" y="3733825"/>
            <a:chExt cx="316650" cy="316550"/>
          </a:xfrm>
          <a:solidFill>
            <a:srgbClr val="00677F"/>
          </a:solidFill>
        </p:grpSpPr>
        <p:sp>
          <p:nvSpPr>
            <p:cNvPr id="260" name="Google Shape;10155;p74"/>
            <p:cNvSpPr/>
            <p:nvPr/>
          </p:nvSpPr>
          <p:spPr>
            <a:xfrm>
              <a:off x="-60218327" y="3733825"/>
              <a:ext cx="235525" cy="316550"/>
            </a:xfrm>
            <a:custGeom>
              <a:rect l="l" t="t" r="r" b="b"/>
              <a:pathLst>
                <a:path w="9421" h="12662" extrusionOk="0">
                  <a:moveTo>
                    <a:pt x="4821" y="1666"/>
                  </a:moveTo>
                  <a:cubicBezTo>
                    <a:pt x="5073" y="1666"/>
                    <a:pt x="5262" y="1886"/>
                    <a:pt x="5262" y="2075"/>
                  </a:cubicBezTo>
                  <a:lnTo>
                    <a:pt x="5262" y="2359"/>
                  </a:lnTo>
                  <a:cubicBezTo>
                    <a:pt x="5734" y="2485"/>
                    <a:pt x="6081" y="2989"/>
                    <a:pt x="6081" y="3525"/>
                  </a:cubicBezTo>
                  <a:cubicBezTo>
                    <a:pt x="6081" y="3777"/>
                    <a:pt x="5892" y="3934"/>
                    <a:pt x="5640" y="3934"/>
                  </a:cubicBezTo>
                  <a:cubicBezTo>
                    <a:pt x="5419" y="3934"/>
                    <a:pt x="5262" y="3714"/>
                    <a:pt x="5262" y="3525"/>
                  </a:cubicBezTo>
                  <a:cubicBezTo>
                    <a:pt x="5262" y="3273"/>
                    <a:pt x="5073" y="3084"/>
                    <a:pt x="4821" y="3084"/>
                  </a:cubicBezTo>
                  <a:cubicBezTo>
                    <a:pt x="4569" y="3084"/>
                    <a:pt x="4411" y="3273"/>
                    <a:pt x="4411" y="3525"/>
                  </a:cubicBezTo>
                  <a:cubicBezTo>
                    <a:pt x="4411" y="3777"/>
                    <a:pt x="4789" y="3997"/>
                    <a:pt x="5104" y="4249"/>
                  </a:cubicBezTo>
                  <a:cubicBezTo>
                    <a:pt x="5514" y="4564"/>
                    <a:pt x="6081" y="4942"/>
                    <a:pt x="6081" y="5604"/>
                  </a:cubicBezTo>
                  <a:cubicBezTo>
                    <a:pt x="6081" y="6171"/>
                    <a:pt x="5734" y="6612"/>
                    <a:pt x="5262" y="6801"/>
                  </a:cubicBezTo>
                  <a:lnTo>
                    <a:pt x="5262" y="7085"/>
                  </a:lnTo>
                  <a:cubicBezTo>
                    <a:pt x="5262" y="7305"/>
                    <a:pt x="5041" y="7463"/>
                    <a:pt x="4821" y="7463"/>
                  </a:cubicBezTo>
                  <a:cubicBezTo>
                    <a:pt x="4569" y="7463"/>
                    <a:pt x="4411" y="7274"/>
                    <a:pt x="4411" y="7085"/>
                  </a:cubicBezTo>
                  <a:lnTo>
                    <a:pt x="4411" y="6801"/>
                  </a:lnTo>
                  <a:cubicBezTo>
                    <a:pt x="3938" y="6644"/>
                    <a:pt x="3592" y="6171"/>
                    <a:pt x="3592" y="5604"/>
                  </a:cubicBezTo>
                  <a:cubicBezTo>
                    <a:pt x="3592" y="5383"/>
                    <a:pt x="3781" y="5194"/>
                    <a:pt x="4033" y="5194"/>
                  </a:cubicBezTo>
                  <a:cubicBezTo>
                    <a:pt x="4253" y="5194"/>
                    <a:pt x="4411" y="5383"/>
                    <a:pt x="4411" y="5604"/>
                  </a:cubicBezTo>
                  <a:cubicBezTo>
                    <a:pt x="4411" y="5856"/>
                    <a:pt x="4632" y="6014"/>
                    <a:pt x="4821" y="6014"/>
                  </a:cubicBezTo>
                  <a:cubicBezTo>
                    <a:pt x="5041" y="6014"/>
                    <a:pt x="5262" y="5824"/>
                    <a:pt x="5262" y="5604"/>
                  </a:cubicBezTo>
                  <a:cubicBezTo>
                    <a:pt x="5262" y="5383"/>
                    <a:pt x="4947" y="5131"/>
                    <a:pt x="4569" y="4911"/>
                  </a:cubicBezTo>
                  <a:cubicBezTo>
                    <a:pt x="4159" y="4596"/>
                    <a:pt x="3592" y="4186"/>
                    <a:pt x="3592" y="3525"/>
                  </a:cubicBezTo>
                  <a:cubicBezTo>
                    <a:pt x="3592" y="2989"/>
                    <a:pt x="3938" y="2548"/>
                    <a:pt x="4411" y="2359"/>
                  </a:cubicBezTo>
                  <a:lnTo>
                    <a:pt x="4411" y="2075"/>
                  </a:lnTo>
                  <a:cubicBezTo>
                    <a:pt x="4411" y="1823"/>
                    <a:pt x="4632" y="1666"/>
                    <a:pt x="4821" y="1666"/>
                  </a:cubicBezTo>
                  <a:close/>
                  <a:moveTo>
                    <a:pt x="6081" y="9385"/>
                  </a:moveTo>
                  <a:lnTo>
                    <a:pt x="6081" y="10235"/>
                  </a:lnTo>
                  <a:lnTo>
                    <a:pt x="3592" y="10235"/>
                  </a:lnTo>
                  <a:lnTo>
                    <a:pt x="3592" y="9385"/>
                  </a:lnTo>
                  <a:close/>
                  <a:moveTo>
                    <a:pt x="4801" y="0"/>
                  </a:moveTo>
                  <a:cubicBezTo>
                    <a:pt x="4498" y="0"/>
                    <a:pt x="4188" y="29"/>
                    <a:pt x="3875" y="91"/>
                  </a:cubicBezTo>
                  <a:cubicBezTo>
                    <a:pt x="2111" y="500"/>
                    <a:pt x="693" y="1949"/>
                    <a:pt x="378" y="3714"/>
                  </a:cubicBezTo>
                  <a:cubicBezTo>
                    <a:pt x="0" y="5698"/>
                    <a:pt x="1008" y="7652"/>
                    <a:pt x="2773" y="8565"/>
                  </a:cubicBezTo>
                  <a:lnTo>
                    <a:pt x="2773" y="10582"/>
                  </a:lnTo>
                  <a:cubicBezTo>
                    <a:pt x="2773" y="11716"/>
                    <a:pt x="3718" y="12661"/>
                    <a:pt x="4852" y="12661"/>
                  </a:cubicBezTo>
                  <a:cubicBezTo>
                    <a:pt x="5986" y="12661"/>
                    <a:pt x="6963" y="11716"/>
                    <a:pt x="6963" y="10582"/>
                  </a:cubicBezTo>
                  <a:lnTo>
                    <a:pt x="6963" y="8565"/>
                  </a:lnTo>
                  <a:cubicBezTo>
                    <a:pt x="8444" y="7778"/>
                    <a:pt x="9420" y="6234"/>
                    <a:pt x="9420" y="4501"/>
                  </a:cubicBezTo>
                  <a:cubicBezTo>
                    <a:pt x="9392" y="2000"/>
                    <a:pt x="7308" y="0"/>
                    <a:pt x="4801" y="0"/>
                  </a:cubicBezTo>
                  <a:close/>
                </a:path>
              </a:pathLst>
            </a:custGeom>
            <a:grpFill/>
            <a:ln>
              <a:noFill/>
            </a:ln>
          </p:spPr>
          <p:txBody>
            <a:bodyPr spcFirstLastPara="1" wrap="square" lIns="91417" tIns="91417" rIns="91417" bIns="91417" anchor="ctr" anchorCtr="0">
              <a:noAutofit/>
            </a:bodyPr>
            <a:lstStyle/>
            <a:p>
              <a:endParaRPr sz="1400"/>
            </a:p>
          </p:txBody>
        </p:sp>
        <p:sp>
          <p:nvSpPr>
            <p:cNvPr id="261" name="Google Shape;10156;p74"/>
            <p:cNvSpPr/>
            <p:nvPr/>
          </p:nvSpPr>
          <p:spPr>
            <a:xfrm>
              <a:off x="-60255348" y="3844775"/>
              <a:ext cx="34675" cy="20500"/>
            </a:xfrm>
            <a:custGeom>
              <a:rect l="l" t="t" r="r" b="b"/>
              <a:pathLst>
                <a:path w="1387" h="820" extrusionOk="0">
                  <a:moveTo>
                    <a:pt x="379" y="0"/>
                  </a:moveTo>
                  <a:cubicBezTo>
                    <a:pt x="158" y="0"/>
                    <a:pt x="1" y="189"/>
                    <a:pt x="1" y="378"/>
                  </a:cubicBezTo>
                  <a:cubicBezTo>
                    <a:pt x="1" y="630"/>
                    <a:pt x="190" y="819"/>
                    <a:pt x="379" y="819"/>
                  </a:cubicBezTo>
                  <a:lnTo>
                    <a:pt x="946" y="819"/>
                  </a:lnTo>
                  <a:cubicBezTo>
                    <a:pt x="1166" y="819"/>
                    <a:pt x="1387" y="630"/>
                    <a:pt x="1387" y="378"/>
                  </a:cubicBezTo>
                  <a:cubicBezTo>
                    <a:pt x="1387" y="158"/>
                    <a:pt x="1166" y="0"/>
                    <a:pt x="946" y="0"/>
                  </a:cubicBezTo>
                  <a:close/>
                </a:path>
              </a:pathLst>
            </a:custGeom>
            <a:grpFill/>
            <a:ln>
              <a:noFill/>
            </a:ln>
          </p:spPr>
          <p:txBody>
            <a:bodyPr spcFirstLastPara="1" wrap="square" lIns="91417" tIns="91417" rIns="91417" bIns="91417" anchor="ctr" anchorCtr="0">
              <a:noAutofit/>
            </a:bodyPr>
            <a:lstStyle/>
            <a:p>
              <a:endParaRPr sz="1400"/>
            </a:p>
          </p:txBody>
        </p:sp>
        <p:sp>
          <p:nvSpPr>
            <p:cNvPr id="262" name="Google Shape;10157;p74"/>
            <p:cNvSpPr/>
            <p:nvPr/>
          </p:nvSpPr>
          <p:spPr>
            <a:xfrm>
              <a:off x="-59974175" y="3844775"/>
              <a:ext cx="35475" cy="20500"/>
            </a:xfrm>
            <a:custGeom>
              <a:rect l="l" t="t" r="r" b="b"/>
              <a:pathLst>
                <a:path w="1419" h="820" extrusionOk="0">
                  <a:moveTo>
                    <a:pt x="442" y="0"/>
                  </a:moveTo>
                  <a:cubicBezTo>
                    <a:pt x="221" y="0"/>
                    <a:pt x="1" y="189"/>
                    <a:pt x="1" y="378"/>
                  </a:cubicBezTo>
                  <a:cubicBezTo>
                    <a:pt x="1" y="630"/>
                    <a:pt x="221" y="819"/>
                    <a:pt x="442" y="819"/>
                  </a:cubicBezTo>
                  <a:lnTo>
                    <a:pt x="1009" y="819"/>
                  </a:lnTo>
                  <a:cubicBezTo>
                    <a:pt x="1230" y="819"/>
                    <a:pt x="1387" y="630"/>
                    <a:pt x="1387" y="378"/>
                  </a:cubicBezTo>
                  <a:cubicBezTo>
                    <a:pt x="1419" y="158"/>
                    <a:pt x="1230" y="0"/>
                    <a:pt x="1009" y="0"/>
                  </a:cubicBezTo>
                  <a:close/>
                </a:path>
              </a:pathLst>
            </a:custGeom>
            <a:grpFill/>
            <a:ln>
              <a:noFill/>
            </a:ln>
          </p:spPr>
          <p:txBody>
            <a:bodyPr spcFirstLastPara="1" wrap="square" lIns="91417" tIns="91417" rIns="91417" bIns="91417" anchor="ctr" anchorCtr="0">
              <a:noAutofit/>
            </a:bodyPr>
            <a:lstStyle/>
            <a:p>
              <a:endParaRPr sz="1400"/>
            </a:p>
          </p:txBody>
        </p:sp>
        <p:sp>
          <p:nvSpPr>
            <p:cNvPr id="263" name="Google Shape;10158;p74"/>
            <p:cNvSpPr/>
            <p:nvPr/>
          </p:nvSpPr>
          <p:spPr>
            <a:xfrm>
              <a:off x="-60212827" y="3939475"/>
              <a:ext cx="32325" cy="30350"/>
            </a:xfrm>
            <a:custGeom>
              <a:rect l="l" t="t" r="r" b="b"/>
              <a:pathLst>
                <a:path w="1293" h="1214" extrusionOk="0">
                  <a:moveTo>
                    <a:pt x="836" y="1"/>
                  </a:moveTo>
                  <a:cubicBezTo>
                    <a:pt x="725" y="1"/>
                    <a:pt x="615" y="40"/>
                    <a:pt x="536" y="119"/>
                  </a:cubicBezTo>
                  <a:lnTo>
                    <a:pt x="158" y="497"/>
                  </a:lnTo>
                  <a:cubicBezTo>
                    <a:pt x="1" y="654"/>
                    <a:pt x="1" y="938"/>
                    <a:pt x="158" y="1096"/>
                  </a:cubicBezTo>
                  <a:cubicBezTo>
                    <a:pt x="237" y="1174"/>
                    <a:pt x="340" y="1214"/>
                    <a:pt x="442" y="1214"/>
                  </a:cubicBezTo>
                  <a:cubicBezTo>
                    <a:pt x="544" y="1214"/>
                    <a:pt x="647" y="1174"/>
                    <a:pt x="725" y="1096"/>
                  </a:cubicBezTo>
                  <a:lnTo>
                    <a:pt x="1135" y="686"/>
                  </a:lnTo>
                  <a:cubicBezTo>
                    <a:pt x="1293" y="528"/>
                    <a:pt x="1293" y="245"/>
                    <a:pt x="1135" y="119"/>
                  </a:cubicBezTo>
                  <a:cubicBezTo>
                    <a:pt x="1056" y="40"/>
                    <a:pt x="946" y="1"/>
                    <a:pt x="836" y="1"/>
                  </a:cubicBezTo>
                  <a:close/>
                </a:path>
              </a:pathLst>
            </a:custGeom>
            <a:grpFill/>
            <a:ln>
              <a:noFill/>
            </a:ln>
          </p:spPr>
          <p:txBody>
            <a:bodyPr spcFirstLastPara="1" wrap="square" lIns="91417" tIns="91417" rIns="91417" bIns="91417" anchor="ctr" anchorCtr="0">
              <a:noAutofit/>
            </a:bodyPr>
            <a:lstStyle/>
            <a:p>
              <a:endParaRPr sz="1400"/>
            </a:p>
          </p:txBody>
        </p:sp>
        <p:sp>
          <p:nvSpPr>
            <p:cNvPr id="264" name="Google Shape;10159;p74"/>
            <p:cNvSpPr/>
            <p:nvPr/>
          </p:nvSpPr>
          <p:spPr>
            <a:xfrm>
              <a:off x="-60012752" y="3739425"/>
              <a:ext cx="32300" cy="30350"/>
            </a:xfrm>
            <a:custGeom>
              <a:rect l="l" t="t" r="r" b="b"/>
              <a:pathLst>
                <a:path w="1292" h="1214" extrusionOk="0">
                  <a:moveTo>
                    <a:pt x="835" y="1"/>
                  </a:moveTo>
                  <a:cubicBezTo>
                    <a:pt x="725" y="1"/>
                    <a:pt x="614" y="40"/>
                    <a:pt x="536" y="119"/>
                  </a:cubicBezTo>
                  <a:lnTo>
                    <a:pt x="126" y="497"/>
                  </a:lnTo>
                  <a:cubicBezTo>
                    <a:pt x="0" y="654"/>
                    <a:pt x="0" y="938"/>
                    <a:pt x="126" y="1095"/>
                  </a:cubicBezTo>
                  <a:cubicBezTo>
                    <a:pt x="205" y="1174"/>
                    <a:pt x="315" y="1213"/>
                    <a:pt x="425" y="1213"/>
                  </a:cubicBezTo>
                  <a:cubicBezTo>
                    <a:pt x="536" y="1213"/>
                    <a:pt x="646" y="1174"/>
                    <a:pt x="725" y="1095"/>
                  </a:cubicBezTo>
                  <a:lnTo>
                    <a:pt x="1134" y="686"/>
                  </a:lnTo>
                  <a:cubicBezTo>
                    <a:pt x="1292" y="560"/>
                    <a:pt x="1292" y="276"/>
                    <a:pt x="1134" y="119"/>
                  </a:cubicBezTo>
                  <a:cubicBezTo>
                    <a:pt x="1056" y="40"/>
                    <a:pt x="945" y="1"/>
                    <a:pt x="835" y="1"/>
                  </a:cubicBezTo>
                  <a:close/>
                </a:path>
              </a:pathLst>
            </a:custGeom>
            <a:grpFill/>
            <a:ln>
              <a:noFill/>
            </a:ln>
          </p:spPr>
          <p:txBody>
            <a:bodyPr spcFirstLastPara="1" wrap="square" lIns="91417" tIns="91417" rIns="91417" bIns="91417" anchor="ctr" anchorCtr="0">
              <a:noAutofit/>
            </a:bodyPr>
            <a:lstStyle/>
            <a:p>
              <a:endParaRPr sz="1400"/>
            </a:p>
          </p:txBody>
        </p:sp>
        <p:sp>
          <p:nvSpPr>
            <p:cNvPr id="265" name="Google Shape;10160;p74"/>
            <p:cNvSpPr/>
            <p:nvPr/>
          </p:nvSpPr>
          <p:spPr>
            <a:xfrm>
              <a:off x="-60012752" y="3939475"/>
              <a:ext cx="32300" cy="30350"/>
            </a:xfrm>
            <a:custGeom>
              <a:rect l="l" t="t" r="r" b="b"/>
              <a:pathLst>
                <a:path w="1292" h="1214" extrusionOk="0">
                  <a:moveTo>
                    <a:pt x="425" y="1"/>
                  </a:moveTo>
                  <a:cubicBezTo>
                    <a:pt x="315" y="1"/>
                    <a:pt x="205" y="40"/>
                    <a:pt x="126" y="119"/>
                  </a:cubicBezTo>
                  <a:cubicBezTo>
                    <a:pt x="0" y="245"/>
                    <a:pt x="0" y="528"/>
                    <a:pt x="126" y="686"/>
                  </a:cubicBezTo>
                  <a:lnTo>
                    <a:pt x="536" y="1096"/>
                  </a:lnTo>
                  <a:cubicBezTo>
                    <a:pt x="614" y="1174"/>
                    <a:pt x="725" y="1214"/>
                    <a:pt x="835" y="1214"/>
                  </a:cubicBezTo>
                  <a:cubicBezTo>
                    <a:pt x="945" y="1214"/>
                    <a:pt x="1056" y="1174"/>
                    <a:pt x="1134" y="1096"/>
                  </a:cubicBezTo>
                  <a:cubicBezTo>
                    <a:pt x="1292" y="938"/>
                    <a:pt x="1292" y="654"/>
                    <a:pt x="1134" y="497"/>
                  </a:cubicBezTo>
                  <a:lnTo>
                    <a:pt x="725" y="119"/>
                  </a:lnTo>
                  <a:cubicBezTo>
                    <a:pt x="646" y="40"/>
                    <a:pt x="536" y="1"/>
                    <a:pt x="425" y="1"/>
                  </a:cubicBezTo>
                  <a:close/>
                </a:path>
              </a:pathLst>
            </a:custGeom>
            <a:grpFill/>
            <a:ln>
              <a:noFill/>
            </a:ln>
          </p:spPr>
          <p:txBody>
            <a:bodyPr spcFirstLastPara="1" wrap="square" lIns="91417" tIns="91417" rIns="91417" bIns="91417" anchor="ctr" anchorCtr="0">
              <a:noAutofit/>
            </a:bodyPr>
            <a:lstStyle/>
            <a:p>
              <a:endParaRPr sz="1400"/>
            </a:p>
          </p:txBody>
        </p:sp>
        <p:sp>
          <p:nvSpPr>
            <p:cNvPr id="266" name="Google Shape;10161;p74"/>
            <p:cNvSpPr/>
            <p:nvPr/>
          </p:nvSpPr>
          <p:spPr>
            <a:xfrm>
              <a:off x="-60212827" y="3739425"/>
              <a:ext cx="32325" cy="30350"/>
            </a:xfrm>
            <a:custGeom>
              <a:rect l="l" t="t" r="r" b="b"/>
              <a:pathLst>
                <a:path w="1293" h="1214" extrusionOk="0">
                  <a:moveTo>
                    <a:pt x="442" y="1"/>
                  </a:moveTo>
                  <a:cubicBezTo>
                    <a:pt x="340" y="1"/>
                    <a:pt x="237" y="40"/>
                    <a:pt x="158" y="119"/>
                  </a:cubicBezTo>
                  <a:cubicBezTo>
                    <a:pt x="1" y="276"/>
                    <a:pt x="1" y="560"/>
                    <a:pt x="158" y="686"/>
                  </a:cubicBezTo>
                  <a:lnTo>
                    <a:pt x="536" y="1095"/>
                  </a:lnTo>
                  <a:cubicBezTo>
                    <a:pt x="615" y="1174"/>
                    <a:pt x="725" y="1213"/>
                    <a:pt x="836" y="1213"/>
                  </a:cubicBezTo>
                  <a:cubicBezTo>
                    <a:pt x="946" y="1213"/>
                    <a:pt x="1056" y="1174"/>
                    <a:pt x="1135" y="1095"/>
                  </a:cubicBezTo>
                  <a:cubicBezTo>
                    <a:pt x="1293" y="938"/>
                    <a:pt x="1293" y="654"/>
                    <a:pt x="1135" y="497"/>
                  </a:cubicBezTo>
                  <a:lnTo>
                    <a:pt x="725" y="119"/>
                  </a:lnTo>
                  <a:cubicBezTo>
                    <a:pt x="647" y="40"/>
                    <a:pt x="544" y="1"/>
                    <a:pt x="442" y="1"/>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277" name="Google Shape;10172;p74"/>
          <p:cNvGrpSpPr/>
          <p:nvPr/>
        </p:nvGrpSpPr>
        <p:grpSpPr>
          <a:xfrm>
            <a:off x="9424683" y="1631953"/>
            <a:ext cx="683931" cy="722214"/>
            <a:chOff x="-63679952" y="4093450"/>
            <a:chExt cx="320600" cy="317650"/>
          </a:xfrm>
          <a:solidFill>
            <a:srgbClr val="00677F"/>
          </a:solidFill>
        </p:grpSpPr>
        <p:sp>
          <p:nvSpPr>
            <p:cNvPr id="278" name="Google Shape;10173;p74"/>
            <p:cNvSpPr/>
            <p:nvPr/>
          </p:nvSpPr>
          <p:spPr>
            <a:xfrm>
              <a:off x="-63595653" y="4093450"/>
              <a:ext cx="236300" cy="230425"/>
            </a:xfrm>
            <a:custGeom>
              <a:rect l="l" t="t" r="r" b="b"/>
              <a:pathLst>
                <a:path w="9452" h="9217" extrusionOk="0">
                  <a:moveTo>
                    <a:pt x="3387" y="836"/>
                  </a:moveTo>
                  <a:cubicBezTo>
                    <a:pt x="3497" y="836"/>
                    <a:pt x="3607" y="875"/>
                    <a:pt x="3686" y="954"/>
                  </a:cubicBezTo>
                  <a:cubicBezTo>
                    <a:pt x="3844" y="1111"/>
                    <a:pt x="3844" y="1395"/>
                    <a:pt x="3686" y="1553"/>
                  </a:cubicBezTo>
                  <a:lnTo>
                    <a:pt x="1638" y="3600"/>
                  </a:lnTo>
                  <a:cubicBezTo>
                    <a:pt x="1560" y="3679"/>
                    <a:pt x="1449" y="3718"/>
                    <a:pt x="1339" y="3718"/>
                  </a:cubicBezTo>
                  <a:cubicBezTo>
                    <a:pt x="1229" y="3718"/>
                    <a:pt x="1118" y="3679"/>
                    <a:pt x="1040" y="3600"/>
                  </a:cubicBezTo>
                  <a:cubicBezTo>
                    <a:pt x="882" y="3443"/>
                    <a:pt x="882" y="3159"/>
                    <a:pt x="1040" y="3002"/>
                  </a:cubicBezTo>
                  <a:lnTo>
                    <a:pt x="3088" y="954"/>
                  </a:lnTo>
                  <a:cubicBezTo>
                    <a:pt x="3166" y="875"/>
                    <a:pt x="3277" y="836"/>
                    <a:pt x="3387" y="836"/>
                  </a:cubicBezTo>
                  <a:close/>
                  <a:moveTo>
                    <a:pt x="8081" y="5530"/>
                  </a:moveTo>
                  <a:cubicBezTo>
                    <a:pt x="8191" y="5530"/>
                    <a:pt x="8302" y="5569"/>
                    <a:pt x="8380" y="5648"/>
                  </a:cubicBezTo>
                  <a:cubicBezTo>
                    <a:pt x="8538" y="5806"/>
                    <a:pt x="8538" y="6089"/>
                    <a:pt x="8380" y="6247"/>
                  </a:cubicBezTo>
                  <a:lnTo>
                    <a:pt x="6333" y="8295"/>
                  </a:lnTo>
                  <a:cubicBezTo>
                    <a:pt x="6254" y="8358"/>
                    <a:pt x="6143" y="8389"/>
                    <a:pt x="6033" y="8389"/>
                  </a:cubicBezTo>
                  <a:cubicBezTo>
                    <a:pt x="5923" y="8389"/>
                    <a:pt x="5813" y="8358"/>
                    <a:pt x="5734" y="8295"/>
                  </a:cubicBezTo>
                  <a:cubicBezTo>
                    <a:pt x="5576" y="8137"/>
                    <a:pt x="5576" y="7853"/>
                    <a:pt x="5734" y="7696"/>
                  </a:cubicBezTo>
                  <a:lnTo>
                    <a:pt x="7782" y="5648"/>
                  </a:lnTo>
                  <a:cubicBezTo>
                    <a:pt x="7861" y="5569"/>
                    <a:pt x="7971" y="5530"/>
                    <a:pt x="8081" y="5530"/>
                  </a:cubicBezTo>
                  <a:close/>
                  <a:moveTo>
                    <a:pt x="3414" y="1"/>
                  </a:moveTo>
                  <a:cubicBezTo>
                    <a:pt x="3095" y="1"/>
                    <a:pt x="2772" y="119"/>
                    <a:pt x="2520" y="355"/>
                  </a:cubicBezTo>
                  <a:lnTo>
                    <a:pt x="473" y="2403"/>
                  </a:lnTo>
                  <a:cubicBezTo>
                    <a:pt x="0" y="2876"/>
                    <a:pt x="0" y="3663"/>
                    <a:pt x="473" y="4199"/>
                  </a:cubicBezTo>
                  <a:cubicBezTo>
                    <a:pt x="700" y="4406"/>
                    <a:pt x="1008" y="4544"/>
                    <a:pt x="1345" y="4544"/>
                  </a:cubicBezTo>
                  <a:cubicBezTo>
                    <a:pt x="1522" y="4544"/>
                    <a:pt x="1706" y="4506"/>
                    <a:pt x="1890" y="4419"/>
                  </a:cubicBezTo>
                  <a:lnTo>
                    <a:pt x="4915" y="7444"/>
                  </a:lnTo>
                  <a:cubicBezTo>
                    <a:pt x="4663" y="7980"/>
                    <a:pt x="4789" y="8515"/>
                    <a:pt x="5135" y="8862"/>
                  </a:cubicBezTo>
                  <a:cubicBezTo>
                    <a:pt x="5372" y="9098"/>
                    <a:pt x="5687" y="9216"/>
                    <a:pt x="6010" y="9216"/>
                  </a:cubicBezTo>
                  <a:cubicBezTo>
                    <a:pt x="6333" y="9216"/>
                    <a:pt x="6663" y="9098"/>
                    <a:pt x="6931" y="8862"/>
                  </a:cubicBezTo>
                  <a:lnTo>
                    <a:pt x="8979" y="6814"/>
                  </a:lnTo>
                  <a:cubicBezTo>
                    <a:pt x="9452" y="6341"/>
                    <a:pt x="9452" y="5554"/>
                    <a:pt x="8979" y="5050"/>
                  </a:cubicBezTo>
                  <a:cubicBezTo>
                    <a:pt x="8757" y="4828"/>
                    <a:pt x="8445" y="4696"/>
                    <a:pt x="8117" y="4696"/>
                  </a:cubicBezTo>
                  <a:cubicBezTo>
                    <a:pt x="7933" y="4696"/>
                    <a:pt x="7743" y="4738"/>
                    <a:pt x="7561" y="4829"/>
                  </a:cubicBezTo>
                  <a:lnTo>
                    <a:pt x="4505" y="1773"/>
                  </a:lnTo>
                  <a:cubicBezTo>
                    <a:pt x="4757" y="1269"/>
                    <a:pt x="4631" y="733"/>
                    <a:pt x="4285" y="355"/>
                  </a:cubicBezTo>
                  <a:cubicBezTo>
                    <a:pt x="4048" y="119"/>
                    <a:pt x="3733" y="1"/>
                    <a:pt x="3414" y="1"/>
                  </a:cubicBezTo>
                  <a:close/>
                </a:path>
              </a:pathLst>
            </a:custGeom>
            <a:grpFill/>
            <a:ln>
              <a:noFill/>
            </a:ln>
          </p:spPr>
          <p:txBody>
            <a:bodyPr spcFirstLastPara="1" wrap="square" lIns="91417" tIns="91417" rIns="91417" bIns="91417" anchor="ctr" anchorCtr="0">
              <a:noAutofit/>
            </a:bodyPr>
            <a:lstStyle/>
            <a:p>
              <a:endParaRPr sz="1400"/>
            </a:p>
          </p:txBody>
        </p:sp>
        <p:sp>
          <p:nvSpPr>
            <p:cNvPr id="279" name="Google Shape;10174;p74"/>
            <p:cNvSpPr/>
            <p:nvPr/>
          </p:nvSpPr>
          <p:spPr>
            <a:xfrm>
              <a:off x="-63679952" y="4233850"/>
              <a:ext cx="177250" cy="177250"/>
            </a:xfrm>
            <a:custGeom>
              <a:rect l="l" t="t" r="r" b="b"/>
              <a:pathLst>
                <a:path w="7090" h="7090" extrusionOk="0">
                  <a:moveTo>
                    <a:pt x="5325" y="1"/>
                  </a:moveTo>
                  <a:lnTo>
                    <a:pt x="4160" y="1166"/>
                  </a:lnTo>
                  <a:cubicBezTo>
                    <a:pt x="4081" y="1088"/>
                    <a:pt x="3971" y="1048"/>
                    <a:pt x="3860" y="1048"/>
                  </a:cubicBezTo>
                  <a:cubicBezTo>
                    <a:pt x="3750" y="1048"/>
                    <a:pt x="3640" y="1088"/>
                    <a:pt x="3561" y="1166"/>
                  </a:cubicBezTo>
                  <a:lnTo>
                    <a:pt x="474" y="4254"/>
                  </a:lnTo>
                  <a:cubicBezTo>
                    <a:pt x="159" y="4569"/>
                    <a:pt x="1" y="4947"/>
                    <a:pt x="1" y="5419"/>
                  </a:cubicBezTo>
                  <a:cubicBezTo>
                    <a:pt x="1" y="5861"/>
                    <a:pt x="159" y="6302"/>
                    <a:pt x="474" y="6617"/>
                  </a:cubicBezTo>
                  <a:cubicBezTo>
                    <a:pt x="789" y="6932"/>
                    <a:pt x="1214" y="7089"/>
                    <a:pt x="1639" y="7089"/>
                  </a:cubicBezTo>
                  <a:cubicBezTo>
                    <a:pt x="2065" y="7089"/>
                    <a:pt x="2490" y="6932"/>
                    <a:pt x="2805" y="6617"/>
                  </a:cubicBezTo>
                  <a:lnTo>
                    <a:pt x="5892" y="3529"/>
                  </a:lnTo>
                  <a:cubicBezTo>
                    <a:pt x="6081" y="3372"/>
                    <a:pt x="6081" y="3088"/>
                    <a:pt x="5924" y="2931"/>
                  </a:cubicBezTo>
                  <a:lnTo>
                    <a:pt x="7090" y="1765"/>
                  </a:lnTo>
                  <a:lnTo>
                    <a:pt x="5325" y="1"/>
                  </a:lnTo>
                  <a:close/>
                </a:path>
              </a:pathLst>
            </a:custGeom>
            <a:grpFill/>
            <a:ln>
              <a:noFill/>
            </a:ln>
          </p:spPr>
          <p:txBody>
            <a:bodyPr spcFirstLastPara="1" wrap="square" lIns="91417" tIns="91417" rIns="91417" bIns="91417" anchor="ctr" anchorCtr="0">
              <a:noAutofit/>
            </a:bodyPr>
            <a:lstStyle/>
            <a:p>
              <a:endParaRPr sz="1400"/>
            </a:p>
          </p:txBody>
        </p:sp>
        <p:sp>
          <p:nvSpPr>
            <p:cNvPr id="280" name="Google Shape;10175;p74"/>
            <p:cNvSpPr/>
            <p:nvPr/>
          </p:nvSpPr>
          <p:spPr>
            <a:xfrm>
              <a:off x="-63548400" y="4348850"/>
              <a:ext cx="185900" cy="62250"/>
            </a:xfrm>
            <a:custGeom>
              <a:rect l="l" t="t" r="r" b="b"/>
              <a:pathLst>
                <a:path w="7436" h="2490" extrusionOk="0">
                  <a:moveTo>
                    <a:pt x="2048" y="0"/>
                  </a:moveTo>
                  <a:cubicBezTo>
                    <a:pt x="1355" y="0"/>
                    <a:pt x="819" y="536"/>
                    <a:pt x="819" y="1229"/>
                  </a:cubicBezTo>
                  <a:lnTo>
                    <a:pt x="819" y="1639"/>
                  </a:lnTo>
                  <a:lnTo>
                    <a:pt x="410" y="1639"/>
                  </a:lnTo>
                  <a:cubicBezTo>
                    <a:pt x="189" y="1639"/>
                    <a:pt x="0" y="1859"/>
                    <a:pt x="0" y="2048"/>
                  </a:cubicBezTo>
                  <a:cubicBezTo>
                    <a:pt x="0" y="2269"/>
                    <a:pt x="189" y="2489"/>
                    <a:pt x="410" y="2489"/>
                  </a:cubicBezTo>
                  <a:lnTo>
                    <a:pt x="7026" y="2489"/>
                  </a:lnTo>
                  <a:cubicBezTo>
                    <a:pt x="7278" y="2489"/>
                    <a:pt x="7435" y="2269"/>
                    <a:pt x="7435" y="2048"/>
                  </a:cubicBezTo>
                  <a:cubicBezTo>
                    <a:pt x="7435" y="1859"/>
                    <a:pt x="7246" y="1639"/>
                    <a:pt x="6994" y="1639"/>
                  </a:cubicBezTo>
                  <a:lnTo>
                    <a:pt x="6616" y="1639"/>
                  </a:lnTo>
                  <a:lnTo>
                    <a:pt x="6616" y="1229"/>
                  </a:lnTo>
                  <a:cubicBezTo>
                    <a:pt x="6616" y="536"/>
                    <a:pt x="6049" y="0"/>
                    <a:pt x="5356" y="0"/>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289" name="Google Shape;10184;p74"/>
          <p:cNvGrpSpPr/>
          <p:nvPr/>
        </p:nvGrpSpPr>
        <p:grpSpPr>
          <a:xfrm>
            <a:off x="4276000" y="3638730"/>
            <a:ext cx="523629" cy="559485"/>
            <a:chOff x="-61783348" y="3743950"/>
            <a:chExt cx="316650" cy="317450"/>
          </a:xfrm>
          <a:solidFill>
            <a:srgbClr val="00677F"/>
          </a:solidFill>
        </p:grpSpPr>
        <p:sp>
          <p:nvSpPr>
            <p:cNvPr id="290" name="Google Shape;10185;p74"/>
            <p:cNvSpPr/>
            <p:nvPr/>
          </p:nvSpPr>
          <p:spPr>
            <a:xfrm>
              <a:off x="-61783348" y="3743950"/>
              <a:ext cx="316650" cy="317450"/>
            </a:xfrm>
            <a:custGeom>
              <a:rect l="l" t="t" r="r" b="b"/>
              <a:pathLst>
                <a:path w="12666" h="12698" extrusionOk="0">
                  <a:moveTo>
                    <a:pt x="379" y="1"/>
                  </a:moveTo>
                  <a:cubicBezTo>
                    <a:pt x="158" y="1"/>
                    <a:pt x="1" y="190"/>
                    <a:pt x="1" y="410"/>
                  </a:cubicBezTo>
                  <a:lnTo>
                    <a:pt x="1" y="12256"/>
                  </a:lnTo>
                  <a:cubicBezTo>
                    <a:pt x="1" y="12508"/>
                    <a:pt x="190" y="12697"/>
                    <a:pt x="379" y="12697"/>
                  </a:cubicBezTo>
                  <a:lnTo>
                    <a:pt x="12256" y="12697"/>
                  </a:lnTo>
                  <a:cubicBezTo>
                    <a:pt x="12477" y="12697"/>
                    <a:pt x="12666" y="12508"/>
                    <a:pt x="12666" y="12256"/>
                  </a:cubicBezTo>
                  <a:cubicBezTo>
                    <a:pt x="12634" y="12067"/>
                    <a:pt x="12477" y="11878"/>
                    <a:pt x="12256" y="11878"/>
                  </a:cubicBezTo>
                  <a:lnTo>
                    <a:pt x="820" y="11878"/>
                  </a:lnTo>
                  <a:lnTo>
                    <a:pt x="820" y="410"/>
                  </a:lnTo>
                  <a:cubicBezTo>
                    <a:pt x="820" y="158"/>
                    <a:pt x="631" y="1"/>
                    <a:pt x="379" y="1"/>
                  </a:cubicBezTo>
                  <a:close/>
                </a:path>
              </a:pathLst>
            </a:custGeom>
            <a:grpFill/>
            <a:ln>
              <a:noFill/>
            </a:ln>
          </p:spPr>
          <p:txBody>
            <a:bodyPr spcFirstLastPara="1" wrap="square" lIns="91417" tIns="91417" rIns="91417" bIns="91417" anchor="ctr" anchorCtr="0">
              <a:noAutofit/>
            </a:bodyPr>
            <a:lstStyle/>
            <a:p>
              <a:endParaRPr sz="1400"/>
            </a:p>
          </p:txBody>
        </p:sp>
        <p:sp>
          <p:nvSpPr>
            <p:cNvPr id="291" name="Google Shape;10186;p74"/>
            <p:cNvSpPr/>
            <p:nvPr/>
          </p:nvSpPr>
          <p:spPr>
            <a:xfrm>
              <a:off x="-61739227" y="3833750"/>
              <a:ext cx="272525" cy="149675"/>
            </a:xfrm>
            <a:custGeom>
              <a:rect l="l" t="t" r="r" b="b"/>
              <a:pathLst>
                <a:path w="10901" h="5987" extrusionOk="0">
                  <a:moveTo>
                    <a:pt x="9641" y="0"/>
                  </a:moveTo>
                  <a:cubicBezTo>
                    <a:pt x="8979" y="0"/>
                    <a:pt x="8444" y="536"/>
                    <a:pt x="8444" y="1229"/>
                  </a:cubicBezTo>
                  <a:cubicBezTo>
                    <a:pt x="8444" y="1418"/>
                    <a:pt x="8475" y="1575"/>
                    <a:pt x="8538" y="1733"/>
                  </a:cubicBezTo>
                  <a:lnTo>
                    <a:pt x="6900" y="3403"/>
                  </a:lnTo>
                  <a:cubicBezTo>
                    <a:pt x="6742" y="3308"/>
                    <a:pt x="6553" y="3277"/>
                    <a:pt x="6396" y="3277"/>
                  </a:cubicBezTo>
                  <a:cubicBezTo>
                    <a:pt x="6238" y="3277"/>
                    <a:pt x="6018" y="3308"/>
                    <a:pt x="5860" y="3403"/>
                  </a:cubicBezTo>
                  <a:lnTo>
                    <a:pt x="5041" y="2552"/>
                  </a:lnTo>
                  <a:cubicBezTo>
                    <a:pt x="5136" y="2395"/>
                    <a:pt x="5167" y="2206"/>
                    <a:pt x="5167" y="2048"/>
                  </a:cubicBezTo>
                  <a:cubicBezTo>
                    <a:pt x="5167" y="1386"/>
                    <a:pt x="4600" y="819"/>
                    <a:pt x="3938" y="819"/>
                  </a:cubicBezTo>
                  <a:cubicBezTo>
                    <a:pt x="3277" y="819"/>
                    <a:pt x="2710" y="1386"/>
                    <a:pt x="2710" y="2048"/>
                  </a:cubicBezTo>
                  <a:cubicBezTo>
                    <a:pt x="2710" y="2237"/>
                    <a:pt x="2773" y="2395"/>
                    <a:pt x="2836" y="2552"/>
                  </a:cubicBezTo>
                  <a:lnTo>
                    <a:pt x="1733" y="3655"/>
                  </a:lnTo>
                  <a:cubicBezTo>
                    <a:pt x="1575" y="3592"/>
                    <a:pt x="1386" y="3560"/>
                    <a:pt x="1229" y="3560"/>
                  </a:cubicBezTo>
                  <a:cubicBezTo>
                    <a:pt x="567" y="3560"/>
                    <a:pt x="0" y="4096"/>
                    <a:pt x="0" y="4757"/>
                  </a:cubicBezTo>
                  <a:cubicBezTo>
                    <a:pt x="0" y="5451"/>
                    <a:pt x="567" y="5986"/>
                    <a:pt x="1229" y="5986"/>
                  </a:cubicBezTo>
                  <a:cubicBezTo>
                    <a:pt x="1891" y="5986"/>
                    <a:pt x="2458" y="5451"/>
                    <a:pt x="2458" y="4757"/>
                  </a:cubicBezTo>
                  <a:cubicBezTo>
                    <a:pt x="2458" y="4568"/>
                    <a:pt x="2395" y="4411"/>
                    <a:pt x="2332" y="4253"/>
                  </a:cubicBezTo>
                  <a:lnTo>
                    <a:pt x="3434" y="3151"/>
                  </a:lnTo>
                  <a:cubicBezTo>
                    <a:pt x="3592" y="3214"/>
                    <a:pt x="3781" y="3277"/>
                    <a:pt x="3938" y="3277"/>
                  </a:cubicBezTo>
                  <a:cubicBezTo>
                    <a:pt x="4096" y="3277"/>
                    <a:pt x="4285" y="3214"/>
                    <a:pt x="4442" y="3151"/>
                  </a:cubicBezTo>
                  <a:lnTo>
                    <a:pt x="5293" y="3970"/>
                  </a:lnTo>
                  <a:cubicBezTo>
                    <a:pt x="5199" y="4127"/>
                    <a:pt x="5167" y="4348"/>
                    <a:pt x="5167" y="4505"/>
                  </a:cubicBezTo>
                  <a:cubicBezTo>
                    <a:pt x="5167" y="5167"/>
                    <a:pt x="5703" y="5703"/>
                    <a:pt x="6396" y="5703"/>
                  </a:cubicBezTo>
                  <a:cubicBezTo>
                    <a:pt x="7057" y="5703"/>
                    <a:pt x="7593" y="5167"/>
                    <a:pt x="7593" y="4505"/>
                  </a:cubicBezTo>
                  <a:cubicBezTo>
                    <a:pt x="7593" y="4285"/>
                    <a:pt x="7561" y="4127"/>
                    <a:pt x="7498" y="3970"/>
                  </a:cubicBezTo>
                  <a:lnTo>
                    <a:pt x="9137" y="2332"/>
                  </a:lnTo>
                  <a:cubicBezTo>
                    <a:pt x="9294" y="2395"/>
                    <a:pt x="9483" y="2458"/>
                    <a:pt x="9641" y="2458"/>
                  </a:cubicBezTo>
                  <a:cubicBezTo>
                    <a:pt x="10334" y="2458"/>
                    <a:pt x="10901" y="1890"/>
                    <a:pt x="10901" y="1229"/>
                  </a:cubicBezTo>
                  <a:cubicBezTo>
                    <a:pt x="10901" y="536"/>
                    <a:pt x="10334" y="0"/>
                    <a:pt x="9641" y="0"/>
                  </a:cubicBezTo>
                  <a:close/>
                </a:path>
              </a:pathLst>
            </a:custGeom>
            <a:grpFill/>
            <a:ln>
              <a:noFill/>
            </a:ln>
          </p:spPr>
          <p:txBody>
            <a:bodyPr spcFirstLastPara="1" wrap="square" lIns="91417" tIns="91417" rIns="91417" bIns="91417" anchor="ctr" anchorCtr="0">
              <a:noAutofit/>
            </a:bodyPr>
            <a:lstStyle/>
            <a:p>
              <a:endParaRPr sz="1400"/>
            </a:p>
          </p:txBody>
        </p:sp>
      </p:grpSp>
      <p:sp>
        <p:nvSpPr>
          <p:cNvPr id="294" name="Google Shape;10189;p74"/>
          <p:cNvSpPr/>
          <p:nvPr/>
        </p:nvSpPr>
        <p:spPr>
          <a:xfrm>
            <a:off x="8747722" y="3717588"/>
            <a:ext cx="526233" cy="437305"/>
          </a:xfrm>
          <a:custGeom>
            <a:rect l="l" t="t" r="r" b="b"/>
            <a:pathLst>
              <a:path w="12729" h="9925" extrusionOk="0">
                <a:moveTo>
                  <a:pt x="925" y="3644"/>
                </a:moveTo>
                <a:cubicBezTo>
                  <a:pt x="944" y="3644"/>
                  <a:pt x="963" y="3648"/>
                  <a:pt x="978" y="3655"/>
                </a:cubicBezTo>
                <a:lnTo>
                  <a:pt x="1608" y="3970"/>
                </a:lnTo>
                <a:lnTo>
                  <a:pt x="1608" y="5924"/>
                </a:lnTo>
                <a:lnTo>
                  <a:pt x="978" y="6239"/>
                </a:lnTo>
                <a:cubicBezTo>
                  <a:pt x="960" y="6256"/>
                  <a:pt x="937" y="6264"/>
                  <a:pt x="914" y="6264"/>
                </a:cubicBezTo>
                <a:cubicBezTo>
                  <a:pt x="854" y="6264"/>
                  <a:pt x="788" y="6212"/>
                  <a:pt x="788" y="6144"/>
                </a:cubicBezTo>
                <a:lnTo>
                  <a:pt x="788" y="3781"/>
                </a:lnTo>
                <a:cubicBezTo>
                  <a:pt x="788" y="3685"/>
                  <a:pt x="862" y="3644"/>
                  <a:pt x="925" y="3644"/>
                </a:cubicBezTo>
                <a:close/>
                <a:moveTo>
                  <a:pt x="4128" y="7184"/>
                </a:moveTo>
                <a:lnTo>
                  <a:pt x="6963" y="8035"/>
                </a:lnTo>
                <a:cubicBezTo>
                  <a:pt x="6648" y="8507"/>
                  <a:pt x="6176" y="8759"/>
                  <a:pt x="5640" y="8759"/>
                </a:cubicBezTo>
                <a:cubicBezTo>
                  <a:pt x="4821" y="8759"/>
                  <a:pt x="4097" y="8066"/>
                  <a:pt x="4128" y="7184"/>
                </a:cubicBezTo>
                <a:close/>
                <a:moveTo>
                  <a:pt x="11374" y="820"/>
                </a:moveTo>
                <a:cubicBezTo>
                  <a:pt x="11626" y="820"/>
                  <a:pt x="11815" y="1009"/>
                  <a:pt x="11815" y="1198"/>
                </a:cubicBezTo>
                <a:lnTo>
                  <a:pt x="11815" y="8665"/>
                </a:lnTo>
                <a:cubicBezTo>
                  <a:pt x="11815" y="8885"/>
                  <a:pt x="11626" y="9043"/>
                  <a:pt x="11374" y="9043"/>
                </a:cubicBezTo>
                <a:cubicBezTo>
                  <a:pt x="11154" y="9043"/>
                  <a:pt x="10996" y="8854"/>
                  <a:pt x="10996" y="8665"/>
                </a:cubicBezTo>
                <a:lnTo>
                  <a:pt x="10996" y="1198"/>
                </a:lnTo>
                <a:cubicBezTo>
                  <a:pt x="10996" y="977"/>
                  <a:pt x="11185" y="820"/>
                  <a:pt x="11374" y="820"/>
                </a:cubicBezTo>
                <a:close/>
                <a:moveTo>
                  <a:pt x="11437" y="1"/>
                </a:moveTo>
                <a:cubicBezTo>
                  <a:pt x="10870" y="1"/>
                  <a:pt x="10366" y="379"/>
                  <a:pt x="10240" y="883"/>
                </a:cubicBezTo>
                <a:lnTo>
                  <a:pt x="2080" y="3246"/>
                </a:lnTo>
                <a:lnTo>
                  <a:pt x="1387" y="2899"/>
                </a:lnTo>
                <a:cubicBezTo>
                  <a:pt x="1251" y="2831"/>
                  <a:pt x="1109" y="2800"/>
                  <a:pt x="970" y="2800"/>
                </a:cubicBezTo>
                <a:cubicBezTo>
                  <a:pt x="466" y="2800"/>
                  <a:pt x="1" y="3213"/>
                  <a:pt x="1" y="3781"/>
                </a:cubicBezTo>
                <a:lnTo>
                  <a:pt x="1" y="6144"/>
                </a:lnTo>
                <a:cubicBezTo>
                  <a:pt x="1" y="6687"/>
                  <a:pt x="465" y="7095"/>
                  <a:pt x="983" y="7095"/>
                </a:cubicBezTo>
                <a:cubicBezTo>
                  <a:pt x="1127" y="7095"/>
                  <a:pt x="1275" y="7063"/>
                  <a:pt x="1419" y="6995"/>
                </a:cubicBezTo>
                <a:lnTo>
                  <a:pt x="2143" y="6648"/>
                </a:lnTo>
                <a:lnTo>
                  <a:pt x="3340" y="6995"/>
                </a:lnTo>
                <a:cubicBezTo>
                  <a:pt x="3151" y="8444"/>
                  <a:pt x="4286" y="9641"/>
                  <a:pt x="5672" y="9641"/>
                </a:cubicBezTo>
                <a:cubicBezTo>
                  <a:pt x="6585" y="9641"/>
                  <a:pt x="7405" y="9074"/>
                  <a:pt x="7814" y="8287"/>
                </a:cubicBezTo>
                <a:lnTo>
                  <a:pt x="10271" y="9011"/>
                </a:lnTo>
                <a:cubicBezTo>
                  <a:pt x="10429" y="9515"/>
                  <a:pt x="10902" y="9925"/>
                  <a:pt x="11469" y="9925"/>
                </a:cubicBezTo>
                <a:cubicBezTo>
                  <a:pt x="12130" y="9925"/>
                  <a:pt x="12729" y="9358"/>
                  <a:pt x="12729" y="8696"/>
                </a:cubicBezTo>
                <a:lnTo>
                  <a:pt x="12729" y="1261"/>
                </a:lnTo>
                <a:cubicBezTo>
                  <a:pt x="12634" y="536"/>
                  <a:pt x="12099" y="1"/>
                  <a:pt x="11437" y="1"/>
                </a:cubicBezTo>
                <a:close/>
              </a:path>
            </a:pathLst>
          </a:custGeom>
          <a:solidFill>
            <a:srgbClr val="00677F"/>
          </a:solidFill>
          <a:ln>
            <a:noFill/>
          </a:ln>
        </p:spPr>
        <p:txBody>
          <a:bodyPr spcFirstLastPara="1" wrap="square" lIns="91417" tIns="91417" rIns="91417" bIns="91417" anchor="ctr" anchorCtr="0">
            <a:noAutofit/>
          </a:bodyPr>
          <a:lstStyle/>
          <a:p>
            <a:endParaRPr sz="1400"/>
          </a:p>
        </p:txBody>
      </p:sp>
      <p:grpSp>
        <p:nvGrpSpPr>
          <p:cNvPr id="295" name="Google Shape;10190;p74"/>
          <p:cNvGrpSpPr/>
          <p:nvPr/>
        </p:nvGrpSpPr>
        <p:grpSpPr>
          <a:xfrm>
            <a:off x="10482490" y="3656965"/>
            <a:ext cx="479547" cy="504925"/>
            <a:chOff x="-59869425" y="4102225"/>
            <a:chExt cx="319025" cy="315175"/>
          </a:xfrm>
          <a:solidFill>
            <a:srgbClr val="00677F"/>
          </a:solidFill>
        </p:grpSpPr>
        <p:sp>
          <p:nvSpPr>
            <p:cNvPr id="296" name="Google Shape;10191;p74"/>
            <p:cNvSpPr/>
            <p:nvPr/>
          </p:nvSpPr>
          <p:spPr>
            <a:xfrm>
              <a:off x="-59869425" y="4102225"/>
              <a:ext cx="149675" cy="256825"/>
            </a:xfrm>
            <a:custGeom>
              <a:rect l="l" t="t" r="r" b="b"/>
              <a:pathLst>
                <a:path w="5987" h="10273" extrusionOk="0">
                  <a:moveTo>
                    <a:pt x="5532" y="1"/>
                  </a:moveTo>
                  <a:cubicBezTo>
                    <a:pt x="5515" y="1"/>
                    <a:pt x="5499" y="2"/>
                    <a:pt x="5483" y="4"/>
                  </a:cubicBezTo>
                  <a:cubicBezTo>
                    <a:pt x="2364" y="445"/>
                    <a:pt x="1" y="3123"/>
                    <a:pt x="1" y="6274"/>
                  </a:cubicBezTo>
                  <a:cubicBezTo>
                    <a:pt x="1" y="7692"/>
                    <a:pt x="442" y="8983"/>
                    <a:pt x="1293" y="10086"/>
                  </a:cubicBezTo>
                  <a:cubicBezTo>
                    <a:pt x="1381" y="10209"/>
                    <a:pt x="1507" y="10273"/>
                    <a:pt x="1635" y="10273"/>
                  </a:cubicBezTo>
                  <a:cubicBezTo>
                    <a:pt x="1737" y="10273"/>
                    <a:pt x="1839" y="10233"/>
                    <a:pt x="1923" y="10149"/>
                  </a:cubicBezTo>
                  <a:lnTo>
                    <a:pt x="3719" y="8353"/>
                  </a:lnTo>
                  <a:cubicBezTo>
                    <a:pt x="3813" y="8259"/>
                    <a:pt x="3845" y="8007"/>
                    <a:pt x="3782" y="7849"/>
                  </a:cubicBezTo>
                  <a:cubicBezTo>
                    <a:pt x="3498" y="7376"/>
                    <a:pt x="3341" y="6809"/>
                    <a:pt x="3341" y="6274"/>
                  </a:cubicBezTo>
                  <a:cubicBezTo>
                    <a:pt x="3341" y="4888"/>
                    <a:pt x="4286" y="3659"/>
                    <a:pt x="5672" y="3312"/>
                  </a:cubicBezTo>
                  <a:cubicBezTo>
                    <a:pt x="5861" y="3281"/>
                    <a:pt x="5987" y="3123"/>
                    <a:pt x="5987" y="2934"/>
                  </a:cubicBezTo>
                  <a:lnTo>
                    <a:pt x="5987" y="414"/>
                  </a:lnTo>
                  <a:cubicBezTo>
                    <a:pt x="5958" y="180"/>
                    <a:pt x="5739" y="1"/>
                    <a:pt x="5532" y="1"/>
                  </a:cubicBezTo>
                  <a:close/>
                </a:path>
              </a:pathLst>
            </a:custGeom>
            <a:grpFill/>
            <a:ln>
              <a:noFill/>
            </a:ln>
          </p:spPr>
          <p:txBody>
            <a:bodyPr spcFirstLastPara="1" wrap="square" lIns="91417" tIns="91417" rIns="91417" bIns="91417" anchor="ctr" anchorCtr="0">
              <a:noAutofit/>
            </a:bodyPr>
            <a:lstStyle/>
            <a:p>
              <a:endParaRPr sz="1400"/>
            </a:p>
          </p:txBody>
        </p:sp>
        <p:sp>
          <p:nvSpPr>
            <p:cNvPr id="297" name="Google Shape;10192;p74"/>
            <p:cNvSpPr/>
            <p:nvPr/>
          </p:nvSpPr>
          <p:spPr>
            <a:xfrm>
              <a:off x="-59811127" y="4322075"/>
              <a:ext cx="201650" cy="95325"/>
            </a:xfrm>
            <a:custGeom>
              <a:rect l="l" t="t" r="r" b="b"/>
              <a:pathLst>
                <a:path w="8066" h="3812" extrusionOk="0">
                  <a:moveTo>
                    <a:pt x="5758" y="0"/>
                  </a:moveTo>
                  <a:cubicBezTo>
                    <a:pt x="5692" y="0"/>
                    <a:pt x="5629" y="11"/>
                    <a:pt x="5577" y="32"/>
                  </a:cubicBezTo>
                  <a:cubicBezTo>
                    <a:pt x="5091" y="339"/>
                    <a:pt x="4530" y="489"/>
                    <a:pt x="3972" y="489"/>
                  </a:cubicBezTo>
                  <a:cubicBezTo>
                    <a:pt x="3444" y="489"/>
                    <a:pt x="2917" y="355"/>
                    <a:pt x="2458" y="95"/>
                  </a:cubicBezTo>
                  <a:cubicBezTo>
                    <a:pt x="2389" y="53"/>
                    <a:pt x="2314" y="30"/>
                    <a:pt x="2239" y="30"/>
                  </a:cubicBezTo>
                  <a:cubicBezTo>
                    <a:pt x="2141" y="30"/>
                    <a:pt x="2042" y="69"/>
                    <a:pt x="1954" y="158"/>
                  </a:cubicBezTo>
                  <a:lnTo>
                    <a:pt x="189" y="1922"/>
                  </a:lnTo>
                  <a:cubicBezTo>
                    <a:pt x="0" y="2143"/>
                    <a:pt x="32" y="2395"/>
                    <a:pt x="221" y="2552"/>
                  </a:cubicBezTo>
                  <a:cubicBezTo>
                    <a:pt x="1324" y="3403"/>
                    <a:pt x="2615" y="3812"/>
                    <a:pt x="4001" y="3812"/>
                  </a:cubicBezTo>
                  <a:cubicBezTo>
                    <a:pt x="5388" y="3812"/>
                    <a:pt x="6711" y="3403"/>
                    <a:pt x="7814" y="2521"/>
                  </a:cubicBezTo>
                  <a:cubicBezTo>
                    <a:pt x="8034" y="2363"/>
                    <a:pt x="8066" y="2080"/>
                    <a:pt x="7877" y="1890"/>
                  </a:cubicBezTo>
                  <a:lnTo>
                    <a:pt x="6112" y="126"/>
                  </a:lnTo>
                  <a:cubicBezTo>
                    <a:pt x="6028" y="42"/>
                    <a:pt x="5888" y="0"/>
                    <a:pt x="5758" y="0"/>
                  </a:cubicBezTo>
                  <a:close/>
                </a:path>
              </a:pathLst>
            </a:custGeom>
            <a:grpFill/>
            <a:ln>
              <a:noFill/>
            </a:ln>
          </p:spPr>
          <p:txBody>
            <a:bodyPr spcFirstLastPara="1" wrap="square" lIns="91417" tIns="91417" rIns="91417" bIns="91417" anchor="ctr" anchorCtr="0">
              <a:noAutofit/>
            </a:bodyPr>
            <a:lstStyle/>
            <a:p>
              <a:endParaRPr sz="1400"/>
            </a:p>
          </p:txBody>
        </p:sp>
        <p:sp>
          <p:nvSpPr>
            <p:cNvPr id="298" name="Google Shape;10193;p74"/>
            <p:cNvSpPr/>
            <p:nvPr/>
          </p:nvSpPr>
          <p:spPr>
            <a:xfrm>
              <a:off x="-59700077" y="4102225"/>
              <a:ext cx="149675" cy="256525"/>
            </a:xfrm>
            <a:custGeom>
              <a:rect l="l" t="t" r="r" b="b"/>
              <a:pathLst>
                <a:path w="5987" h="10261" extrusionOk="0">
                  <a:moveTo>
                    <a:pt x="418" y="1"/>
                  </a:moveTo>
                  <a:cubicBezTo>
                    <a:pt x="190" y="1"/>
                    <a:pt x="1" y="180"/>
                    <a:pt x="1" y="414"/>
                  </a:cubicBezTo>
                  <a:lnTo>
                    <a:pt x="1" y="2934"/>
                  </a:lnTo>
                  <a:cubicBezTo>
                    <a:pt x="1" y="3123"/>
                    <a:pt x="127" y="3281"/>
                    <a:pt x="316" y="3312"/>
                  </a:cubicBezTo>
                  <a:cubicBezTo>
                    <a:pt x="1639" y="3659"/>
                    <a:pt x="2647" y="4856"/>
                    <a:pt x="2647" y="6274"/>
                  </a:cubicBezTo>
                  <a:cubicBezTo>
                    <a:pt x="2647" y="6809"/>
                    <a:pt x="2489" y="7376"/>
                    <a:pt x="2206" y="7849"/>
                  </a:cubicBezTo>
                  <a:cubicBezTo>
                    <a:pt x="2080" y="8007"/>
                    <a:pt x="2111" y="8196"/>
                    <a:pt x="2269" y="8353"/>
                  </a:cubicBezTo>
                  <a:lnTo>
                    <a:pt x="4065" y="10149"/>
                  </a:lnTo>
                  <a:cubicBezTo>
                    <a:pt x="4137" y="10221"/>
                    <a:pt x="4242" y="10260"/>
                    <a:pt x="4350" y="10260"/>
                  </a:cubicBezTo>
                  <a:cubicBezTo>
                    <a:pt x="4478" y="10260"/>
                    <a:pt x="4609" y="10205"/>
                    <a:pt x="4695" y="10086"/>
                  </a:cubicBezTo>
                  <a:cubicBezTo>
                    <a:pt x="5514" y="8983"/>
                    <a:pt x="5987" y="7660"/>
                    <a:pt x="5987" y="6274"/>
                  </a:cubicBezTo>
                  <a:cubicBezTo>
                    <a:pt x="5892" y="3123"/>
                    <a:pt x="3592" y="445"/>
                    <a:pt x="473" y="4"/>
                  </a:cubicBezTo>
                  <a:cubicBezTo>
                    <a:pt x="455" y="2"/>
                    <a:pt x="436" y="1"/>
                    <a:pt x="418" y="1"/>
                  </a:cubicBezTo>
                  <a:close/>
                </a:path>
              </a:pathLst>
            </a:custGeom>
            <a:grpFill/>
            <a:ln>
              <a:noFill/>
            </a:ln>
          </p:spPr>
          <p:txBody>
            <a:bodyPr spcFirstLastPara="1" wrap="square" lIns="91417" tIns="91417" rIns="91417" bIns="91417" anchor="ctr" anchorCtr="0">
              <a:noAutofit/>
            </a:bodyPr>
            <a:lstStyle/>
            <a:p>
              <a:endParaRPr sz="1400"/>
            </a:p>
          </p:txBody>
        </p:sp>
        <p:sp>
          <p:nvSpPr>
            <p:cNvPr id="299" name="Google Shape;10194;p74"/>
            <p:cNvSpPr/>
            <p:nvPr/>
          </p:nvSpPr>
          <p:spPr>
            <a:xfrm>
              <a:off x="-59742598" y="4187375"/>
              <a:ext cx="63025" cy="144950"/>
            </a:xfrm>
            <a:custGeom>
              <a:rect l="l" t="t" r="r" b="b"/>
              <a:pathLst>
                <a:path w="2521" h="5798" extrusionOk="0">
                  <a:moveTo>
                    <a:pt x="1260" y="1"/>
                  </a:moveTo>
                  <a:cubicBezTo>
                    <a:pt x="1040" y="1"/>
                    <a:pt x="819" y="190"/>
                    <a:pt x="819" y="379"/>
                  </a:cubicBezTo>
                  <a:lnTo>
                    <a:pt x="819" y="662"/>
                  </a:lnTo>
                  <a:cubicBezTo>
                    <a:pt x="347" y="820"/>
                    <a:pt x="0" y="1293"/>
                    <a:pt x="0" y="1860"/>
                  </a:cubicBezTo>
                  <a:cubicBezTo>
                    <a:pt x="0" y="2521"/>
                    <a:pt x="567" y="2899"/>
                    <a:pt x="977" y="3214"/>
                  </a:cubicBezTo>
                  <a:cubicBezTo>
                    <a:pt x="1292" y="3466"/>
                    <a:pt x="1670" y="3687"/>
                    <a:pt x="1670" y="3939"/>
                  </a:cubicBezTo>
                  <a:cubicBezTo>
                    <a:pt x="1670" y="4160"/>
                    <a:pt x="1450" y="4380"/>
                    <a:pt x="1260" y="4380"/>
                  </a:cubicBezTo>
                  <a:cubicBezTo>
                    <a:pt x="1071" y="4380"/>
                    <a:pt x="819" y="4160"/>
                    <a:pt x="819" y="3939"/>
                  </a:cubicBezTo>
                  <a:cubicBezTo>
                    <a:pt x="819" y="3687"/>
                    <a:pt x="630" y="3529"/>
                    <a:pt x="441" y="3529"/>
                  </a:cubicBezTo>
                  <a:cubicBezTo>
                    <a:pt x="252" y="3529"/>
                    <a:pt x="32" y="3750"/>
                    <a:pt x="32" y="3939"/>
                  </a:cubicBezTo>
                  <a:cubicBezTo>
                    <a:pt x="32" y="4475"/>
                    <a:pt x="410" y="4916"/>
                    <a:pt x="882" y="5105"/>
                  </a:cubicBezTo>
                  <a:lnTo>
                    <a:pt x="882" y="5388"/>
                  </a:lnTo>
                  <a:cubicBezTo>
                    <a:pt x="882" y="5640"/>
                    <a:pt x="1071" y="5798"/>
                    <a:pt x="1292" y="5798"/>
                  </a:cubicBezTo>
                  <a:cubicBezTo>
                    <a:pt x="1544" y="5798"/>
                    <a:pt x="1702" y="5577"/>
                    <a:pt x="1702" y="5388"/>
                  </a:cubicBezTo>
                  <a:lnTo>
                    <a:pt x="1702" y="5073"/>
                  </a:lnTo>
                  <a:cubicBezTo>
                    <a:pt x="2174" y="4916"/>
                    <a:pt x="2521" y="4443"/>
                    <a:pt x="2521" y="3907"/>
                  </a:cubicBezTo>
                  <a:cubicBezTo>
                    <a:pt x="2521" y="3214"/>
                    <a:pt x="1985" y="2836"/>
                    <a:pt x="1544" y="2521"/>
                  </a:cubicBezTo>
                  <a:cubicBezTo>
                    <a:pt x="1229" y="2269"/>
                    <a:pt x="882" y="2049"/>
                    <a:pt x="882" y="1797"/>
                  </a:cubicBezTo>
                  <a:cubicBezTo>
                    <a:pt x="882" y="1576"/>
                    <a:pt x="1071" y="1419"/>
                    <a:pt x="1292" y="1419"/>
                  </a:cubicBezTo>
                  <a:cubicBezTo>
                    <a:pt x="1544" y="1419"/>
                    <a:pt x="1702" y="1608"/>
                    <a:pt x="1702" y="1797"/>
                  </a:cubicBezTo>
                  <a:cubicBezTo>
                    <a:pt x="1702" y="2049"/>
                    <a:pt x="1891" y="2238"/>
                    <a:pt x="2143" y="2238"/>
                  </a:cubicBezTo>
                  <a:cubicBezTo>
                    <a:pt x="2363" y="2238"/>
                    <a:pt x="2521" y="2049"/>
                    <a:pt x="2521" y="1797"/>
                  </a:cubicBezTo>
                  <a:cubicBezTo>
                    <a:pt x="2521" y="1261"/>
                    <a:pt x="2174" y="820"/>
                    <a:pt x="1702" y="631"/>
                  </a:cubicBezTo>
                  <a:lnTo>
                    <a:pt x="1702" y="347"/>
                  </a:lnTo>
                  <a:cubicBezTo>
                    <a:pt x="1702" y="158"/>
                    <a:pt x="1513" y="1"/>
                    <a:pt x="1260" y="1"/>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326" name="Google Shape;10221;p74"/>
          <p:cNvGrpSpPr/>
          <p:nvPr/>
        </p:nvGrpSpPr>
        <p:grpSpPr>
          <a:xfrm>
            <a:off x="5114049" y="4622497"/>
            <a:ext cx="422587" cy="511165"/>
            <a:chOff x="2423775" y="3226875"/>
            <a:chExt cx="259925" cy="295000"/>
          </a:xfrm>
          <a:solidFill>
            <a:srgbClr val="00677F"/>
          </a:solidFill>
        </p:grpSpPr>
        <p:sp>
          <p:nvSpPr>
            <p:cNvPr id="327" name="Google Shape;10222;p74"/>
            <p:cNvSpPr/>
            <p:nvPr/>
          </p:nvSpPr>
          <p:spPr>
            <a:xfrm>
              <a:off x="2509625" y="3365900"/>
              <a:ext cx="86650" cy="52000"/>
            </a:xfrm>
            <a:custGeom>
              <a:rect l="l" t="t" r="r" b="b"/>
              <a:pathLst>
                <a:path w="3466" h="2080" extrusionOk="0">
                  <a:moveTo>
                    <a:pt x="1733" y="0"/>
                  </a:moveTo>
                  <a:cubicBezTo>
                    <a:pt x="788" y="0"/>
                    <a:pt x="0" y="788"/>
                    <a:pt x="0" y="1733"/>
                  </a:cubicBezTo>
                  <a:lnTo>
                    <a:pt x="0" y="2080"/>
                  </a:lnTo>
                  <a:lnTo>
                    <a:pt x="3466" y="2080"/>
                  </a:lnTo>
                  <a:lnTo>
                    <a:pt x="3466" y="1733"/>
                  </a:lnTo>
                  <a:cubicBezTo>
                    <a:pt x="3466" y="788"/>
                    <a:pt x="2678" y="0"/>
                    <a:pt x="1733" y="0"/>
                  </a:cubicBezTo>
                  <a:close/>
                </a:path>
              </a:pathLst>
            </a:custGeom>
            <a:grpFill/>
            <a:ln>
              <a:noFill/>
            </a:ln>
          </p:spPr>
          <p:txBody>
            <a:bodyPr spcFirstLastPara="1" wrap="square" lIns="91417" tIns="91417" rIns="91417" bIns="91417" anchor="ctr" anchorCtr="0">
              <a:noAutofit/>
            </a:bodyPr>
            <a:lstStyle/>
            <a:p>
              <a:endParaRPr sz="1400"/>
            </a:p>
          </p:txBody>
        </p:sp>
        <p:sp>
          <p:nvSpPr>
            <p:cNvPr id="328" name="Google Shape;10223;p74"/>
            <p:cNvSpPr/>
            <p:nvPr/>
          </p:nvSpPr>
          <p:spPr>
            <a:xfrm>
              <a:off x="2534825" y="3313925"/>
              <a:ext cx="35475" cy="35450"/>
            </a:xfrm>
            <a:custGeom>
              <a:rect l="l" t="t" r="r" b="b"/>
              <a:pathLst>
                <a:path w="1419" h="1418" extrusionOk="0">
                  <a:moveTo>
                    <a:pt x="725" y="0"/>
                  </a:moveTo>
                  <a:cubicBezTo>
                    <a:pt x="316" y="0"/>
                    <a:pt x="0" y="315"/>
                    <a:pt x="0" y="725"/>
                  </a:cubicBezTo>
                  <a:cubicBezTo>
                    <a:pt x="0" y="1103"/>
                    <a:pt x="316" y="1418"/>
                    <a:pt x="725" y="1418"/>
                  </a:cubicBezTo>
                  <a:cubicBezTo>
                    <a:pt x="1103" y="1418"/>
                    <a:pt x="1418" y="1103"/>
                    <a:pt x="1418" y="725"/>
                  </a:cubicBezTo>
                  <a:cubicBezTo>
                    <a:pt x="1418" y="315"/>
                    <a:pt x="1103" y="0"/>
                    <a:pt x="725" y="0"/>
                  </a:cubicBezTo>
                  <a:close/>
                </a:path>
              </a:pathLst>
            </a:custGeom>
            <a:grpFill/>
            <a:ln>
              <a:noFill/>
            </a:ln>
          </p:spPr>
          <p:txBody>
            <a:bodyPr spcFirstLastPara="1" wrap="square" lIns="91417" tIns="91417" rIns="91417" bIns="91417" anchor="ctr" anchorCtr="0">
              <a:noAutofit/>
            </a:bodyPr>
            <a:lstStyle/>
            <a:p>
              <a:endParaRPr sz="1400"/>
            </a:p>
          </p:txBody>
        </p:sp>
        <p:sp>
          <p:nvSpPr>
            <p:cNvPr id="329" name="Google Shape;10224;p74"/>
            <p:cNvSpPr/>
            <p:nvPr/>
          </p:nvSpPr>
          <p:spPr>
            <a:xfrm>
              <a:off x="2423775" y="3226875"/>
              <a:ext cx="259925" cy="295000"/>
            </a:xfrm>
            <a:custGeom>
              <a:rect l="l" t="t" r="r" b="b"/>
              <a:pathLst>
                <a:path w="10397" h="11800" extrusionOk="0">
                  <a:moveTo>
                    <a:pt x="5167" y="2757"/>
                  </a:moveTo>
                  <a:cubicBezTo>
                    <a:pt x="5923" y="2757"/>
                    <a:pt x="6553" y="3388"/>
                    <a:pt x="6553" y="4144"/>
                  </a:cubicBezTo>
                  <a:cubicBezTo>
                    <a:pt x="6553" y="4490"/>
                    <a:pt x="6396" y="4805"/>
                    <a:pt x="6175" y="5089"/>
                  </a:cubicBezTo>
                  <a:cubicBezTo>
                    <a:pt x="7026" y="5498"/>
                    <a:pt x="7593" y="6317"/>
                    <a:pt x="7593" y="7294"/>
                  </a:cubicBezTo>
                  <a:lnTo>
                    <a:pt x="7593" y="8019"/>
                  </a:lnTo>
                  <a:cubicBezTo>
                    <a:pt x="7593" y="8208"/>
                    <a:pt x="7435" y="8365"/>
                    <a:pt x="7246" y="8365"/>
                  </a:cubicBezTo>
                  <a:lnTo>
                    <a:pt x="3088" y="8365"/>
                  </a:lnTo>
                  <a:cubicBezTo>
                    <a:pt x="2867" y="8365"/>
                    <a:pt x="2710" y="8208"/>
                    <a:pt x="2710" y="8019"/>
                  </a:cubicBezTo>
                  <a:lnTo>
                    <a:pt x="2710" y="7294"/>
                  </a:lnTo>
                  <a:cubicBezTo>
                    <a:pt x="2710" y="6317"/>
                    <a:pt x="3308" y="5498"/>
                    <a:pt x="4127" y="5089"/>
                  </a:cubicBezTo>
                  <a:cubicBezTo>
                    <a:pt x="3907" y="4868"/>
                    <a:pt x="3781" y="4553"/>
                    <a:pt x="3781" y="4144"/>
                  </a:cubicBezTo>
                  <a:cubicBezTo>
                    <a:pt x="3781" y="3388"/>
                    <a:pt x="4411" y="2757"/>
                    <a:pt x="5167" y="2757"/>
                  </a:cubicBezTo>
                  <a:close/>
                  <a:moveTo>
                    <a:pt x="5183" y="1"/>
                  </a:moveTo>
                  <a:cubicBezTo>
                    <a:pt x="5128" y="1"/>
                    <a:pt x="5073" y="17"/>
                    <a:pt x="5010" y="48"/>
                  </a:cubicBezTo>
                  <a:cubicBezTo>
                    <a:pt x="3964" y="646"/>
                    <a:pt x="2946" y="940"/>
                    <a:pt x="1919" y="940"/>
                  </a:cubicBezTo>
                  <a:cubicBezTo>
                    <a:pt x="1430" y="940"/>
                    <a:pt x="939" y="873"/>
                    <a:pt x="441" y="741"/>
                  </a:cubicBezTo>
                  <a:cubicBezTo>
                    <a:pt x="402" y="722"/>
                    <a:pt x="363" y="714"/>
                    <a:pt x="326" y="714"/>
                  </a:cubicBezTo>
                  <a:cubicBezTo>
                    <a:pt x="243" y="714"/>
                    <a:pt x="170" y="751"/>
                    <a:pt x="126" y="773"/>
                  </a:cubicBezTo>
                  <a:cubicBezTo>
                    <a:pt x="32" y="836"/>
                    <a:pt x="0" y="930"/>
                    <a:pt x="0" y="1056"/>
                  </a:cubicBezTo>
                  <a:lnTo>
                    <a:pt x="0" y="5026"/>
                  </a:lnTo>
                  <a:cubicBezTo>
                    <a:pt x="0" y="8145"/>
                    <a:pt x="2080" y="10949"/>
                    <a:pt x="5104" y="11799"/>
                  </a:cubicBezTo>
                  <a:lnTo>
                    <a:pt x="5262" y="11799"/>
                  </a:lnTo>
                  <a:cubicBezTo>
                    <a:pt x="8255" y="10917"/>
                    <a:pt x="10397" y="8145"/>
                    <a:pt x="10397" y="5026"/>
                  </a:cubicBezTo>
                  <a:lnTo>
                    <a:pt x="10397" y="1056"/>
                  </a:lnTo>
                  <a:cubicBezTo>
                    <a:pt x="10397" y="930"/>
                    <a:pt x="10365" y="836"/>
                    <a:pt x="10271" y="773"/>
                  </a:cubicBezTo>
                  <a:cubicBezTo>
                    <a:pt x="10162" y="751"/>
                    <a:pt x="10084" y="714"/>
                    <a:pt x="10014" y="714"/>
                  </a:cubicBezTo>
                  <a:cubicBezTo>
                    <a:pt x="9983" y="714"/>
                    <a:pt x="9954" y="722"/>
                    <a:pt x="9924" y="741"/>
                  </a:cubicBezTo>
                  <a:cubicBezTo>
                    <a:pt x="9414" y="877"/>
                    <a:pt x="8910" y="946"/>
                    <a:pt x="8409" y="946"/>
                  </a:cubicBezTo>
                  <a:cubicBezTo>
                    <a:pt x="7395" y="946"/>
                    <a:pt x="6389" y="660"/>
                    <a:pt x="5356" y="48"/>
                  </a:cubicBezTo>
                  <a:cubicBezTo>
                    <a:pt x="5293" y="17"/>
                    <a:pt x="5238" y="1"/>
                    <a:pt x="5183" y="1"/>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345" name="Google Shape;10240;p74"/>
          <p:cNvGrpSpPr/>
          <p:nvPr/>
        </p:nvGrpSpPr>
        <p:grpSpPr>
          <a:xfrm>
            <a:off x="6965454" y="4627376"/>
            <a:ext cx="486646" cy="480451"/>
            <a:chOff x="4266025" y="3609275"/>
            <a:chExt cx="299325" cy="277275"/>
          </a:xfrm>
          <a:solidFill>
            <a:srgbClr val="00677F"/>
          </a:solidFill>
        </p:grpSpPr>
        <p:sp>
          <p:nvSpPr>
            <p:cNvPr id="346" name="Google Shape;10241;p74"/>
            <p:cNvSpPr/>
            <p:nvPr/>
          </p:nvSpPr>
          <p:spPr>
            <a:xfrm>
              <a:off x="4266025" y="3609275"/>
              <a:ext cx="299325" cy="224500"/>
            </a:xfrm>
            <a:custGeom>
              <a:rect l="l" t="t" r="r" b="b"/>
              <a:pathLst>
                <a:path w="11973" h="8980" extrusionOk="0">
                  <a:moveTo>
                    <a:pt x="2017" y="3749"/>
                  </a:moveTo>
                  <a:lnTo>
                    <a:pt x="3119" y="5514"/>
                  </a:lnTo>
                  <a:lnTo>
                    <a:pt x="914" y="5514"/>
                  </a:lnTo>
                  <a:lnTo>
                    <a:pt x="2017" y="3749"/>
                  </a:lnTo>
                  <a:close/>
                  <a:moveTo>
                    <a:pt x="9641" y="3749"/>
                  </a:moveTo>
                  <a:lnTo>
                    <a:pt x="10744" y="5514"/>
                  </a:lnTo>
                  <a:lnTo>
                    <a:pt x="8538" y="5514"/>
                  </a:lnTo>
                  <a:lnTo>
                    <a:pt x="9641" y="3749"/>
                  </a:lnTo>
                  <a:close/>
                  <a:moveTo>
                    <a:pt x="5892" y="0"/>
                  </a:moveTo>
                  <a:cubicBezTo>
                    <a:pt x="5325" y="0"/>
                    <a:pt x="4852" y="473"/>
                    <a:pt x="4852" y="1040"/>
                  </a:cubicBezTo>
                  <a:lnTo>
                    <a:pt x="4852" y="1166"/>
                  </a:lnTo>
                  <a:lnTo>
                    <a:pt x="4537" y="1324"/>
                  </a:lnTo>
                  <a:cubicBezTo>
                    <a:pt x="3812" y="1733"/>
                    <a:pt x="3529" y="1891"/>
                    <a:pt x="3025" y="1954"/>
                  </a:cubicBezTo>
                  <a:cubicBezTo>
                    <a:pt x="2867" y="1607"/>
                    <a:pt x="2521" y="1324"/>
                    <a:pt x="2080" y="1324"/>
                  </a:cubicBezTo>
                  <a:cubicBezTo>
                    <a:pt x="1702" y="1324"/>
                    <a:pt x="1324" y="1576"/>
                    <a:pt x="1166" y="1922"/>
                  </a:cubicBezTo>
                  <a:cubicBezTo>
                    <a:pt x="946" y="1891"/>
                    <a:pt x="693" y="1796"/>
                    <a:pt x="504" y="1733"/>
                  </a:cubicBezTo>
                  <a:cubicBezTo>
                    <a:pt x="454" y="1708"/>
                    <a:pt x="403" y="1696"/>
                    <a:pt x="355" y="1696"/>
                  </a:cubicBezTo>
                  <a:cubicBezTo>
                    <a:pt x="223" y="1696"/>
                    <a:pt x="110" y="1784"/>
                    <a:pt x="63" y="1922"/>
                  </a:cubicBezTo>
                  <a:cubicBezTo>
                    <a:pt x="0" y="2111"/>
                    <a:pt x="63" y="2332"/>
                    <a:pt x="252" y="2363"/>
                  </a:cubicBezTo>
                  <a:cubicBezTo>
                    <a:pt x="536" y="2489"/>
                    <a:pt x="820" y="2552"/>
                    <a:pt x="1135" y="2615"/>
                  </a:cubicBezTo>
                  <a:cubicBezTo>
                    <a:pt x="1198" y="2867"/>
                    <a:pt x="1387" y="3119"/>
                    <a:pt x="1607" y="3277"/>
                  </a:cubicBezTo>
                  <a:lnTo>
                    <a:pt x="95" y="5671"/>
                  </a:lnTo>
                  <a:cubicBezTo>
                    <a:pt x="95" y="5703"/>
                    <a:pt x="63" y="5829"/>
                    <a:pt x="63" y="5860"/>
                  </a:cubicBezTo>
                  <a:lnTo>
                    <a:pt x="63" y="6238"/>
                  </a:lnTo>
                  <a:cubicBezTo>
                    <a:pt x="63" y="7372"/>
                    <a:pt x="1009" y="8318"/>
                    <a:pt x="2143" y="8318"/>
                  </a:cubicBezTo>
                  <a:cubicBezTo>
                    <a:pt x="3308" y="8318"/>
                    <a:pt x="4254" y="7372"/>
                    <a:pt x="4254" y="6238"/>
                  </a:cubicBezTo>
                  <a:lnTo>
                    <a:pt x="4254" y="5860"/>
                  </a:lnTo>
                  <a:cubicBezTo>
                    <a:pt x="4254" y="5829"/>
                    <a:pt x="4191" y="5703"/>
                    <a:pt x="4191" y="5671"/>
                  </a:cubicBezTo>
                  <a:lnTo>
                    <a:pt x="2710" y="3277"/>
                  </a:lnTo>
                  <a:cubicBezTo>
                    <a:pt x="2930" y="3151"/>
                    <a:pt x="3088" y="2930"/>
                    <a:pt x="3182" y="2647"/>
                  </a:cubicBezTo>
                  <a:cubicBezTo>
                    <a:pt x="3844" y="2521"/>
                    <a:pt x="4191" y="2363"/>
                    <a:pt x="4947" y="1922"/>
                  </a:cubicBezTo>
                  <a:lnTo>
                    <a:pt x="4947" y="8979"/>
                  </a:lnTo>
                  <a:lnTo>
                    <a:pt x="7089" y="8979"/>
                  </a:lnTo>
                  <a:lnTo>
                    <a:pt x="7089" y="1922"/>
                  </a:lnTo>
                  <a:cubicBezTo>
                    <a:pt x="7814" y="2332"/>
                    <a:pt x="8192" y="2521"/>
                    <a:pt x="8853" y="2647"/>
                  </a:cubicBezTo>
                  <a:cubicBezTo>
                    <a:pt x="8916" y="2899"/>
                    <a:pt x="9074" y="3119"/>
                    <a:pt x="9326" y="3277"/>
                  </a:cubicBezTo>
                  <a:lnTo>
                    <a:pt x="7814" y="5671"/>
                  </a:lnTo>
                  <a:cubicBezTo>
                    <a:pt x="7814" y="5703"/>
                    <a:pt x="7782" y="5829"/>
                    <a:pt x="7782" y="5860"/>
                  </a:cubicBezTo>
                  <a:lnTo>
                    <a:pt x="7782" y="6238"/>
                  </a:lnTo>
                  <a:cubicBezTo>
                    <a:pt x="7782" y="7372"/>
                    <a:pt x="8727" y="8318"/>
                    <a:pt x="9861" y="8318"/>
                  </a:cubicBezTo>
                  <a:cubicBezTo>
                    <a:pt x="11027" y="8318"/>
                    <a:pt x="11972" y="7372"/>
                    <a:pt x="11972" y="6238"/>
                  </a:cubicBezTo>
                  <a:lnTo>
                    <a:pt x="11972" y="5860"/>
                  </a:lnTo>
                  <a:cubicBezTo>
                    <a:pt x="11972" y="5829"/>
                    <a:pt x="11909" y="5703"/>
                    <a:pt x="11909" y="5671"/>
                  </a:cubicBezTo>
                  <a:lnTo>
                    <a:pt x="10429" y="3277"/>
                  </a:lnTo>
                  <a:cubicBezTo>
                    <a:pt x="10429" y="3151"/>
                    <a:pt x="10618" y="2930"/>
                    <a:pt x="10681" y="2615"/>
                  </a:cubicBezTo>
                  <a:cubicBezTo>
                    <a:pt x="10933" y="2521"/>
                    <a:pt x="11248" y="2458"/>
                    <a:pt x="11531" y="2363"/>
                  </a:cubicBezTo>
                  <a:cubicBezTo>
                    <a:pt x="11720" y="2300"/>
                    <a:pt x="11815" y="2080"/>
                    <a:pt x="11720" y="1922"/>
                  </a:cubicBezTo>
                  <a:cubicBezTo>
                    <a:pt x="11674" y="1784"/>
                    <a:pt x="11560" y="1696"/>
                    <a:pt x="11429" y="1696"/>
                  </a:cubicBezTo>
                  <a:cubicBezTo>
                    <a:pt x="11380" y="1696"/>
                    <a:pt x="11330" y="1708"/>
                    <a:pt x="11279" y="1733"/>
                  </a:cubicBezTo>
                  <a:cubicBezTo>
                    <a:pt x="11059" y="1796"/>
                    <a:pt x="10870" y="1891"/>
                    <a:pt x="10618" y="1922"/>
                  </a:cubicBezTo>
                  <a:cubicBezTo>
                    <a:pt x="10460" y="1576"/>
                    <a:pt x="10113" y="1324"/>
                    <a:pt x="9704" y="1324"/>
                  </a:cubicBezTo>
                  <a:cubicBezTo>
                    <a:pt x="9294" y="1324"/>
                    <a:pt x="8916" y="1576"/>
                    <a:pt x="8790" y="1954"/>
                  </a:cubicBezTo>
                  <a:cubicBezTo>
                    <a:pt x="8255" y="1891"/>
                    <a:pt x="8003" y="1733"/>
                    <a:pt x="7278" y="1324"/>
                  </a:cubicBezTo>
                  <a:lnTo>
                    <a:pt x="6963" y="1166"/>
                  </a:lnTo>
                  <a:lnTo>
                    <a:pt x="6963" y="1040"/>
                  </a:lnTo>
                  <a:cubicBezTo>
                    <a:pt x="6963" y="441"/>
                    <a:pt x="6490" y="0"/>
                    <a:pt x="5892" y="0"/>
                  </a:cubicBezTo>
                  <a:close/>
                </a:path>
              </a:pathLst>
            </a:custGeom>
            <a:grpFill/>
            <a:ln>
              <a:noFill/>
            </a:ln>
          </p:spPr>
          <p:txBody>
            <a:bodyPr spcFirstLastPara="1" wrap="square" lIns="91417" tIns="91417" rIns="91417" bIns="91417" anchor="ctr" anchorCtr="0">
              <a:noAutofit/>
            </a:bodyPr>
            <a:lstStyle/>
            <a:p>
              <a:endParaRPr sz="1400"/>
            </a:p>
          </p:txBody>
        </p:sp>
        <p:sp>
          <p:nvSpPr>
            <p:cNvPr id="347" name="Google Shape;10242;p74"/>
            <p:cNvSpPr/>
            <p:nvPr/>
          </p:nvSpPr>
          <p:spPr>
            <a:xfrm>
              <a:off x="4332975" y="3851850"/>
              <a:ext cx="157550" cy="34700"/>
            </a:xfrm>
            <a:custGeom>
              <a:rect l="l" t="t" r="r" b="b"/>
              <a:pathLst>
                <a:path w="6302" h="1388" extrusionOk="0">
                  <a:moveTo>
                    <a:pt x="693" y="1"/>
                  </a:moveTo>
                  <a:cubicBezTo>
                    <a:pt x="315" y="1"/>
                    <a:pt x="0" y="316"/>
                    <a:pt x="0" y="694"/>
                  </a:cubicBezTo>
                  <a:lnTo>
                    <a:pt x="0" y="1040"/>
                  </a:lnTo>
                  <a:cubicBezTo>
                    <a:pt x="0" y="1261"/>
                    <a:pt x="158" y="1387"/>
                    <a:pt x="347" y="1387"/>
                  </a:cubicBezTo>
                  <a:lnTo>
                    <a:pt x="5955" y="1387"/>
                  </a:lnTo>
                  <a:cubicBezTo>
                    <a:pt x="6144" y="1356"/>
                    <a:pt x="6301" y="1198"/>
                    <a:pt x="6301" y="1040"/>
                  </a:cubicBezTo>
                  <a:lnTo>
                    <a:pt x="6301" y="694"/>
                  </a:lnTo>
                  <a:cubicBezTo>
                    <a:pt x="6301" y="316"/>
                    <a:pt x="5986" y="1"/>
                    <a:pt x="5577" y="1"/>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408" name="Google Shape;10303;p74"/>
          <p:cNvGrpSpPr/>
          <p:nvPr/>
        </p:nvGrpSpPr>
        <p:grpSpPr>
          <a:xfrm>
            <a:off x="7899297" y="4585529"/>
            <a:ext cx="480265" cy="511815"/>
            <a:chOff x="4628325" y="3599825"/>
            <a:chExt cx="295400" cy="295375"/>
          </a:xfrm>
          <a:solidFill>
            <a:srgbClr val="00677F"/>
          </a:solidFill>
        </p:grpSpPr>
        <p:sp>
          <p:nvSpPr>
            <p:cNvPr id="409" name="Google Shape;10304;p74"/>
            <p:cNvSpPr/>
            <p:nvPr/>
          </p:nvSpPr>
          <p:spPr>
            <a:xfrm>
              <a:off x="4679525" y="3686450"/>
              <a:ext cx="17350" cy="86675"/>
            </a:xfrm>
            <a:custGeom>
              <a:rect l="l" t="t" r="r" b="b"/>
              <a:pathLst>
                <a:path w="694" h="3467" extrusionOk="0">
                  <a:moveTo>
                    <a:pt x="0" y="1"/>
                  </a:moveTo>
                  <a:lnTo>
                    <a:pt x="0" y="3466"/>
                  </a:lnTo>
                  <a:lnTo>
                    <a:pt x="694" y="3466"/>
                  </a:lnTo>
                  <a:lnTo>
                    <a:pt x="694" y="1"/>
                  </a:lnTo>
                  <a:close/>
                </a:path>
              </a:pathLst>
            </a:custGeom>
            <a:grpFill/>
            <a:ln>
              <a:noFill/>
            </a:ln>
          </p:spPr>
          <p:txBody>
            <a:bodyPr spcFirstLastPara="1" wrap="square" lIns="91417" tIns="91417" rIns="91417" bIns="91417" anchor="ctr" anchorCtr="0">
              <a:noAutofit/>
            </a:bodyPr>
            <a:lstStyle/>
            <a:p>
              <a:endParaRPr sz="1400"/>
            </a:p>
          </p:txBody>
        </p:sp>
        <p:sp>
          <p:nvSpPr>
            <p:cNvPr id="410" name="Google Shape;10305;p74"/>
            <p:cNvSpPr/>
            <p:nvPr/>
          </p:nvSpPr>
          <p:spPr>
            <a:xfrm>
              <a:off x="4854375" y="3686450"/>
              <a:ext cx="18150" cy="86675"/>
            </a:xfrm>
            <a:custGeom>
              <a:rect l="l" t="t" r="r" b="b"/>
              <a:pathLst>
                <a:path w="726" h="3467" extrusionOk="0">
                  <a:moveTo>
                    <a:pt x="1" y="1"/>
                  </a:moveTo>
                  <a:lnTo>
                    <a:pt x="1" y="3466"/>
                  </a:lnTo>
                  <a:lnTo>
                    <a:pt x="725" y="3466"/>
                  </a:lnTo>
                  <a:lnTo>
                    <a:pt x="725" y="1"/>
                  </a:lnTo>
                  <a:close/>
                </a:path>
              </a:pathLst>
            </a:custGeom>
            <a:grpFill/>
            <a:ln>
              <a:noFill/>
            </a:ln>
          </p:spPr>
          <p:txBody>
            <a:bodyPr spcFirstLastPara="1" wrap="square" lIns="91417" tIns="91417" rIns="91417" bIns="91417" anchor="ctr" anchorCtr="0">
              <a:noAutofit/>
            </a:bodyPr>
            <a:lstStyle/>
            <a:p>
              <a:endParaRPr sz="1400"/>
            </a:p>
          </p:txBody>
        </p:sp>
        <p:sp>
          <p:nvSpPr>
            <p:cNvPr id="411" name="Google Shape;10306;p74"/>
            <p:cNvSpPr/>
            <p:nvPr/>
          </p:nvSpPr>
          <p:spPr>
            <a:xfrm>
              <a:off x="4679525" y="3790425"/>
              <a:ext cx="17350" cy="104000"/>
            </a:xfrm>
            <a:custGeom>
              <a:rect l="l" t="t" r="r" b="b"/>
              <a:pathLst>
                <a:path w="694" h="4160" extrusionOk="0">
                  <a:moveTo>
                    <a:pt x="0" y="0"/>
                  </a:moveTo>
                  <a:lnTo>
                    <a:pt x="0" y="4159"/>
                  </a:lnTo>
                  <a:lnTo>
                    <a:pt x="694" y="4159"/>
                  </a:lnTo>
                  <a:lnTo>
                    <a:pt x="694" y="0"/>
                  </a:lnTo>
                  <a:close/>
                </a:path>
              </a:pathLst>
            </a:custGeom>
            <a:grpFill/>
            <a:ln>
              <a:noFill/>
            </a:ln>
          </p:spPr>
          <p:txBody>
            <a:bodyPr spcFirstLastPara="1" wrap="square" lIns="91417" tIns="91417" rIns="91417" bIns="91417" anchor="ctr" anchorCtr="0">
              <a:noAutofit/>
            </a:bodyPr>
            <a:lstStyle/>
            <a:p>
              <a:endParaRPr sz="1400"/>
            </a:p>
          </p:txBody>
        </p:sp>
        <p:sp>
          <p:nvSpPr>
            <p:cNvPr id="412" name="Google Shape;10307;p74"/>
            <p:cNvSpPr/>
            <p:nvPr/>
          </p:nvSpPr>
          <p:spPr>
            <a:xfrm>
              <a:off x="4854375" y="3790425"/>
              <a:ext cx="18150" cy="104000"/>
            </a:xfrm>
            <a:custGeom>
              <a:rect l="l" t="t" r="r" b="b"/>
              <a:pathLst>
                <a:path w="726" h="4160" extrusionOk="0">
                  <a:moveTo>
                    <a:pt x="1" y="0"/>
                  </a:moveTo>
                  <a:lnTo>
                    <a:pt x="1" y="4159"/>
                  </a:lnTo>
                  <a:lnTo>
                    <a:pt x="725" y="4159"/>
                  </a:lnTo>
                  <a:lnTo>
                    <a:pt x="725" y="0"/>
                  </a:lnTo>
                  <a:close/>
                </a:path>
              </a:pathLst>
            </a:custGeom>
            <a:grpFill/>
            <a:ln>
              <a:noFill/>
            </a:ln>
          </p:spPr>
          <p:txBody>
            <a:bodyPr spcFirstLastPara="1" wrap="square" lIns="91417" tIns="91417" rIns="91417" bIns="91417" anchor="ctr" anchorCtr="0">
              <a:noAutofit/>
            </a:bodyPr>
            <a:lstStyle/>
            <a:p>
              <a:endParaRPr sz="1400"/>
            </a:p>
          </p:txBody>
        </p:sp>
        <p:sp>
          <p:nvSpPr>
            <p:cNvPr id="413" name="Google Shape;10308;p74"/>
            <p:cNvSpPr/>
            <p:nvPr/>
          </p:nvSpPr>
          <p:spPr>
            <a:xfrm>
              <a:off x="4628325" y="3686450"/>
              <a:ext cx="34675" cy="86675"/>
            </a:xfrm>
            <a:custGeom>
              <a:rect l="l" t="t" r="r" b="b"/>
              <a:pathLst>
                <a:path w="1387" h="3467" extrusionOk="0">
                  <a:moveTo>
                    <a:pt x="1009" y="1"/>
                  </a:moveTo>
                  <a:cubicBezTo>
                    <a:pt x="442" y="1"/>
                    <a:pt x="1" y="442"/>
                    <a:pt x="1" y="1009"/>
                  </a:cubicBezTo>
                  <a:lnTo>
                    <a:pt x="1" y="2049"/>
                  </a:lnTo>
                  <a:cubicBezTo>
                    <a:pt x="1" y="2427"/>
                    <a:pt x="158" y="2773"/>
                    <a:pt x="442" y="3025"/>
                  </a:cubicBezTo>
                  <a:cubicBezTo>
                    <a:pt x="662" y="3340"/>
                    <a:pt x="1009" y="3466"/>
                    <a:pt x="1387" y="3466"/>
                  </a:cubicBezTo>
                  <a:lnTo>
                    <a:pt x="1387" y="1"/>
                  </a:lnTo>
                  <a:close/>
                </a:path>
              </a:pathLst>
            </a:custGeom>
            <a:grpFill/>
            <a:ln>
              <a:noFill/>
            </a:ln>
          </p:spPr>
          <p:txBody>
            <a:bodyPr spcFirstLastPara="1" wrap="square" lIns="91417" tIns="91417" rIns="91417" bIns="91417" anchor="ctr" anchorCtr="0">
              <a:noAutofit/>
            </a:bodyPr>
            <a:lstStyle/>
            <a:p>
              <a:endParaRPr sz="1400"/>
            </a:p>
          </p:txBody>
        </p:sp>
        <p:sp>
          <p:nvSpPr>
            <p:cNvPr id="414" name="Google Shape;10309;p74"/>
            <p:cNvSpPr/>
            <p:nvPr/>
          </p:nvSpPr>
          <p:spPr>
            <a:xfrm>
              <a:off x="4714975" y="3686450"/>
              <a:ext cx="122100" cy="86675"/>
            </a:xfrm>
            <a:custGeom>
              <a:rect l="l" t="t" r="r" b="b"/>
              <a:pathLst>
                <a:path w="4884" h="3467" extrusionOk="0">
                  <a:moveTo>
                    <a:pt x="0" y="1"/>
                  </a:moveTo>
                  <a:lnTo>
                    <a:pt x="0" y="3466"/>
                  </a:lnTo>
                  <a:lnTo>
                    <a:pt x="4883" y="3466"/>
                  </a:lnTo>
                  <a:lnTo>
                    <a:pt x="4883" y="1"/>
                  </a:lnTo>
                  <a:close/>
                </a:path>
              </a:pathLst>
            </a:custGeom>
            <a:grpFill/>
            <a:ln>
              <a:noFill/>
            </a:ln>
          </p:spPr>
          <p:txBody>
            <a:bodyPr spcFirstLastPara="1" wrap="square" lIns="91417" tIns="91417" rIns="91417" bIns="91417" anchor="ctr" anchorCtr="0">
              <a:noAutofit/>
            </a:bodyPr>
            <a:lstStyle/>
            <a:p>
              <a:endParaRPr sz="1400"/>
            </a:p>
          </p:txBody>
        </p:sp>
        <p:sp>
          <p:nvSpPr>
            <p:cNvPr id="415" name="Google Shape;10310;p74"/>
            <p:cNvSpPr/>
            <p:nvPr/>
          </p:nvSpPr>
          <p:spPr>
            <a:xfrm>
              <a:off x="4889025" y="3777825"/>
              <a:ext cx="34700" cy="117375"/>
            </a:xfrm>
            <a:custGeom>
              <a:rect l="l" t="t" r="r" b="b"/>
              <a:pathLst>
                <a:path w="1388" h="4695" extrusionOk="0">
                  <a:moveTo>
                    <a:pt x="1387" y="0"/>
                  </a:moveTo>
                  <a:cubicBezTo>
                    <a:pt x="977" y="315"/>
                    <a:pt x="505" y="504"/>
                    <a:pt x="1" y="504"/>
                  </a:cubicBezTo>
                  <a:lnTo>
                    <a:pt x="1" y="4695"/>
                  </a:lnTo>
                  <a:lnTo>
                    <a:pt x="347" y="4695"/>
                  </a:lnTo>
                  <a:cubicBezTo>
                    <a:pt x="946" y="4695"/>
                    <a:pt x="1387" y="4222"/>
                    <a:pt x="1387" y="3655"/>
                  </a:cubicBezTo>
                  <a:lnTo>
                    <a:pt x="1387" y="0"/>
                  </a:lnTo>
                  <a:close/>
                </a:path>
              </a:pathLst>
            </a:custGeom>
            <a:grpFill/>
            <a:ln>
              <a:noFill/>
            </a:ln>
          </p:spPr>
          <p:txBody>
            <a:bodyPr spcFirstLastPara="1" wrap="square" lIns="91417" tIns="91417" rIns="91417" bIns="91417" anchor="ctr" anchorCtr="0">
              <a:noAutofit/>
            </a:bodyPr>
            <a:lstStyle/>
            <a:p>
              <a:endParaRPr sz="1400"/>
            </a:p>
          </p:txBody>
        </p:sp>
        <p:sp>
          <p:nvSpPr>
            <p:cNvPr id="416" name="Google Shape;10311;p74"/>
            <p:cNvSpPr/>
            <p:nvPr/>
          </p:nvSpPr>
          <p:spPr>
            <a:xfrm>
              <a:off x="4628325" y="3777825"/>
              <a:ext cx="34675" cy="116600"/>
            </a:xfrm>
            <a:custGeom>
              <a:rect l="l" t="t" r="r" b="b"/>
              <a:pathLst>
                <a:path w="1387" h="4664" extrusionOk="0">
                  <a:moveTo>
                    <a:pt x="1" y="0"/>
                  </a:moveTo>
                  <a:lnTo>
                    <a:pt x="1" y="3655"/>
                  </a:lnTo>
                  <a:cubicBezTo>
                    <a:pt x="1" y="4222"/>
                    <a:pt x="442" y="4663"/>
                    <a:pt x="1009" y="4663"/>
                  </a:cubicBezTo>
                  <a:lnTo>
                    <a:pt x="1387" y="4663"/>
                  </a:lnTo>
                  <a:lnTo>
                    <a:pt x="1387" y="504"/>
                  </a:lnTo>
                  <a:cubicBezTo>
                    <a:pt x="851" y="504"/>
                    <a:pt x="379" y="315"/>
                    <a:pt x="1" y="0"/>
                  </a:cubicBezTo>
                  <a:close/>
                </a:path>
              </a:pathLst>
            </a:custGeom>
            <a:grpFill/>
            <a:ln>
              <a:noFill/>
            </a:ln>
          </p:spPr>
          <p:txBody>
            <a:bodyPr spcFirstLastPara="1" wrap="square" lIns="91417" tIns="91417" rIns="91417" bIns="91417" anchor="ctr" anchorCtr="0">
              <a:noAutofit/>
            </a:bodyPr>
            <a:lstStyle/>
            <a:p>
              <a:endParaRPr sz="1400"/>
            </a:p>
          </p:txBody>
        </p:sp>
        <p:sp>
          <p:nvSpPr>
            <p:cNvPr id="417" name="Google Shape;10312;p74"/>
            <p:cNvSpPr/>
            <p:nvPr/>
          </p:nvSpPr>
          <p:spPr>
            <a:xfrm>
              <a:off x="4766950" y="3790425"/>
              <a:ext cx="17350" cy="18150"/>
            </a:xfrm>
            <a:custGeom>
              <a:rect l="l" t="t" r="r" b="b"/>
              <a:pathLst>
                <a:path w="694" h="726" extrusionOk="0">
                  <a:moveTo>
                    <a:pt x="1" y="0"/>
                  </a:moveTo>
                  <a:lnTo>
                    <a:pt x="1" y="347"/>
                  </a:lnTo>
                  <a:cubicBezTo>
                    <a:pt x="1" y="568"/>
                    <a:pt x="158" y="725"/>
                    <a:pt x="347" y="725"/>
                  </a:cubicBezTo>
                  <a:cubicBezTo>
                    <a:pt x="568" y="725"/>
                    <a:pt x="694" y="568"/>
                    <a:pt x="694" y="347"/>
                  </a:cubicBezTo>
                  <a:lnTo>
                    <a:pt x="694" y="0"/>
                  </a:lnTo>
                  <a:close/>
                </a:path>
              </a:pathLst>
            </a:custGeom>
            <a:grpFill/>
            <a:ln>
              <a:noFill/>
            </a:ln>
          </p:spPr>
          <p:txBody>
            <a:bodyPr spcFirstLastPara="1" wrap="square" lIns="91417" tIns="91417" rIns="91417" bIns="91417" anchor="ctr" anchorCtr="0">
              <a:noAutofit/>
            </a:bodyPr>
            <a:lstStyle/>
            <a:p>
              <a:endParaRPr sz="1400"/>
            </a:p>
          </p:txBody>
        </p:sp>
        <p:sp>
          <p:nvSpPr>
            <p:cNvPr id="418" name="Google Shape;10313;p74"/>
            <p:cNvSpPr/>
            <p:nvPr/>
          </p:nvSpPr>
          <p:spPr>
            <a:xfrm>
              <a:off x="4889025" y="3686450"/>
              <a:ext cx="34700" cy="86675"/>
            </a:xfrm>
            <a:custGeom>
              <a:rect l="l" t="t" r="r" b="b"/>
              <a:pathLst>
                <a:path w="1388" h="3467" extrusionOk="0">
                  <a:moveTo>
                    <a:pt x="1" y="1"/>
                  </a:moveTo>
                  <a:lnTo>
                    <a:pt x="1" y="3466"/>
                  </a:lnTo>
                  <a:cubicBezTo>
                    <a:pt x="347" y="3466"/>
                    <a:pt x="662" y="3340"/>
                    <a:pt x="946" y="3088"/>
                  </a:cubicBezTo>
                  <a:cubicBezTo>
                    <a:pt x="1229" y="2836"/>
                    <a:pt x="1387" y="2458"/>
                    <a:pt x="1387" y="2080"/>
                  </a:cubicBezTo>
                  <a:lnTo>
                    <a:pt x="1387" y="1040"/>
                  </a:lnTo>
                  <a:cubicBezTo>
                    <a:pt x="1387" y="442"/>
                    <a:pt x="914" y="1"/>
                    <a:pt x="347" y="1"/>
                  </a:cubicBezTo>
                  <a:close/>
                </a:path>
              </a:pathLst>
            </a:custGeom>
            <a:grpFill/>
            <a:ln>
              <a:noFill/>
            </a:ln>
          </p:spPr>
          <p:txBody>
            <a:bodyPr spcFirstLastPara="1" wrap="square" lIns="91417" tIns="91417" rIns="91417" bIns="91417" anchor="ctr" anchorCtr="0">
              <a:noAutofit/>
            </a:bodyPr>
            <a:lstStyle/>
            <a:p>
              <a:endParaRPr sz="1400"/>
            </a:p>
          </p:txBody>
        </p:sp>
        <p:sp>
          <p:nvSpPr>
            <p:cNvPr id="419" name="Google Shape;10314;p74"/>
            <p:cNvSpPr/>
            <p:nvPr/>
          </p:nvSpPr>
          <p:spPr>
            <a:xfrm>
              <a:off x="4714975" y="3790425"/>
              <a:ext cx="122100" cy="104000"/>
            </a:xfrm>
            <a:custGeom>
              <a:rect l="l" t="t" r="r" b="b"/>
              <a:pathLst>
                <a:path w="4884" h="4160" extrusionOk="0">
                  <a:moveTo>
                    <a:pt x="0" y="0"/>
                  </a:moveTo>
                  <a:lnTo>
                    <a:pt x="0" y="4159"/>
                  </a:lnTo>
                  <a:lnTo>
                    <a:pt x="4883" y="4159"/>
                  </a:lnTo>
                  <a:lnTo>
                    <a:pt x="4883" y="0"/>
                  </a:lnTo>
                  <a:lnTo>
                    <a:pt x="3466" y="0"/>
                  </a:lnTo>
                  <a:lnTo>
                    <a:pt x="3466" y="347"/>
                  </a:lnTo>
                  <a:cubicBezTo>
                    <a:pt x="3466" y="946"/>
                    <a:pt x="2993" y="1387"/>
                    <a:pt x="2426" y="1387"/>
                  </a:cubicBezTo>
                  <a:cubicBezTo>
                    <a:pt x="1827" y="1387"/>
                    <a:pt x="1418" y="914"/>
                    <a:pt x="1418" y="347"/>
                  </a:cubicBezTo>
                  <a:lnTo>
                    <a:pt x="1418" y="0"/>
                  </a:lnTo>
                  <a:close/>
                </a:path>
              </a:pathLst>
            </a:custGeom>
            <a:grpFill/>
            <a:ln>
              <a:noFill/>
            </a:ln>
          </p:spPr>
          <p:txBody>
            <a:bodyPr spcFirstLastPara="1" wrap="square" lIns="91417" tIns="91417" rIns="91417" bIns="91417" anchor="ctr" anchorCtr="0">
              <a:noAutofit/>
            </a:bodyPr>
            <a:lstStyle/>
            <a:p>
              <a:endParaRPr sz="1400"/>
            </a:p>
          </p:txBody>
        </p:sp>
        <p:sp>
          <p:nvSpPr>
            <p:cNvPr id="420" name="Google Shape;10315;p74"/>
            <p:cNvSpPr/>
            <p:nvPr/>
          </p:nvSpPr>
          <p:spPr>
            <a:xfrm>
              <a:off x="4714175" y="3599825"/>
              <a:ext cx="122100" cy="69325"/>
            </a:xfrm>
            <a:custGeom>
              <a:rect l="l" t="t" r="r" b="b"/>
              <a:pathLst>
                <a:path w="4884" h="2773" extrusionOk="0">
                  <a:moveTo>
                    <a:pt x="2427" y="0"/>
                  </a:moveTo>
                  <a:cubicBezTo>
                    <a:pt x="1103" y="0"/>
                    <a:pt x="1" y="1103"/>
                    <a:pt x="1" y="2426"/>
                  </a:cubicBezTo>
                  <a:lnTo>
                    <a:pt x="1" y="2773"/>
                  </a:lnTo>
                  <a:lnTo>
                    <a:pt x="1355" y="2773"/>
                  </a:lnTo>
                  <a:lnTo>
                    <a:pt x="1355" y="2426"/>
                  </a:lnTo>
                  <a:cubicBezTo>
                    <a:pt x="1355" y="1828"/>
                    <a:pt x="1828" y="1418"/>
                    <a:pt x="2395" y="1418"/>
                  </a:cubicBezTo>
                  <a:cubicBezTo>
                    <a:pt x="2994" y="1418"/>
                    <a:pt x="3403" y="1891"/>
                    <a:pt x="3403" y="2426"/>
                  </a:cubicBezTo>
                  <a:lnTo>
                    <a:pt x="3403" y="2773"/>
                  </a:lnTo>
                  <a:lnTo>
                    <a:pt x="4884" y="2773"/>
                  </a:lnTo>
                  <a:lnTo>
                    <a:pt x="4884" y="2426"/>
                  </a:lnTo>
                  <a:cubicBezTo>
                    <a:pt x="4884" y="1103"/>
                    <a:pt x="3781" y="0"/>
                    <a:pt x="2427" y="0"/>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438" name="Google Shape;10341;p74"/>
          <p:cNvGrpSpPr/>
          <p:nvPr/>
        </p:nvGrpSpPr>
        <p:grpSpPr>
          <a:xfrm>
            <a:off x="11369809" y="3665339"/>
            <a:ext cx="345979" cy="483429"/>
            <a:chOff x="3167275" y="3227275"/>
            <a:chExt cx="225300" cy="295375"/>
          </a:xfrm>
          <a:solidFill>
            <a:srgbClr val="00677F"/>
          </a:solidFill>
        </p:grpSpPr>
        <p:sp>
          <p:nvSpPr>
            <p:cNvPr id="439" name="Google Shape;10342;p74"/>
            <p:cNvSpPr/>
            <p:nvPr/>
          </p:nvSpPr>
          <p:spPr>
            <a:xfrm>
              <a:off x="3167275" y="3227275"/>
              <a:ext cx="225300" cy="207950"/>
            </a:xfrm>
            <a:custGeom>
              <a:rect l="l" t="t" r="r" b="b"/>
              <a:pathLst>
                <a:path w="9012" h="8318" extrusionOk="0">
                  <a:moveTo>
                    <a:pt x="4538" y="1"/>
                  </a:moveTo>
                  <a:cubicBezTo>
                    <a:pt x="2112" y="1"/>
                    <a:pt x="1" y="1985"/>
                    <a:pt x="32" y="4537"/>
                  </a:cubicBezTo>
                  <a:cubicBezTo>
                    <a:pt x="32" y="5860"/>
                    <a:pt x="631" y="7184"/>
                    <a:pt x="1797" y="8066"/>
                  </a:cubicBezTo>
                  <a:cubicBezTo>
                    <a:pt x="1923" y="8192"/>
                    <a:pt x="2017" y="8223"/>
                    <a:pt x="2049" y="8318"/>
                  </a:cubicBezTo>
                  <a:lnTo>
                    <a:pt x="4160" y="8318"/>
                  </a:lnTo>
                  <a:lnTo>
                    <a:pt x="4160" y="6900"/>
                  </a:lnTo>
                  <a:lnTo>
                    <a:pt x="2427" y="6900"/>
                  </a:lnTo>
                  <a:cubicBezTo>
                    <a:pt x="2238" y="6900"/>
                    <a:pt x="2080" y="6743"/>
                    <a:pt x="2080" y="6554"/>
                  </a:cubicBezTo>
                  <a:lnTo>
                    <a:pt x="2080" y="5829"/>
                  </a:lnTo>
                  <a:cubicBezTo>
                    <a:pt x="2080" y="4852"/>
                    <a:pt x="2679" y="4033"/>
                    <a:pt x="3498" y="3624"/>
                  </a:cubicBezTo>
                  <a:cubicBezTo>
                    <a:pt x="3277" y="3403"/>
                    <a:pt x="3151" y="3088"/>
                    <a:pt x="3151" y="2678"/>
                  </a:cubicBezTo>
                  <a:cubicBezTo>
                    <a:pt x="3151" y="1922"/>
                    <a:pt x="3782" y="1292"/>
                    <a:pt x="4538" y="1292"/>
                  </a:cubicBezTo>
                  <a:cubicBezTo>
                    <a:pt x="5262" y="1292"/>
                    <a:pt x="5892" y="1922"/>
                    <a:pt x="5892" y="2678"/>
                  </a:cubicBezTo>
                  <a:cubicBezTo>
                    <a:pt x="5892" y="3025"/>
                    <a:pt x="5735" y="3340"/>
                    <a:pt x="5546" y="3624"/>
                  </a:cubicBezTo>
                  <a:cubicBezTo>
                    <a:pt x="6365" y="4033"/>
                    <a:pt x="6964" y="4852"/>
                    <a:pt x="6964" y="5829"/>
                  </a:cubicBezTo>
                  <a:lnTo>
                    <a:pt x="6964" y="6554"/>
                  </a:lnTo>
                  <a:cubicBezTo>
                    <a:pt x="6964" y="6743"/>
                    <a:pt x="6806" y="6900"/>
                    <a:pt x="6617" y="6900"/>
                  </a:cubicBezTo>
                  <a:lnTo>
                    <a:pt x="4884" y="6900"/>
                  </a:lnTo>
                  <a:lnTo>
                    <a:pt x="4884" y="8318"/>
                  </a:lnTo>
                  <a:lnTo>
                    <a:pt x="6995" y="8318"/>
                  </a:lnTo>
                  <a:cubicBezTo>
                    <a:pt x="7027" y="8286"/>
                    <a:pt x="7121" y="8192"/>
                    <a:pt x="7247" y="8129"/>
                  </a:cubicBezTo>
                  <a:cubicBezTo>
                    <a:pt x="8413" y="7184"/>
                    <a:pt x="9011" y="5829"/>
                    <a:pt x="9011" y="4506"/>
                  </a:cubicBezTo>
                  <a:cubicBezTo>
                    <a:pt x="9011" y="2017"/>
                    <a:pt x="6995" y="1"/>
                    <a:pt x="4538" y="1"/>
                  </a:cubicBezTo>
                  <a:close/>
                </a:path>
              </a:pathLst>
            </a:custGeom>
            <a:grpFill/>
            <a:ln>
              <a:noFill/>
            </a:ln>
          </p:spPr>
          <p:txBody>
            <a:bodyPr spcFirstLastPara="1" wrap="square" lIns="91417" tIns="91417" rIns="91417" bIns="91417" anchor="ctr" anchorCtr="0">
              <a:noAutofit/>
            </a:bodyPr>
            <a:lstStyle/>
            <a:p>
              <a:endParaRPr sz="1400"/>
            </a:p>
          </p:txBody>
        </p:sp>
        <p:sp>
          <p:nvSpPr>
            <p:cNvPr id="440" name="Google Shape;10343;p74"/>
            <p:cNvSpPr/>
            <p:nvPr/>
          </p:nvSpPr>
          <p:spPr>
            <a:xfrm>
              <a:off x="3262600" y="3278475"/>
              <a:ext cx="35450" cy="35475"/>
            </a:xfrm>
            <a:custGeom>
              <a:rect l="l" t="t" r="r" b="b"/>
              <a:pathLst>
                <a:path w="1418" h="1419" extrusionOk="0">
                  <a:moveTo>
                    <a:pt x="725" y="0"/>
                  </a:moveTo>
                  <a:cubicBezTo>
                    <a:pt x="315" y="0"/>
                    <a:pt x="0" y="315"/>
                    <a:pt x="0" y="725"/>
                  </a:cubicBezTo>
                  <a:cubicBezTo>
                    <a:pt x="0" y="1103"/>
                    <a:pt x="315" y="1418"/>
                    <a:pt x="725" y="1418"/>
                  </a:cubicBezTo>
                  <a:cubicBezTo>
                    <a:pt x="1103" y="1418"/>
                    <a:pt x="1418" y="1103"/>
                    <a:pt x="1418" y="725"/>
                  </a:cubicBezTo>
                  <a:cubicBezTo>
                    <a:pt x="1418" y="315"/>
                    <a:pt x="1103" y="0"/>
                    <a:pt x="725" y="0"/>
                  </a:cubicBezTo>
                  <a:close/>
                </a:path>
              </a:pathLst>
            </a:custGeom>
            <a:grpFill/>
            <a:ln>
              <a:noFill/>
            </a:ln>
          </p:spPr>
          <p:txBody>
            <a:bodyPr spcFirstLastPara="1" wrap="square" lIns="91417" tIns="91417" rIns="91417" bIns="91417" anchor="ctr" anchorCtr="0">
              <a:noAutofit/>
            </a:bodyPr>
            <a:lstStyle/>
            <a:p>
              <a:endParaRPr sz="1400"/>
            </a:p>
          </p:txBody>
        </p:sp>
        <p:sp>
          <p:nvSpPr>
            <p:cNvPr id="441" name="Google Shape;10344;p74"/>
            <p:cNvSpPr/>
            <p:nvPr/>
          </p:nvSpPr>
          <p:spPr>
            <a:xfrm>
              <a:off x="3220050" y="3452525"/>
              <a:ext cx="121325" cy="35475"/>
            </a:xfrm>
            <a:custGeom>
              <a:rect l="l" t="t" r="r" b="b"/>
              <a:pathLst>
                <a:path w="4853" h="1419" extrusionOk="0">
                  <a:moveTo>
                    <a:pt x="1" y="1"/>
                  </a:moveTo>
                  <a:lnTo>
                    <a:pt x="1" y="347"/>
                  </a:lnTo>
                  <a:cubicBezTo>
                    <a:pt x="1" y="946"/>
                    <a:pt x="473" y="1419"/>
                    <a:pt x="1040" y="1419"/>
                  </a:cubicBezTo>
                  <a:lnTo>
                    <a:pt x="3781" y="1419"/>
                  </a:lnTo>
                  <a:cubicBezTo>
                    <a:pt x="4380" y="1419"/>
                    <a:pt x="4853" y="946"/>
                    <a:pt x="4853" y="347"/>
                  </a:cubicBezTo>
                  <a:lnTo>
                    <a:pt x="4853" y="1"/>
                  </a:lnTo>
                  <a:close/>
                </a:path>
              </a:pathLst>
            </a:custGeom>
            <a:grpFill/>
            <a:ln>
              <a:noFill/>
            </a:ln>
          </p:spPr>
          <p:txBody>
            <a:bodyPr spcFirstLastPara="1" wrap="square" lIns="91417" tIns="91417" rIns="91417" bIns="91417" anchor="ctr" anchorCtr="0">
              <a:noAutofit/>
            </a:bodyPr>
            <a:lstStyle/>
            <a:p>
              <a:endParaRPr sz="1400"/>
            </a:p>
          </p:txBody>
        </p:sp>
        <p:sp>
          <p:nvSpPr>
            <p:cNvPr id="442" name="Google Shape;10345;p74"/>
            <p:cNvSpPr/>
            <p:nvPr/>
          </p:nvSpPr>
          <p:spPr>
            <a:xfrm>
              <a:off x="3237375" y="3332025"/>
              <a:ext cx="86675" cy="52000"/>
            </a:xfrm>
            <a:custGeom>
              <a:rect l="l" t="t" r="r" b="b"/>
              <a:pathLst>
                <a:path w="3467" h="2080" extrusionOk="0">
                  <a:moveTo>
                    <a:pt x="1734" y="1"/>
                  </a:moveTo>
                  <a:cubicBezTo>
                    <a:pt x="789" y="1"/>
                    <a:pt x="1" y="725"/>
                    <a:pt x="1" y="1733"/>
                  </a:cubicBezTo>
                  <a:lnTo>
                    <a:pt x="1" y="2080"/>
                  </a:lnTo>
                  <a:lnTo>
                    <a:pt x="3466" y="2080"/>
                  </a:lnTo>
                  <a:lnTo>
                    <a:pt x="3466" y="1733"/>
                  </a:lnTo>
                  <a:cubicBezTo>
                    <a:pt x="3466" y="788"/>
                    <a:pt x="2679" y="1"/>
                    <a:pt x="1734" y="1"/>
                  </a:cubicBezTo>
                  <a:close/>
                </a:path>
              </a:pathLst>
            </a:custGeom>
            <a:grpFill/>
            <a:ln>
              <a:noFill/>
            </a:ln>
          </p:spPr>
          <p:txBody>
            <a:bodyPr spcFirstLastPara="1" wrap="square" lIns="91417" tIns="91417" rIns="91417" bIns="91417" anchor="ctr" anchorCtr="0">
              <a:noAutofit/>
            </a:bodyPr>
            <a:lstStyle/>
            <a:p>
              <a:endParaRPr sz="1400"/>
            </a:p>
          </p:txBody>
        </p:sp>
        <p:sp>
          <p:nvSpPr>
            <p:cNvPr id="443" name="Google Shape;10346;p74"/>
            <p:cNvSpPr/>
            <p:nvPr/>
          </p:nvSpPr>
          <p:spPr>
            <a:xfrm>
              <a:off x="3237375" y="3505300"/>
              <a:ext cx="87450" cy="17350"/>
            </a:xfrm>
            <a:custGeom>
              <a:rect l="l" t="t" r="r" b="b"/>
              <a:pathLst>
                <a:path w="3498" h="694" extrusionOk="0">
                  <a:moveTo>
                    <a:pt x="32" y="1"/>
                  </a:moveTo>
                  <a:cubicBezTo>
                    <a:pt x="1" y="379"/>
                    <a:pt x="284" y="694"/>
                    <a:pt x="694" y="694"/>
                  </a:cubicBezTo>
                  <a:lnTo>
                    <a:pt x="2773" y="694"/>
                  </a:lnTo>
                  <a:cubicBezTo>
                    <a:pt x="3183" y="694"/>
                    <a:pt x="3498" y="379"/>
                    <a:pt x="3498" y="1"/>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451" name="Google Shape;10359;p74"/>
          <p:cNvGrpSpPr/>
          <p:nvPr/>
        </p:nvGrpSpPr>
        <p:grpSpPr>
          <a:xfrm>
            <a:off x="8779435" y="4641656"/>
            <a:ext cx="481525" cy="451774"/>
            <a:chOff x="4991425" y="3617150"/>
            <a:chExt cx="296175" cy="260725"/>
          </a:xfrm>
          <a:solidFill>
            <a:srgbClr val="00677F"/>
          </a:solidFill>
        </p:grpSpPr>
        <p:sp>
          <p:nvSpPr>
            <p:cNvPr id="452" name="Google Shape;10360;p74"/>
            <p:cNvSpPr/>
            <p:nvPr/>
          </p:nvSpPr>
          <p:spPr>
            <a:xfrm>
              <a:off x="5069400" y="3738450"/>
              <a:ext cx="139425" cy="139425"/>
            </a:xfrm>
            <a:custGeom>
              <a:rect l="l" t="t" r="r" b="b"/>
              <a:pathLst>
                <a:path w="5577" h="5577" extrusionOk="0">
                  <a:moveTo>
                    <a:pt x="2804" y="0"/>
                  </a:moveTo>
                  <a:cubicBezTo>
                    <a:pt x="1607" y="0"/>
                    <a:pt x="1450" y="725"/>
                    <a:pt x="1009" y="3308"/>
                  </a:cubicBezTo>
                  <a:cubicBezTo>
                    <a:pt x="946" y="3749"/>
                    <a:pt x="851" y="4285"/>
                    <a:pt x="757" y="4883"/>
                  </a:cubicBezTo>
                  <a:lnTo>
                    <a:pt x="347" y="4883"/>
                  </a:lnTo>
                  <a:cubicBezTo>
                    <a:pt x="158" y="4883"/>
                    <a:pt x="0" y="5041"/>
                    <a:pt x="0" y="5230"/>
                  </a:cubicBezTo>
                  <a:cubicBezTo>
                    <a:pt x="0" y="5419"/>
                    <a:pt x="158" y="5576"/>
                    <a:pt x="347" y="5576"/>
                  </a:cubicBezTo>
                  <a:lnTo>
                    <a:pt x="5230" y="5576"/>
                  </a:lnTo>
                  <a:cubicBezTo>
                    <a:pt x="5419" y="5545"/>
                    <a:pt x="5577" y="5387"/>
                    <a:pt x="5577" y="5198"/>
                  </a:cubicBezTo>
                  <a:cubicBezTo>
                    <a:pt x="5577" y="5009"/>
                    <a:pt x="5419" y="4852"/>
                    <a:pt x="5230" y="4852"/>
                  </a:cubicBezTo>
                  <a:lnTo>
                    <a:pt x="4852" y="4852"/>
                  </a:lnTo>
                  <a:cubicBezTo>
                    <a:pt x="4726" y="4253"/>
                    <a:pt x="4632" y="3749"/>
                    <a:pt x="4569" y="3277"/>
                  </a:cubicBezTo>
                  <a:cubicBezTo>
                    <a:pt x="4128" y="756"/>
                    <a:pt x="3970" y="0"/>
                    <a:pt x="2804" y="0"/>
                  </a:cubicBezTo>
                  <a:close/>
                </a:path>
              </a:pathLst>
            </a:custGeom>
            <a:grpFill/>
            <a:ln>
              <a:noFill/>
            </a:ln>
          </p:spPr>
          <p:txBody>
            <a:bodyPr spcFirstLastPara="1" wrap="square" lIns="91417" tIns="91417" rIns="91417" bIns="91417" anchor="ctr" anchorCtr="0">
              <a:noAutofit/>
            </a:bodyPr>
            <a:lstStyle/>
            <a:p>
              <a:endParaRPr sz="1400"/>
            </a:p>
          </p:txBody>
        </p:sp>
        <p:sp>
          <p:nvSpPr>
            <p:cNvPr id="453" name="Google Shape;10361;p74"/>
            <p:cNvSpPr/>
            <p:nvPr/>
          </p:nvSpPr>
          <p:spPr>
            <a:xfrm>
              <a:off x="5200150" y="3617150"/>
              <a:ext cx="69325" cy="69325"/>
            </a:xfrm>
            <a:custGeom>
              <a:rect l="l" t="t" r="r" b="b"/>
              <a:pathLst>
                <a:path w="2773" h="2773" extrusionOk="0">
                  <a:moveTo>
                    <a:pt x="1386" y="0"/>
                  </a:moveTo>
                  <a:cubicBezTo>
                    <a:pt x="630" y="0"/>
                    <a:pt x="0" y="630"/>
                    <a:pt x="0" y="1387"/>
                  </a:cubicBezTo>
                  <a:cubicBezTo>
                    <a:pt x="0" y="2111"/>
                    <a:pt x="630" y="2773"/>
                    <a:pt x="1386" y="2773"/>
                  </a:cubicBezTo>
                  <a:cubicBezTo>
                    <a:pt x="2143" y="2773"/>
                    <a:pt x="2773" y="2111"/>
                    <a:pt x="2773" y="1387"/>
                  </a:cubicBezTo>
                  <a:cubicBezTo>
                    <a:pt x="2773" y="630"/>
                    <a:pt x="2143" y="0"/>
                    <a:pt x="1386" y="0"/>
                  </a:cubicBezTo>
                  <a:close/>
                </a:path>
              </a:pathLst>
            </a:custGeom>
            <a:grpFill/>
            <a:ln>
              <a:noFill/>
            </a:ln>
          </p:spPr>
          <p:txBody>
            <a:bodyPr spcFirstLastPara="1" wrap="square" lIns="91417" tIns="91417" rIns="91417" bIns="91417" anchor="ctr" anchorCtr="0">
              <a:noAutofit/>
            </a:bodyPr>
            <a:lstStyle/>
            <a:p>
              <a:endParaRPr sz="1400"/>
            </a:p>
          </p:txBody>
        </p:sp>
        <p:sp>
          <p:nvSpPr>
            <p:cNvPr id="454" name="Google Shape;10362;p74"/>
            <p:cNvSpPr/>
            <p:nvPr/>
          </p:nvSpPr>
          <p:spPr>
            <a:xfrm>
              <a:off x="5009550" y="3617150"/>
              <a:ext cx="68525" cy="69325"/>
            </a:xfrm>
            <a:custGeom>
              <a:rect l="l" t="t" r="r" b="b"/>
              <a:pathLst>
                <a:path w="2741" h="2773" extrusionOk="0">
                  <a:moveTo>
                    <a:pt x="1355" y="0"/>
                  </a:moveTo>
                  <a:cubicBezTo>
                    <a:pt x="599" y="0"/>
                    <a:pt x="0" y="630"/>
                    <a:pt x="0" y="1387"/>
                  </a:cubicBezTo>
                  <a:cubicBezTo>
                    <a:pt x="0" y="2143"/>
                    <a:pt x="599" y="2773"/>
                    <a:pt x="1355" y="2773"/>
                  </a:cubicBezTo>
                  <a:cubicBezTo>
                    <a:pt x="2111" y="2773"/>
                    <a:pt x="2741" y="2143"/>
                    <a:pt x="2741" y="1387"/>
                  </a:cubicBezTo>
                  <a:cubicBezTo>
                    <a:pt x="2741" y="630"/>
                    <a:pt x="2111" y="0"/>
                    <a:pt x="1355" y="0"/>
                  </a:cubicBezTo>
                  <a:close/>
                </a:path>
              </a:pathLst>
            </a:custGeom>
            <a:grpFill/>
            <a:ln>
              <a:noFill/>
            </a:ln>
          </p:spPr>
          <p:txBody>
            <a:bodyPr spcFirstLastPara="1" wrap="square" lIns="91417" tIns="91417" rIns="91417" bIns="91417" anchor="ctr" anchorCtr="0">
              <a:noAutofit/>
            </a:bodyPr>
            <a:lstStyle/>
            <a:p>
              <a:endParaRPr sz="1400"/>
            </a:p>
          </p:txBody>
        </p:sp>
        <p:sp>
          <p:nvSpPr>
            <p:cNvPr id="455" name="Google Shape;10363;p74"/>
            <p:cNvSpPr/>
            <p:nvPr/>
          </p:nvSpPr>
          <p:spPr>
            <a:xfrm>
              <a:off x="4991425" y="3686450"/>
              <a:ext cx="104775" cy="52025"/>
            </a:xfrm>
            <a:custGeom>
              <a:rect l="l" t="t" r="r" b="b"/>
              <a:pathLst>
                <a:path w="4191" h="2081" extrusionOk="0">
                  <a:moveTo>
                    <a:pt x="568" y="1"/>
                  </a:moveTo>
                  <a:cubicBezTo>
                    <a:pt x="252" y="347"/>
                    <a:pt x="0" y="851"/>
                    <a:pt x="0" y="1356"/>
                  </a:cubicBezTo>
                  <a:lnTo>
                    <a:pt x="0" y="1734"/>
                  </a:lnTo>
                  <a:cubicBezTo>
                    <a:pt x="0" y="1923"/>
                    <a:pt x="158" y="2080"/>
                    <a:pt x="347" y="2080"/>
                  </a:cubicBezTo>
                  <a:lnTo>
                    <a:pt x="3813" y="2080"/>
                  </a:lnTo>
                  <a:cubicBezTo>
                    <a:pt x="4033" y="2080"/>
                    <a:pt x="4191" y="1923"/>
                    <a:pt x="4191" y="1734"/>
                  </a:cubicBezTo>
                  <a:lnTo>
                    <a:pt x="4191" y="1356"/>
                  </a:lnTo>
                  <a:cubicBezTo>
                    <a:pt x="4191" y="820"/>
                    <a:pt x="3970" y="347"/>
                    <a:pt x="3624" y="1"/>
                  </a:cubicBezTo>
                  <a:cubicBezTo>
                    <a:pt x="3245" y="410"/>
                    <a:pt x="2678" y="694"/>
                    <a:pt x="2080" y="694"/>
                  </a:cubicBezTo>
                  <a:cubicBezTo>
                    <a:pt x="1513" y="694"/>
                    <a:pt x="946" y="410"/>
                    <a:pt x="568" y="1"/>
                  </a:cubicBezTo>
                  <a:close/>
                </a:path>
              </a:pathLst>
            </a:custGeom>
            <a:grpFill/>
            <a:ln>
              <a:noFill/>
            </a:ln>
          </p:spPr>
          <p:txBody>
            <a:bodyPr spcFirstLastPara="1" wrap="square" lIns="91417" tIns="91417" rIns="91417" bIns="91417" anchor="ctr" anchorCtr="0">
              <a:noAutofit/>
            </a:bodyPr>
            <a:lstStyle/>
            <a:p>
              <a:endParaRPr sz="1400"/>
            </a:p>
          </p:txBody>
        </p:sp>
        <p:sp>
          <p:nvSpPr>
            <p:cNvPr id="456" name="Google Shape;10364;p74"/>
            <p:cNvSpPr/>
            <p:nvPr/>
          </p:nvSpPr>
          <p:spPr>
            <a:xfrm>
              <a:off x="5183600" y="3686450"/>
              <a:ext cx="104000" cy="52025"/>
            </a:xfrm>
            <a:custGeom>
              <a:rect l="l" t="t" r="r" b="b"/>
              <a:pathLst>
                <a:path w="4160" h="2081" extrusionOk="0">
                  <a:moveTo>
                    <a:pt x="536" y="1"/>
                  </a:moveTo>
                  <a:cubicBezTo>
                    <a:pt x="221" y="347"/>
                    <a:pt x="1" y="851"/>
                    <a:pt x="1" y="1356"/>
                  </a:cubicBezTo>
                  <a:lnTo>
                    <a:pt x="1" y="1702"/>
                  </a:lnTo>
                  <a:cubicBezTo>
                    <a:pt x="1" y="1923"/>
                    <a:pt x="158" y="2080"/>
                    <a:pt x="347" y="2080"/>
                  </a:cubicBezTo>
                  <a:lnTo>
                    <a:pt x="3813" y="2080"/>
                  </a:lnTo>
                  <a:cubicBezTo>
                    <a:pt x="4002" y="2080"/>
                    <a:pt x="4159" y="1923"/>
                    <a:pt x="4159" y="1702"/>
                  </a:cubicBezTo>
                  <a:lnTo>
                    <a:pt x="4159" y="1356"/>
                  </a:lnTo>
                  <a:cubicBezTo>
                    <a:pt x="4159" y="820"/>
                    <a:pt x="3970" y="347"/>
                    <a:pt x="3624" y="1"/>
                  </a:cubicBezTo>
                  <a:cubicBezTo>
                    <a:pt x="3214" y="410"/>
                    <a:pt x="2679" y="694"/>
                    <a:pt x="2080" y="694"/>
                  </a:cubicBezTo>
                  <a:cubicBezTo>
                    <a:pt x="1450" y="694"/>
                    <a:pt x="946" y="410"/>
                    <a:pt x="536" y="1"/>
                  </a:cubicBezTo>
                  <a:close/>
                </a:path>
              </a:pathLst>
            </a:custGeom>
            <a:grpFill/>
            <a:ln>
              <a:noFill/>
            </a:ln>
          </p:spPr>
          <p:txBody>
            <a:bodyPr spcFirstLastPara="1" wrap="square" lIns="91417" tIns="91417" rIns="91417" bIns="91417" anchor="ctr" anchorCtr="0">
              <a:noAutofit/>
            </a:bodyPr>
            <a:lstStyle/>
            <a:p>
              <a:endParaRPr sz="1400"/>
            </a:p>
          </p:txBody>
        </p:sp>
        <p:sp>
          <p:nvSpPr>
            <p:cNvPr id="457" name="Google Shape;10365;p74"/>
            <p:cNvSpPr/>
            <p:nvPr/>
          </p:nvSpPr>
          <p:spPr>
            <a:xfrm>
              <a:off x="5187550" y="3755775"/>
              <a:ext cx="100050" cy="52800"/>
            </a:xfrm>
            <a:custGeom>
              <a:rect l="l" t="t" r="r" b="b"/>
              <a:pathLst>
                <a:path w="4002" h="2112" extrusionOk="0">
                  <a:moveTo>
                    <a:pt x="0" y="0"/>
                  </a:moveTo>
                  <a:cubicBezTo>
                    <a:pt x="189" y="567"/>
                    <a:pt x="315" y="1229"/>
                    <a:pt x="473" y="2111"/>
                  </a:cubicBezTo>
                  <a:lnTo>
                    <a:pt x="3655" y="2111"/>
                  </a:lnTo>
                  <a:cubicBezTo>
                    <a:pt x="3844" y="2111"/>
                    <a:pt x="4001" y="1954"/>
                    <a:pt x="4001" y="1733"/>
                  </a:cubicBezTo>
                  <a:lnTo>
                    <a:pt x="4001" y="378"/>
                  </a:lnTo>
                  <a:cubicBezTo>
                    <a:pt x="3970" y="158"/>
                    <a:pt x="3844" y="0"/>
                    <a:pt x="3655" y="0"/>
                  </a:cubicBezTo>
                  <a:close/>
                </a:path>
              </a:pathLst>
            </a:custGeom>
            <a:grpFill/>
            <a:ln>
              <a:noFill/>
            </a:ln>
          </p:spPr>
          <p:txBody>
            <a:bodyPr spcFirstLastPara="1" wrap="square" lIns="91417" tIns="91417" rIns="91417" bIns="91417" anchor="ctr" anchorCtr="0">
              <a:noAutofit/>
            </a:bodyPr>
            <a:lstStyle/>
            <a:p>
              <a:endParaRPr sz="1400"/>
            </a:p>
          </p:txBody>
        </p:sp>
        <p:sp>
          <p:nvSpPr>
            <p:cNvPr id="458" name="Google Shape;10366;p74"/>
            <p:cNvSpPr/>
            <p:nvPr/>
          </p:nvSpPr>
          <p:spPr>
            <a:xfrm>
              <a:off x="4991425" y="3755775"/>
              <a:ext cx="100850" cy="52000"/>
            </a:xfrm>
            <a:custGeom>
              <a:rect l="l" t="t" r="r" b="b"/>
              <a:pathLst>
                <a:path w="4034" h="2080" extrusionOk="0">
                  <a:moveTo>
                    <a:pt x="347" y="0"/>
                  </a:moveTo>
                  <a:cubicBezTo>
                    <a:pt x="158" y="0"/>
                    <a:pt x="0" y="158"/>
                    <a:pt x="0" y="347"/>
                  </a:cubicBezTo>
                  <a:lnTo>
                    <a:pt x="0" y="1733"/>
                  </a:lnTo>
                  <a:cubicBezTo>
                    <a:pt x="0" y="1954"/>
                    <a:pt x="158" y="2080"/>
                    <a:pt x="347" y="2080"/>
                  </a:cubicBezTo>
                  <a:lnTo>
                    <a:pt x="3561" y="2080"/>
                  </a:lnTo>
                  <a:cubicBezTo>
                    <a:pt x="3718" y="1229"/>
                    <a:pt x="3813" y="567"/>
                    <a:pt x="4033" y="0"/>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484" name="Google Shape;10399;p74"/>
          <p:cNvGrpSpPr/>
          <p:nvPr/>
        </p:nvGrpSpPr>
        <p:grpSpPr>
          <a:xfrm>
            <a:off x="4176565" y="4547249"/>
            <a:ext cx="480223" cy="509087"/>
            <a:chOff x="3497300" y="3591950"/>
            <a:chExt cx="295375" cy="293800"/>
          </a:xfrm>
          <a:solidFill>
            <a:srgbClr val="00677F"/>
          </a:solidFill>
        </p:grpSpPr>
        <p:sp>
          <p:nvSpPr>
            <p:cNvPr id="485" name="Google Shape;10400;p74"/>
            <p:cNvSpPr/>
            <p:nvPr/>
          </p:nvSpPr>
          <p:spPr>
            <a:xfrm>
              <a:off x="3628825" y="3724275"/>
              <a:ext cx="18150" cy="16550"/>
            </a:xfrm>
            <a:custGeom>
              <a:rect l="l" t="t" r="r" b="b"/>
              <a:pathLst>
                <a:path w="726" h="662" extrusionOk="0">
                  <a:moveTo>
                    <a:pt x="375" y="0"/>
                  </a:moveTo>
                  <a:cubicBezTo>
                    <a:pt x="292" y="0"/>
                    <a:pt x="206" y="32"/>
                    <a:pt x="127" y="95"/>
                  </a:cubicBezTo>
                  <a:cubicBezTo>
                    <a:pt x="1" y="221"/>
                    <a:pt x="1" y="441"/>
                    <a:pt x="127" y="567"/>
                  </a:cubicBezTo>
                  <a:cubicBezTo>
                    <a:pt x="190" y="630"/>
                    <a:pt x="277" y="662"/>
                    <a:pt x="363" y="662"/>
                  </a:cubicBezTo>
                  <a:cubicBezTo>
                    <a:pt x="450" y="662"/>
                    <a:pt x="536" y="630"/>
                    <a:pt x="599" y="567"/>
                  </a:cubicBezTo>
                  <a:cubicBezTo>
                    <a:pt x="725" y="441"/>
                    <a:pt x="725" y="221"/>
                    <a:pt x="599" y="95"/>
                  </a:cubicBezTo>
                  <a:cubicBezTo>
                    <a:pt x="536" y="32"/>
                    <a:pt x="458" y="0"/>
                    <a:pt x="375" y="0"/>
                  </a:cubicBezTo>
                  <a:close/>
                </a:path>
              </a:pathLst>
            </a:custGeom>
            <a:grpFill/>
            <a:ln>
              <a:noFill/>
            </a:ln>
          </p:spPr>
          <p:txBody>
            <a:bodyPr spcFirstLastPara="1" wrap="square" lIns="91417" tIns="91417" rIns="91417" bIns="91417" anchor="ctr" anchorCtr="0">
              <a:noAutofit/>
            </a:bodyPr>
            <a:lstStyle/>
            <a:p>
              <a:endParaRPr sz="1400"/>
            </a:p>
          </p:txBody>
        </p:sp>
        <p:sp>
          <p:nvSpPr>
            <p:cNvPr id="486" name="Google Shape;10401;p74"/>
            <p:cNvSpPr/>
            <p:nvPr/>
          </p:nvSpPr>
          <p:spPr>
            <a:xfrm>
              <a:off x="3590250" y="3689400"/>
              <a:ext cx="94525" cy="86675"/>
            </a:xfrm>
            <a:custGeom>
              <a:rect l="l" t="t" r="r" b="b"/>
              <a:pathLst>
                <a:path w="3781" h="3467" extrusionOk="0">
                  <a:moveTo>
                    <a:pt x="1922" y="710"/>
                  </a:moveTo>
                  <a:cubicBezTo>
                    <a:pt x="2190" y="710"/>
                    <a:pt x="2458" y="812"/>
                    <a:pt x="2647" y="1017"/>
                  </a:cubicBezTo>
                  <a:cubicBezTo>
                    <a:pt x="3088" y="1395"/>
                    <a:pt x="3088" y="2088"/>
                    <a:pt x="2647" y="2466"/>
                  </a:cubicBezTo>
                  <a:cubicBezTo>
                    <a:pt x="2458" y="2671"/>
                    <a:pt x="2190" y="2773"/>
                    <a:pt x="1922" y="2773"/>
                  </a:cubicBezTo>
                  <a:cubicBezTo>
                    <a:pt x="1654" y="2773"/>
                    <a:pt x="1386" y="2671"/>
                    <a:pt x="1197" y="2466"/>
                  </a:cubicBezTo>
                  <a:cubicBezTo>
                    <a:pt x="788" y="2088"/>
                    <a:pt x="788" y="1395"/>
                    <a:pt x="1197" y="1017"/>
                  </a:cubicBezTo>
                  <a:cubicBezTo>
                    <a:pt x="1386" y="812"/>
                    <a:pt x="1654" y="710"/>
                    <a:pt x="1922" y="710"/>
                  </a:cubicBezTo>
                  <a:close/>
                  <a:moveTo>
                    <a:pt x="1930" y="1"/>
                  </a:moveTo>
                  <a:cubicBezTo>
                    <a:pt x="1489" y="1"/>
                    <a:pt x="1040" y="182"/>
                    <a:pt x="693" y="544"/>
                  </a:cubicBezTo>
                  <a:cubicBezTo>
                    <a:pt x="0" y="1206"/>
                    <a:pt x="0" y="2309"/>
                    <a:pt x="693" y="2970"/>
                  </a:cubicBezTo>
                  <a:cubicBezTo>
                    <a:pt x="1024" y="3301"/>
                    <a:pt x="1473" y="3466"/>
                    <a:pt x="1918" y="3466"/>
                  </a:cubicBezTo>
                  <a:cubicBezTo>
                    <a:pt x="2363" y="3466"/>
                    <a:pt x="2804" y="3301"/>
                    <a:pt x="3119" y="2970"/>
                  </a:cubicBezTo>
                  <a:cubicBezTo>
                    <a:pt x="3781" y="2309"/>
                    <a:pt x="3781" y="1206"/>
                    <a:pt x="3119" y="544"/>
                  </a:cubicBezTo>
                  <a:cubicBezTo>
                    <a:pt x="2804" y="182"/>
                    <a:pt x="2371" y="1"/>
                    <a:pt x="1930" y="1"/>
                  </a:cubicBezTo>
                  <a:close/>
                </a:path>
              </a:pathLst>
            </a:custGeom>
            <a:grpFill/>
            <a:ln>
              <a:noFill/>
            </a:ln>
          </p:spPr>
          <p:txBody>
            <a:bodyPr spcFirstLastPara="1" wrap="square" lIns="91417" tIns="91417" rIns="91417" bIns="91417" anchor="ctr" anchorCtr="0">
              <a:noAutofit/>
            </a:bodyPr>
            <a:lstStyle/>
            <a:p>
              <a:endParaRPr sz="1400"/>
            </a:p>
          </p:txBody>
        </p:sp>
        <p:sp>
          <p:nvSpPr>
            <p:cNvPr id="487" name="Google Shape;10402;p74"/>
            <p:cNvSpPr/>
            <p:nvPr/>
          </p:nvSpPr>
          <p:spPr>
            <a:xfrm>
              <a:off x="3674525" y="3601400"/>
              <a:ext cx="118150" cy="118950"/>
            </a:xfrm>
            <a:custGeom>
              <a:rect l="l" t="t" r="r" b="b"/>
              <a:pathLst>
                <a:path w="4726" h="4758" extrusionOk="0">
                  <a:moveTo>
                    <a:pt x="3533" y="0"/>
                  </a:moveTo>
                  <a:cubicBezTo>
                    <a:pt x="3442" y="0"/>
                    <a:pt x="3355" y="32"/>
                    <a:pt x="3308" y="95"/>
                  </a:cubicBezTo>
                  <a:lnTo>
                    <a:pt x="0" y="3308"/>
                  </a:lnTo>
                  <a:cubicBezTo>
                    <a:pt x="410" y="3623"/>
                    <a:pt x="788" y="4127"/>
                    <a:pt x="1953" y="4758"/>
                  </a:cubicBezTo>
                  <a:lnTo>
                    <a:pt x="4600" y="2678"/>
                  </a:lnTo>
                  <a:cubicBezTo>
                    <a:pt x="4663" y="2615"/>
                    <a:pt x="4726" y="2521"/>
                    <a:pt x="4726" y="2395"/>
                  </a:cubicBezTo>
                  <a:cubicBezTo>
                    <a:pt x="4726" y="1544"/>
                    <a:pt x="4348" y="693"/>
                    <a:pt x="3781" y="95"/>
                  </a:cubicBezTo>
                  <a:cubicBezTo>
                    <a:pt x="3718" y="32"/>
                    <a:pt x="3623" y="0"/>
                    <a:pt x="3533" y="0"/>
                  </a:cubicBezTo>
                  <a:close/>
                </a:path>
              </a:pathLst>
            </a:custGeom>
            <a:grpFill/>
            <a:ln>
              <a:noFill/>
            </a:ln>
          </p:spPr>
          <p:txBody>
            <a:bodyPr spcFirstLastPara="1" wrap="square" lIns="91417" tIns="91417" rIns="91417" bIns="91417" anchor="ctr" anchorCtr="0">
              <a:noAutofit/>
            </a:bodyPr>
            <a:lstStyle/>
            <a:p>
              <a:endParaRPr sz="1400"/>
            </a:p>
          </p:txBody>
        </p:sp>
        <p:sp>
          <p:nvSpPr>
            <p:cNvPr id="488" name="Google Shape;10403;p74"/>
            <p:cNvSpPr/>
            <p:nvPr/>
          </p:nvSpPr>
          <p:spPr>
            <a:xfrm>
              <a:off x="3631200" y="3774675"/>
              <a:ext cx="103200" cy="102400"/>
            </a:xfrm>
            <a:custGeom>
              <a:rect l="l" t="t" r="r" b="b"/>
              <a:pathLst>
                <a:path w="4128" h="4096" extrusionOk="0">
                  <a:moveTo>
                    <a:pt x="2048" y="0"/>
                  </a:moveTo>
                  <a:cubicBezTo>
                    <a:pt x="1985" y="32"/>
                    <a:pt x="1985" y="63"/>
                    <a:pt x="1954" y="126"/>
                  </a:cubicBezTo>
                  <a:cubicBezTo>
                    <a:pt x="1506" y="546"/>
                    <a:pt x="859" y="767"/>
                    <a:pt x="235" y="767"/>
                  </a:cubicBezTo>
                  <a:cubicBezTo>
                    <a:pt x="156" y="767"/>
                    <a:pt x="78" y="764"/>
                    <a:pt x="0" y="756"/>
                  </a:cubicBezTo>
                  <a:lnTo>
                    <a:pt x="0" y="756"/>
                  </a:lnTo>
                  <a:cubicBezTo>
                    <a:pt x="567" y="1670"/>
                    <a:pt x="1355" y="3749"/>
                    <a:pt x="1418" y="3875"/>
                  </a:cubicBezTo>
                  <a:cubicBezTo>
                    <a:pt x="1450" y="4001"/>
                    <a:pt x="1607" y="4096"/>
                    <a:pt x="1733" y="4096"/>
                  </a:cubicBezTo>
                  <a:cubicBezTo>
                    <a:pt x="1891" y="4096"/>
                    <a:pt x="1985" y="4033"/>
                    <a:pt x="2048" y="3875"/>
                  </a:cubicBezTo>
                  <a:lnTo>
                    <a:pt x="2426" y="2647"/>
                  </a:lnTo>
                  <a:lnTo>
                    <a:pt x="3182" y="2647"/>
                  </a:lnTo>
                  <a:cubicBezTo>
                    <a:pt x="4128" y="2647"/>
                    <a:pt x="2710" y="630"/>
                    <a:pt x="2048" y="0"/>
                  </a:cubicBezTo>
                  <a:close/>
                </a:path>
              </a:pathLst>
            </a:custGeom>
            <a:grpFill/>
            <a:ln>
              <a:noFill/>
            </a:ln>
          </p:spPr>
          <p:txBody>
            <a:bodyPr spcFirstLastPara="1" wrap="square" lIns="91417" tIns="91417" rIns="91417" bIns="91417" anchor="ctr" anchorCtr="0">
              <a:noAutofit/>
            </a:bodyPr>
            <a:lstStyle/>
            <a:p>
              <a:endParaRPr sz="1400"/>
            </a:p>
          </p:txBody>
        </p:sp>
        <p:sp>
          <p:nvSpPr>
            <p:cNvPr id="489" name="Google Shape;10404;p74"/>
            <p:cNvSpPr/>
            <p:nvPr/>
          </p:nvSpPr>
          <p:spPr>
            <a:xfrm>
              <a:off x="3691850" y="3726625"/>
              <a:ext cx="89800" cy="89050"/>
            </a:xfrm>
            <a:custGeom>
              <a:rect l="l" t="t" r="r" b="b"/>
              <a:pathLst>
                <a:path w="3592" h="3562" extrusionOk="0">
                  <a:moveTo>
                    <a:pt x="252" y="1"/>
                  </a:moveTo>
                  <a:cubicBezTo>
                    <a:pt x="284" y="410"/>
                    <a:pt x="189" y="883"/>
                    <a:pt x="0" y="1292"/>
                  </a:cubicBezTo>
                  <a:cubicBezTo>
                    <a:pt x="630" y="1922"/>
                    <a:pt x="1134" y="2615"/>
                    <a:pt x="1544" y="3466"/>
                  </a:cubicBezTo>
                  <a:cubicBezTo>
                    <a:pt x="1565" y="3530"/>
                    <a:pt x="1634" y="3562"/>
                    <a:pt x="1715" y="3562"/>
                  </a:cubicBezTo>
                  <a:cubicBezTo>
                    <a:pt x="1874" y="3562"/>
                    <a:pt x="2080" y="3443"/>
                    <a:pt x="2080" y="3214"/>
                  </a:cubicBezTo>
                  <a:lnTo>
                    <a:pt x="2080" y="2458"/>
                  </a:lnTo>
                  <a:lnTo>
                    <a:pt x="3308" y="2080"/>
                  </a:lnTo>
                  <a:cubicBezTo>
                    <a:pt x="3497" y="1985"/>
                    <a:pt x="3592" y="1891"/>
                    <a:pt x="3592" y="1733"/>
                  </a:cubicBezTo>
                  <a:cubicBezTo>
                    <a:pt x="3592" y="1576"/>
                    <a:pt x="3497" y="1450"/>
                    <a:pt x="3340" y="1418"/>
                  </a:cubicBezTo>
                  <a:cubicBezTo>
                    <a:pt x="3182" y="1355"/>
                    <a:pt x="1134" y="568"/>
                    <a:pt x="252" y="1"/>
                  </a:cubicBezTo>
                  <a:close/>
                </a:path>
              </a:pathLst>
            </a:custGeom>
            <a:grpFill/>
            <a:ln>
              <a:noFill/>
            </a:ln>
          </p:spPr>
          <p:txBody>
            <a:bodyPr spcFirstLastPara="1" wrap="square" lIns="91417" tIns="91417" rIns="91417" bIns="91417" anchor="ctr" anchorCtr="0">
              <a:noAutofit/>
            </a:bodyPr>
            <a:lstStyle/>
            <a:p>
              <a:endParaRPr sz="1400"/>
            </a:p>
          </p:txBody>
        </p:sp>
        <p:sp>
          <p:nvSpPr>
            <p:cNvPr id="490" name="Google Shape;10405;p74"/>
            <p:cNvSpPr/>
            <p:nvPr/>
          </p:nvSpPr>
          <p:spPr>
            <a:xfrm>
              <a:off x="3505175" y="3767575"/>
              <a:ext cx="120525" cy="118175"/>
            </a:xfrm>
            <a:custGeom>
              <a:rect l="l" t="t" r="r" b="b"/>
              <a:pathLst>
                <a:path w="4821" h="4727" extrusionOk="0">
                  <a:moveTo>
                    <a:pt x="3372" y="1"/>
                  </a:moveTo>
                  <a:lnTo>
                    <a:pt x="95" y="3277"/>
                  </a:lnTo>
                  <a:cubicBezTo>
                    <a:pt x="1" y="3435"/>
                    <a:pt x="1" y="3687"/>
                    <a:pt x="158" y="3781"/>
                  </a:cubicBezTo>
                  <a:cubicBezTo>
                    <a:pt x="788" y="4411"/>
                    <a:pt x="1607" y="4727"/>
                    <a:pt x="2458" y="4727"/>
                  </a:cubicBezTo>
                  <a:cubicBezTo>
                    <a:pt x="2584" y="4727"/>
                    <a:pt x="2679" y="4695"/>
                    <a:pt x="2742" y="4632"/>
                  </a:cubicBezTo>
                  <a:lnTo>
                    <a:pt x="4821" y="1986"/>
                  </a:lnTo>
                  <a:cubicBezTo>
                    <a:pt x="4254" y="851"/>
                    <a:pt x="3718" y="442"/>
                    <a:pt x="3372" y="1"/>
                  </a:cubicBezTo>
                  <a:close/>
                </a:path>
              </a:pathLst>
            </a:custGeom>
            <a:grpFill/>
            <a:ln>
              <a:noFill/>
            </a:ln>
          </p:spPr>
          <p:txBody>
            <a:bodyPr spcFirstLastPara="1" wrap="square" lIns="91417" tIns="91417" rIns="91417" bIns="91417" anchor="ctr" anchorCtr="0">
              <a:noAutofit/>
            </a:bodyPr>
            <a:lstStyle/>
            <a:p>
              <a:endParaRPr sz="1400"/>
            </a:p>
          </p:txBody>
        </p:sp>
        <p:sp>
          <p:nvSpPr>
            <p:cNvPr id="491" name="Google Shape;10406;p74"/>
            <p:cNvSpPr/>
            <p:nvPr/>
          </p:nvSpPr>
          <p:spPr>
            <a:xfrm>
              <a:off x="3631200" y="3591950"/>
              <a:ext cx="104000" cy="84300"/>
            </a:xfrm>
            <a:custGeom>
              <a:rect l="l" t="t" r="r" b="b"/>
              <a:pathLst>
                <a:path w="4160" h="3372" extrusionOk="0">
                  <a:moveTo>
                    <a:pt x="2836" y="0"/>
                  </a:moveTo>
                  <a:cubicBezTo>
                    <a:pt x="2678" y="0"/>
                    <a:pt x="2584" y="32"/>
                    <a:pt x="2521" y="95"/>
                  </a:cubicBezTo>
                  <a:lnTo>
                    <a:pt x="0" y="3245"/>
                  </a:lnTo>
                  <a:cubicBezTo>
                    <a:pt x="90" y="3238"/>
                    <a:pt x="181" y="3234"/>
                    <a:pt x="272" y="3234"/>
                  </a:cubicBezTo>
                  <a:cubicBezTo>
                    <a:pt x="568" y="3234"/>
                    <a:pt x="870" y="3275"/>
                    <a:pt x="1135" y="3371"/>
                  </a:cubicBezTo>
                  <a:cubicBezTo>
                    <a:pt x="1324" y="3119"/>
                    <a:pt x="3939" y="567"/>
                    <a:pt x="4159" y="347"/>
                  </a:cubicBezTo>
                  <a:cubicBezTo>
                    <a:pt x="3718" y="158"/>
                    <a:pt x="3308" y="0"/>
                    <a:pt x="2836" y="0"/>
                  </a:cubicBezTo>
                  <a:close/>
                </a:path>
              </a:pathLst>
            </a:custGeom>
            <a:grpFill/>
            <a:ln>
              <a:noFill/>
            </a:ln>
          </p:spPr>
          <p:txBody>
            <a:bodyPr spcFirstLastPara="1" wrap="square" lIns="91417" tIns="91417" rIns="91417" bIns="91417" anchor="ctr" anchorCtr="0">
              <a:noAutofit/>
            </a:bodyPr>
            <a:lstStyle/>
            <a:p>
              <a:endParaRPr sz="1400"/>
            </a:p>
          </p:txBody>
        </p:sp>
        <p:sp>
          <p:nvSpPr>
            <p:cNvPr id="492" name="Google Shape;10407;p74"/>
            <p:cNvSpPr/>
            <p:nvPr/>
          </p:nvSpPr>
          <p:spPr>
            <a:xfrm>
              <a:off x="3497300" y="3721900"/>
              <a:ext cx="84300" cy="107150"/>
            </a:xfrm>
            <a:custGeom>
              <a:rect l="l" t="t" r="r" b="b"/>
              <a:pathLst>
                <a:path w="3372" h="4286" extrusionOk="0">
                  <a:moveTo>
                    <a:pt x="3246" y="1"/>
                  </a:moveTo>
                  <a:lnTo>
                    <a:pt x="95" y="2552"/>
                  </a:lnTo>
                  <a:cubicBezTo>
                    <a:pt x="32" y="2615"/>
                    <a:pt x="1" y="2710"/>
                    <a:pt x="1" y="2836"/>
                  </a:cubicBezTo>
                  <a:cubicBezTo>
                    <a:pt x="1" y="3340"/>
                    <a:pt x="95" y="3844"/>
                    <a:pt x="347" y="4285"/>
                  </a:cubicBezTo>
                  <a:lnTo>
                    <a:pt x="3372" y="1261"/>
                  </a:lnTo>
                  <a:cubicBezTo>
                    <a:pt x="3214" y="851"/>
                    <a:pt x="3183" y="410"/>
                    <a:pt x="3246" y="1"/>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506" name="Google Shape;10421;p74"/>
          <p:cNvGrpSpPr/>
          <p:nvPr/>
        </p:nvGrpSpPr>
        <p:grpSpPr>
          <a:xfrm>
            <a:off x="9515064" y="4558959"/>
            <a:ext cx="482823" cy="515928"/>
            <a:chOff x="5355300" y="3598250"/>
            <a:chExt cx="296975" cy="297750"/>
          </a:xfrm>
          <a:solidFill>
            <a:srgbClr val="00677F"/>
          </a:solidFill>
        </p:grpSpPr>
        <p:sp>
          <p:nvSpPr>
            <p:cNvPr id="507" name="Google Shape;10422;p74"/>
            <p:cNvSpPr/>
            <p:nvPr/>
          </p:nvSpPr>
          <p:spPr>
            <a:xfrm>
              <a:off x="5355300" y="3703000"/>
              <a:ext cx="35475" cy="191425"/>
            </a:xfrm>
            <a:custGeom>
              <a:rect l="l" t="t" r="r" b="b"/>
              <a:pathLst>
                <a:path w="1419" h="7657" extrusionOk="0">
                  <a:moveTo>
                    <a:pt x="410" y="0"/>
                  </a:moveTo>
                  <a:cubicBezTo>
                    <a:pt x="221" y="0"/>
                    <a:pt x="64" y="158"/>
                    <a:pt x="64" y="347"/>
                  </a:cubicBezTo>
                  <a:cubicBezTo>
                    <a:pt x="1" y="2867"/>
                    <a:pt x="1" y="4789"/>
                    <a:pt x="1" y="7310"/>
                  </a:cubicBezTo>
                  <a:cubicBezTo>
                    <a:pt x="1" y="7530"/>
                    <a:pt x="158" y="7656"/>
                    <a:pt x="379" y="7656"/>
                  </a:cubicBezTo>
                  <a:cubicBezTo>
                    <a:pt x="568" y="7656"/>
                    <a:pt x="725" y="7530"/>
                    <a:pt x="725" y="7310"/>
                  </a:cubicBezTo>
                  <a:lnTo>
                    <a:pt x="725" y="1355"/>
                  </a:lnTo>
                  <a:lnTo>
                    <a:pt x="1418" y="1355"/>
                  </a:lnTo>
                  <a:lnTo>
                    <a:pt x="1418" y="0"/>
                  </a:lnTo>
                  <a:close/>
                </a:path>
              </a:pathLst>
            </a:custGeom>
            <a:grpFill/>
            <a:ln>
              <a:noFill/>
            </a:ln>
          </p:spPr>
          <p:txBody>
            <a:bodyPr spcFirstLastPara="1" wrap="square" lIns="91417" tIns="91417" rIns="91417" bIns="91417" anchor="ctr" anchorCtr="0">
              <a:noAutofit/>
            </a:bodyPr>
            <a:lstStyle/>
            <a:p>
              <a:endParaRPr sz="1400"/>
            </a:p>
          </p:txBody>
        </p:sp>
        <p:sp>
          <p:nvSpPr>
            <p:cNvPr id="508" name="Google Shape;10423;p74"/>
            <p:cNvSpPr/>
            <p:nvPr/>
          </p:nvSpPr>
          <p:spPr>
            <a:xfrm>
              <a:off x="5389175" y="3773100"/>
              <a:ext cx="122900" cy="122900"/>
            </a:xfrm>
            <a:custGeom>
              <a:rect l="l" t="t" r="r" b="b"/>
              <a:pathLst>
                <a:path w="4916" h="4916" extrusionOk="0">
                  <a:moveTo>
                    <a:pt x="2080" y="0"/>
                  </a:moveTo>
                  <a:lnTo>
                    <a:pt x="2080" y="693"/>
                  </a:lnTo>
                  <a:lnTo>
                    <a:pt x="1733" y="693"/>
                  </a:lnTo>
                  <a:cubicBezTo>
                    <a:pt x="788" y="693"/>
                    <a:pt x="0" y="1481"/>
                    <a:pt x="0" y="2458"/>
                  </a:cubicBezTo>
                  <a:cubicBezTo>
                    <a:pt x="0" y="2678"/>
                    <a:pt x="158" y="2836"/>
                    <a:pt x="347" y="2836"/>
                  </a:cubicBezTo>
                  <a:lnTo>
                    <a:pt x="2080" y="2836"/>
                  </a:lnTo>
                  <a:lnTo>
                    <a:pt x="2080" y="3529"/>
                  </a:lnTo>
                  <a:lnTo>
                    <a:pt x="1072" y="3529"/>
                  </a:lnTo>
                  <a:cubicBezTo>
                    <a:pt x="473" y="3529"/>
                    <a:pt x="32" y="4001"/>
                    <a:pt x="32" y="4569"/>
                  </a:cubicBezTo>
                  <a:cubicBezTo>
                    <a:pt x="32" y="4758"/>
                    <a:pt x="189" y="4915"/>
                    <a:pt x="410" y="4915"/>
                  </a:cubicBezTo>
                  <a:cubicBezTo>
                    <a:pt x="599" y="4915"/>
                    <a:pt x="757" y="4758"/>
                    <a:pt x="757" y="4569"/>
                  </a:cubicBezTo>
                  <a:cubicBezTo>
                    <a:pt x="757" y="4348"/>
                    <a:pt x="914" y="4190"/>
                    <a:pt x="1103" y="4190"/>
                  </a:cubicBezTo>
                  <a:lnTo>
                    <a:pt x="2143" y="4190"/>
                  </a:lnTo>
                  <a:lnTo>
                    <a:pt x="2143" y="4569"/>
                  </a:lnTo>
                  <a:cubicBezTo>
                    <a:pt x="2143" y="4758"/>
                    <a:pt x="2300" y="4915"/>
                    <a:pt x="2489" y="4915"/>
                  </a:cubicBezTo>
                  <a:cubicBezTo>
                    <a:pt x="2678" y="4915"/>
                    <a:pt x="2836" y="4758"/>
                    <a:pt x="2836" y="4569"/>
                  </a:cubicBezTo>
                  <a:lnTo>
                    <a:pt x="2836" y="4190"/>
                  </a:lnTo>
                  <a:lnTo>
                    <a:pt x="3876" y="4190"/>
                  </a:lnTo>
                  <a:cubicBezTo>
                    <a:pt x="4065" y="4190"/>
                    <a:pt x="4222" y="4348"/>
                    <a:pt x="4222" y="4569"/>
                  </a:cubicBezTo>
                  <a:cubicBezTo>
                    <a:pt x="4222" y="4758"/>
                    <a:pt x="4380" y="4915"/>
                    <a:pt x="4569" y="4915"/>
                  </a:cubicBezTo>
                  <a:cubicBezTo>
                    <a:pt x="4758" y="4915"/>
                    <a:pt x="4915" y="4758"/>
                    <a:pt x="4915" y="4569"/>
                  </a:cubicBezTo>
                  <a:cubicBezTo>
                    <a:pt x="4915" y="3970"/>
                    <a:pt x="4443" y="3529"/>
                    <a:pt x="3907" y="3529"/>
                  </a:cubicBezTo>
                  <a:lnTo>
                    <a:pt x="2867" y="3529"/>
                  </a:lnTo>
                  <a:lnTo>
                    <a:pt x="2867" y="2836"/>
                  </a:lnTo>
                  <a:lnTo>
                    <a:pt x="4537" y="2836"/>
                  </a:lnTo>
                  <a:lnTo>
                    <a:pt x="4537" y="2773"/>
                  </a:lnTo>
                  <a:cubicBezTo>
                    <a:pt x="4726" y="2773"/>
                    <a:pt x="4884" y="2615"/>
                    <a:pt x="4884" y="2426"/>
                  </a:cubicBezTo>
                  <a:cubicBezTo>
                    <a:pt x="4884" y="1481"/>
                    <a:pt x="4096" y="662"/>
                    <a:pt x="3151" y="662"/>
                  </a:cubicBezTo>
                  <a:lnTo>
                    <a:pt x="2804" y="662"/>
                  </a:lnTo>
                  <a:lnTo>
                    <a:pt x="2804" y="0"/>
                  </a:lnTo>
                  <a:close/>
                </a:path>
              </a:pathLst>
            </a:custGeom>
            <a:grpFill/>
            <a:ln>
              <a:noFill/>
            </a:ln>
          </p:spPr>
          <p:txBody>
            <a:bodyPr spcFirstLastPara="1" wrap="square" lIns="91417" tIns="91417" rIns="91417" bIns="91417" anchor="ctr" anchorCtr="0">
              <a:noAutofit/>
            </a:bodyPr>
            <a:lstStyle/>
            <a:p>
              <a:endParaRPr sz="1400"/>
            </a:p>
          </p:txBody>
        </p:sp>
        <p:sp>
          <p:nvSpPr>
            <p:cNvPr id="509" name="Google Shape;10424;p74"/>
            <p:cNvSpPr/>
            <p:nvPr/>
          </p:nvSpPr>
          <p:spPr>
            <a:xfrm>
              <a:off x="5527800" y="3598250"/>
              <a:ext cx="105550" cy="35450"/>
            </a:xfrm>
            <a:custGeom>
              <a:rect l="l" t="t" r="r" b="b"/>
              <a:pathLst>
                <a:path w="4222" h="1418" extrusionOk="0">
                  <a:moveTo>
                    <a:pt x="725" y="0"/>
                  </a:moveTo>
                  <a:cubicBezTo>
                    <a:pt x="315" y="0"/>
                    <a:pt x="0" y="315"/>
                    <a:pt x="0" y="725"/>
                  </a:cubicBezTo>
                  <a:cubicBezTo>
                    <a:pt x="63" y="1103"/>
                    <a:pt x="378" y="1418"/>
                    <a:pt x="725" y="1418"/>
                  </a:cubicBezTo>
                  <a:lnTo>
                    <a:pt x="3875" y="1418"/>
                  </a:lnTo>
                  <a:cubicBezTo>
                    <a:pt x="4064" y="1418"/>
                    <a:pt x="4222" y="1260"/>
                    <a:pt x="4222" y="1071"/>
                  </a:cubicBezTo>
                  <a:lnTo>
                    <a:pt x="4222" y="378"/>
                  </a:lnTo>
                  <a:cubicBezTo>
                    <a:pt x="4222" y="158"/>
                    <a:pt x="4064" y="0"/>
                    <a:pt x="3875" y="0"/>
                  </a:cubicBezTo>
                  <a:close/>
                </a:path>
              </a:pathLst>
            </a:custGeom>
            <a:grpFill/>
            <a:ln>
              <a:noFill/>
            </a:ln>
          </p:spPr>
          <p:txBody>
            <a:bodyPr spcFirstLastPara="1" wrap="square" lIns="91417" tIns="91417" rIns="91417" bIns="91417" anchor="ctr" anchorCtr="0">
              <a:noAutofit/>
            </a:bodyPr>
            <a:lstStyle/>
            <a:p>
              <a:endParaRPr sz="1400"/>
            </a:p>
          </p:txBody>
        </p:sp>
        <p:sp>
          <p:nvSpPr>
            <p:cNvPr id="510" name="Google Shape;10425;p74"/>
            <p:cNvSpPr/>
            <p:nvPr/>
          </p:nvSpPr>
          <p:spPr>
            <a:xfrm>
              <a:off x="5545900" y="3651800"/>
              <a:ext cx="104800" cy="35475"/>
            </a:xfrm>
            <a:custGeom>
              <a:rect l="l" t="t" r="r" b="b"/>
              <a:pathLst>
                <a:path w="4192" h="1419" extrusionOk="0">
                  <a:moveTo>
                    <a:pt x="694" y="1"/>
                  </a:moveTo>
                  <a:cubicBezTo>
                    <a:pt x="316" y="1"/>
                    <a:pt x="1" y="316"/>
                    <a:pt x="1" y="694"/>
                  </a:cubicBezTo>
                  <a:cubicBezTo>
                    <a:pt x="1" y="1103"/>
                    <a:pt x="316" y="1418"/>
                    <a:pt x="694" y="1418"/>
                  </a:cubicBezTo>
                  <a:lnTo>
                    <a:pt x="3845" y="1418"/>
                  </a:lnTo>
                  <a:cubicBezTo>
                    <a:pt x="4065" y="1418"/>
                    <a:pt x="4191" y="1261"/>
                    <a:pt x="4191" y="1072"/>
                  </a:cubicBezTo>
                  <a:lnTo>
                    <a:pt x="4191" y="347"/>
                  </a:lnTo>
                  <a:cubicBezTo>
                    <a:pt x="4191" y="158"/>
                    <a:pt x="4065" y="1"/>
                    <a:pt x="3845" y="1"/>
                  </a:cubicBezTo>
                  <a:close/>
                </a:path>
              </a:pathLst>
            </a:custGeom>
            <a:grpFill/>
            <a:ln>
              <a:noFill/>
            </a:ln>
          </p:spPr>
          <p:txBody>
            <a:bodyPr spcFirstLastPara="1" wrap="square" lIns="91417" tIns="91417" rIns="91417" bIns="91417" anchor="ctr" anchorCtr="0">
              <a:noAutofit/>
            </a:bodyPr>
            <a:lstStyle/>
            <a:p>
              <a:endParaRPr sz="1400"/>
            </a:p>
          </p:txBody>
        </p:sp>
        <p:sp>
          <p:nvSpPr>
            <p:cNvPr id="511" name="Google Shape;10426;p74"/>
            <p:cNvSpPr/>
            <p:nvPr/>
          </p:nvSpPr>
          <p:spPr>
            <a:xfrm>
              <a:off x="5529375" y="3754975"/>
              <a:ext cx="122100" cy="35475"/>
            </a:xfrm>
            <a:custGeom>
              <a:rect l="l" t="t" r="r" b="b"/>
              <a:pathLst>
                <a:path w="4884" h="1419" extrusionOk="0">
                  <a:moveTo>
                    <a:pt x="0" y="1"/>
                  </a:moveTo>
                  <a:lnTo>
                    <a:pt x="0" y="1418"/>
                  </a:lnTo>
                  <a:lnTo>
                    <a:pt x="4884" y="1418"/>
                  </a:lnTo>
                  <a:lnTo>
                    <a:pt x="4884" y="1"/>
                  </a:lnTo>
                  <a:lnTo>
                    <a:pt x="2773" y="1"/>
                  </a:lnTo>
                  <a:lnTo>
                    <a:pt x="2773" y="347"/>
                  </a:lnTo>
                  <a:cubicBezTo>
                    <a:pt x="2773" y="568"/>
                    <a:pt x="2615" y="725"/>
                    <a:pt x="2426" y="725"/>
                  </a:cubicBezTo>
                  <a:cubicBezTo>
                    <a:pt x="2237" y="725"/>
                    <a:pt x="2080" y="568"/>
                    <a:pt x="2080" y="347"/>
                  </a:cubicBezTo>
                  <a:lnTo>
                    <a:pt x="2080" y="1"/>
                  </a:lnTo>
                  <a:close/>
                </a:path>
              </a:pathLst>
            </a:custGeom>
            <a:grpFill/>
            <a:ln>
              <a:noFill/>
            </a:ln>
          </p:spPr>
          <p:txBody>
            <a:bodyPr spcFirstLastPara="1" wrap="square" lIns="91417" tIns="91417" rIns="91417" bIns="91417" anchor="ctr" anchorCtr="0">
              <a:noAutofit/>
            </a:bodyPr>
            <a:lstStyle/>
            <a:p>
              <a:endParaRPr sz="1400"/>
            </a:p>
          </p:txBody>
        </p:sp>
        <p:sp>
          <p:nvSpPr>
            <p:cNvPr id="512" name="Google Shape;10427;p74"/>
            <p:cNvSpPr/>
            <p:nvPr/>
          </p:nvSpPr>
          <p:spPr>
            <a:xfrm>
              <a:off x="5511250" y="3703000"/>
              <a:ext cx="140225" cy="33900"/>
            </a:xfrm>
            <a:custGeom>
              <a:rect l="l" t="t" r="r" b="b"/>
              <a:pathLst>
                <a:path w="5609" h="1356" extrusionOk="0">
                  <a:moveTo>
                    <a:pt x="1" y="0"/>
                  </a:moveTo>
                  <a:lnTo>
                    <a:pt x="1" y="1355"/>
                  </a:lnTo>
                  <a:lnTo>
                    <a:pt x="5609" y="1355"/>
                  </a:lnTo>
                  <a:lnTo>
                    <a:pt x="5609" y="347"/>
                  </a:lnTo>
                  <a:cubicBezTo>
                    <a:pt x="5577" y="158"/>
                    <a:pt x="5451" y="0"/>
                    <a:pt x="5231" y="0"/>
                  </a:cubicBezTo>
                  <a:close/>
                </a:path>
              </a:pathLst>
            </a:custGeom>
            <a:grpFill/>
            <a:ln>
              <a:noFill/>
            </a:ln>
          </p:spPr>
          <p:txBody>
            <a:bodyPr spcFirstLastPara="1" wrap="square" lIns="91417" tIns="91417" rIns="91417" bIns="91417" anchor="ctr" anchorCtr="0">
              <a:noAutofit/>
            </a:bodyPr>
            <a:lstStyle/>
            <a:p>
              <a:endParaRPr sz="1400"/>
            </a:p>
          </p:txBody>
        </p:sp>
        <p:sp>
          <p:nvSpPr>
            <p:cNvPr id="513" name="Google Shape;10428;p74"/>
            <p:cNvSpPr/>
            <p:nvPr/>
          </p:nvSpPr>
          <p:spPr>
            <a:xfrm>
              <a:off x="5529375" y="3808550"/>
              <a:ext cx="122900" cy="87450"/>
            </a:xfrm>
            <a:custGeom>
              <a:rect l="l" t="t" r="r" b="b"/>
              <a:pathLst>
                <a:path w="4916" h="3498" extrusionOk="0">
                  <a:moveTo>
                    <a:pt x="0" y="0"/>
                  </a:moveTo>
                  <a:lnTo>
                    <a:pt x="0" y="3151"/>
                  </a:lnTo>
                  <a:cubicBezTo>
                    <a:pt x="0" y="3340"/>
                    <a:pt x="158" y="3497"/>
                    <a:pt x="347" y="3497"/>
                  </a:cubicBezTo>
                  <a:cubicBezTo>
                    <a:pt x="536" y="3497"/>
                    <a:pt x="693" y="3340"/>
                    <a:pt x="693" y="3151"/>
                  </a:cubicBezTo>
                  <a:lnTo>
                    <a:pt x="693" y="1418"/>
                  </a:lnTo>
                  <a:lnTo>
                    <a:pt x="4190" y="1418"/>
                  </a:lnTo>
                  <a:lnTo>
                    <a:pt x="4190" y="3151"/>
                  </a:lnTo>
                  <a:cubicBezTo>
                    <a:pt x="4190" y="3340"/>
                    <a:pt x="4348" y="3497"/>
                    <a:pt x="4569" y="3497"/>
                  </a:cubicBezTo>
                  <a:cubicBezTo>
                    <a:pt x="4758" y="3497"/>
                    <a:pt x="4915" y="3340"/>
                    <a:pt x="4915" y="3151"/>
                  </a:cubicBezTo>
                  <a:lnTo>
                    <a:pt x="4915" y="0"/>
                  </a:lnTo>
                  <a:lnTo>
                    <a:pt x="2773" y="0"/>
                  </a:lnTo>
                  <a:lnTo>
                    <a:pt x="2773" y="347"/>
                  </a:lnTo>
                  <a:cubicBezTo>
                    <a:pt x="2773" y="536"/>
                    <a:pt x="2615" y="693"/>
                    <a:pt x="2426" y="693"/>
                  </a:cubicBezTo>
                  <a:cubicBezTo>
                    <a:pt x="2237" y="693"/>
                    <a:pt x="2080" y="536"/>
                    <a:pt x="2080" y="347"/>
                  </a:cubicBezTo>
                  <a:lnTo>
                    <a:pt x="2080" y="0"/>
                  </a:lnTo>
                  <a:close/>
                </a:path>
              </a:pathLst>
            </a:custGeom>
            <a:grpFill/>
            <a:ln>
              <a:noFill/>
            </a:ln>
          </p:spPr>
          <p:txBody>
            <a:bodyPr spcFirstLastPara="1" wrap="square" lIns="91417" tIns="91417" rIns="91417" bIns="91417" anchor="ctr" anchorCtr="0">
              <a:noAutofit/>
            </a:bodyPr>
            <a:lstStyle/>
            <a:p>
              <a:endParaRPr sz="1400"/>
            </a:p>
          </p:txBody>
        </p:sp>
        <p:sp>
          <p:nvSpPr>
            <p:cNvPr id="514" name="Google Shape;10429;p74"/>
            <p:cNvSpPr/>
            <p:nvPr/>
          </p:nvSpPr>
          <p:spPr>
            <a:xfrm>
              <a:off x="5408075" y="3651025"/>
              <a:ext cx="86675" cy="103975"/>
            </a:xfrm>
            <a:custGeom>
              <a:rect l="l" t="t" r="r" b="b"/>
              <a:pathLst>
                <a:path w="3467" h="4159" extrusionOk="0">
                  <a:moveTo>
                    <a:pt x="1733" y="0"/>
                  </a:moveTo>
                  <a:cubicBezTo>
                    <a:pt x="788" y="0"/>
                    <a:pt x="1" y="788"/>
                    <a:pt x="1" y="1733"/>
                  </a:cubicBezTo>
                  <a:lnTo>
                    <a:pt x="1" y="3812"/>
                  </a:lnTo>
                  <a:cubicBezTo>
                    <a:pt x="1" y="4001"/>
                    <a:pt x="158" y="4159"/>
                    <a:pt x="347" y="4159"/>
                  </a:cubicBezTo>
                  <a:lnTo>
                    <a:pt x="3120" y="4159"/>
                  </a:lnTo>
                  <a:cubicBezTo>
                    <a:pt x="3309" y="4159"/>
                    <a:pt x="3466" y="4001"/>
                    <a:pt x="3466" y="3812"/>
                  </a:cubicBezTo>
                  <a:lnTo>
                    <a:pt x="3466" y="1733"/>
                  </a:lnTo>
                  <a:cubicBezTo>
                    <a:pt x="3466" y="788"/>
                    <a:pt x="2678" y="0"/>
                    <a:pt x="1733" y="0"/>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520" name="Google Shape;10435;p74"/>
          <p:cNvGrpSpPr/>
          <p:nvPr/>
        </p:nvGrpSpPr>
        <p:grpSpPr>
          <a:xfrm>
            <a:off x="9486684" y="5286143"/>
            <a:ext cx="709579" cy="701192"/>
            <a:chOff x="6543825" y="3202075"/>
            <a:chExt cx="296975" cy="275350"/>
          </a:xfrm>
          <a:solidFill>
            <a:srgbClr val="00677F"/>
          </a:solidFill>
        </p:grpSpPr>
        <p:sp>
          <p:nvSpPr>
            <p:cNvPr id="521" name="Google Shape;10436;p74"/>
            <p:cNvSpPr/>
            <p:nvPr/>
          </p:nvSpPr>
          <p:spPr>
            <a:xfrm>
              <a:off x="6683250" y="3202075"/>
              <a:ext cx="17350" cy="43350"/>
            </a:xfrm>
            <a:custGeom>
              <a:rect l="l" t="t" r="r" b="b"/>
              <a:pathLst>
                <a:path w="694" h="1733" extrusionOk="0">
                  <a:moveTo>
                    <a:pt x="347" y="0"/>
                  </a:moveTo>
                  <a:cubicBezTo>
                    <a:pt x="158" y="0"/>
                    <a:pt x="0" y="158"/>
                    <a:pt x="0" y="347"/>
                  </a:cubicBezTo>
                  <a:lnTo>
                    <a:pt x="0" y="1355"/>
                  </a:lnTo>
                  <a:cubicBezTo>
                    <a:pt x="0" y="1576"/>
                    <a:pt x="158" y="1733"/>
                    <a:pt x="347" y="1733"/>
                  </a:cubicBezTo>
                  <a:cubicBezTo>
                    <a:pt x="536" y="1733"/>
                    <a:pt x="693" y="1576"/>
                    <a:pt x="693" y="1355"/>
                  </a:cubicBezTo>
                  <a:lnTo>
                    <a:pt x="693" y="347"/>
                  </a:lnTo>
                  <a:cubicBezTo>
                    <a:pt x="693" y="158"/>
                    <a:pt x="536" y="0"/>
                    <a:pt x="347" y="0"/>
                  </a:cubicBezTo>
                  <a:close/>
                </a:path>
              </a:pathLst>
            </a:custGeom>
            <a:grpFill/>
            <a:ln>
              <a:noFill/>
            </a:ln>
          </p:spPr>
          <p:txBody>
            <a:bodyPr spcFirstLastPara="1" wrap="square" lIns="91417" tIns="91417" rIns="91417" bIns="91417" anchor="ctr" anchorCtr="0">
              <a:noAutofit/>
            </a:bodyPr>
            <a:lstStyle/>
            <a:p>
              <a:endParaRPr sz="1400"/>
            </a:p>
          </p:txBody>
        </p:sp>
        <p:sp>
          <p:nvSpPr>
            <p:cNvPr id="522" name="Google Shape;10437;p74"/>
            <p:cNvSpPr/>
            <p:nvPr/>
          </p:nvSpPr>
          <p:spPr>
            <a:xfrm>
              <a:off x="6613925" y="3236125"/>
              <a:ext cx="35475" cy="34700"/>
            </a:xfrm>
            <a:custGeom>
              <a:rect l="l" t="t" r="r" b="b"/>
              <a:pathLst>
                <a:path w="1419" h="1388" extrusionOk="0">
                  <a:moveTo>
                    <a:pt x="363" y="1"/>
                  </a:moveTo>
                  <a:cubicBezTo>
                    <a:pt x="276" y="1"/>
                    <a:pt x="190" y="40"/>
                    <a:pt x="127" y="119"/>
                  </a:cubicBezTo>
                  <a:cubicBezTo>
                    <a:pt x="1" y="245"/>
                    <a:pt x="1" y="466"/>
                    <a:pt x="127" y="592"/>
                  </a:cubicBezTo>
                  <a:lnTo>
                    <a:pt x="820" y="1316"/>
                  </a:lnTo>
                  <a:cubicBezTo>
                    <a:pt x="883" y="1364"/>
                    <a:pt x="969" y="1387"/>
                    <a:pt x="1056" y="1387"/>
                  </a:cubicBezTo>
                  <a:cubicBezTo>
                    <a:pt x="1143" y="1387"/>
                    <a:pt x="1229" y="1364"/>
                    <a:pt x="1292" y="1316"/>
                  </a:cubicBezTo>
                  <a:cubicBezTo>
                    <a:pt x="1418" y="1190"/>
                    <a:pt x="1418" y="938"/>
                    <a:pt x="1292" y="844"/>
                  </a:cubicBezTo>
                  <a:lnTo>
                    <a:pt x="599" y="119"/>
                  </a:lnTo>
                  <a:cubicBezTo>
                    <a:pt x="536" y="40"/>
                    <a:pt x="450" y="1"/>
                    <a:pt x="363" y="1"/>
                  </a:cubicBezTo>
                  <a:close/>
                </a:path>
              </a:pathLst>
            </a:custGeom>
            <a:grpFill/>
            <a:ln>
              <a:noFill/>
            </a:ln>
          </p:spPr>
          <p:txBody>
            <a:bodyPr spcFirstLastPara="1" wrap="square" lIns="91417" tIns="91417" rIns="91417" bIns="91417" anchor="ctr" anchorCtr="0">
              <a:noAutofit/>
            </a:bodyPr>
            <a:lstStyle/>
            <a:p>
              <a:endParaRPr sz="1400"/>
            </a:p>
          </p:txBody>
        </p:sp>
        <p:sp>
          <p:nvSpPr>
            <p:cNvPr id="523" name="Google Shape;10438;p74"/>
            <p:cNvSpPr/>
            <p:nvPr/>
          </p:nvSpPr>
          <p:spPr>
            <a:xfrm>
              <a:off x="6734425" y="3236425"/>
              <a:ext cx="35475" cy="34400"/>
            </a:xfrm>
            <a:custGeom>
              <a:rect l="l" t="t" r="r" b="b"/>
              <a:pathLst>
                <a:path w="1419" h="1376" extrusionOk="0">
                  <a:moveTo>
                    <a:pt x="1054" y="0"/>
                  </a:moveTo>
                  <a:cubicBezTo>
                    <a:pt x="976" y="0"/>
                    <a:pt x="894" y="33"/>
                    <a:pt x="820" y="107"/>
                  </a:cubicBezTo>
                  <a:lnTo>
                    <a:pt x="95" y="832"/>
                  </a:lnTo>
                  <a:cubicBezTo>
                    <a:pt x="1" y="926"/>
                    <a:pt x="1" y="1178"/>
                    <a:pt x="95" y="1304"/>
                  </a:cubicBezTo>
                  <a:cubicBezTo>
                    <a:pt x="158" y="1352"/>
                    <a:pt x="253" y="1375"/>
                    <a:pt x="344" y="1375"/>
                  </a:cubicBezTo>
                  <a:cubicBezTo>
                    <a:pt x="434" y="1375"/>
                    <a:pt x="521" y="1352"/>
                    <a:pt x="568" y="1304"/>
                  </a:cubicBezTo>
                  <a:lnTo>
                    <a:pt x="1293" y="580"/>
                  </a:lnTo>
                  <a:cubicBezTo>
                    <a:pt x="1419" y="454"/>
                    <a:pt x="1419" y="233"/>
                    <a:pt x="1293" y="107"/>
                  </a:cubicBezTo>
                  <a:cubicBezTo>
                    <a:pt x="1226" y="41"/>
                    <a:pt x="1142" y="0"/>
                    <a:pt x="1054" y="0"/>
                  </a:cubicBezTo>
                  <a:close/>
                </a:path>
              </a:pathLst>
            </a:custGeom>
            <a:grpFill/>
            <a:ln>
              <a:noFill/>
            </a:ln>
          </p:spPr>
          <p:txBody>
            <a:bodyPr spcFirstLastPara="1" wrap="square" lIns="91417" tIns="91417" rIns="91417" bIns="91417" anchor="ctr" anchorCtr="0">
              <a:noAutofit/>
            </a:bodyPr>
            <a:lstStyle/>
            <a:p>
              <a:endParaRPr sz="1400"/>
            </a:p>
          </p:txBody>
        </p:sp>
        <p:sp>
          <p:nvSpPr>
            <p:cNvPr id="524" name="Google Shape;10439;p74"/>
            <p:cNvSpPr/>
            <p:nvPr/>
          </p:nvSpPr>
          <p:spPr>
            <a:xfrm>
              <a:off x="6805325" y="3322575"/>
              <a:ext cx="35475" cy="121325"/>
            </a:xfrm>
            <a:custGeom>
              <a:rect l="l" t="t" r="r" b="b"/>
              <a:pathLst>
                <a:path w="1419" h="4853" extrusionOk="0">
                  <a:moveTo>
                    <a:pt x="0" y="1"/>
                  </a:moveTo>
                  <a:lnTo>
                    <a:pt x="0" y="4852"/>
                  </a:lnTo>
                  <a:lnTo>
                    <a:pt x="1040" y="4852"/>
                  </a:lnTo>
                  <a:cubicBezTo>
                    <a:pt x="1261" y="4852"/>
                    <a:pt x="1418" y="4695"/>
                    <a:pt x="1418" y="4506"/>
                  </a:cubicBezTo>
                  <a:lnTo>
                    <a:pt x="1418" y="316"/>
                  </a:lnTo>
                  <a:cubicBezTo>
                    <a:pt x="1355" y="158"/>
                    <a:pt x="1198" y="1"/>
                    <a:pt x="1040" y="1"/>
                  </a:cubicBezTo>
                  <a:close/>
                </a:path>
              </a:pathLst>
            </a:custGeom>
            <a:grpFill/>
            <a:ln>
              <a:noFill/>
            </a:ln>
          </p:spPr>
          <p:txBody>
            <a:bodyPr spcFirstLastPara="1" wrap="square" lIns="91417" tIns="91417" rIns="91417" bIns="91417" anchor="ctr" anchorCtr="0">
              <a:noAutofit/>
            </a:bodyPr>
            <a:lstStyle/>
            <a:p>
              <a:endParaRPr sz="1400"/>
            </a:p>
          </p:txBody>
        </p:sp>
        <p:sp>
          <p:nvSpPr>
            <p:cNvPr id="525" name="Google Shape;10440;p74"/>
            <p:cNvSpPr/>
            <p:nvPr/>
          </p:nvSpPr>
          <p:spPr>
            <a:xfrm>
              <a:off x="6543825" y="3323275"/>
              <a:ext cx="35475" cy="121400"/>
            </a:xfrm>
            <a:custGeom>
              <a:rect l="l" t="t" r="r" b="b"/>
              <a:pathLst>
                <a:path w="1419" h="4856" extrusionOk="0">
                  <a:moveTo>
                    <a:pt x="323" y="0"/>
                  </a:moveTo>
                  <a:cubicBezTo>
                    <a:pt x="132" y="0"/>
                    <a:pt x="1" y="149"/>
                    <a:pt x="1" y="351"/>
                  </a:cubicBezTo>
                  <a:lnTo>
                    <a:pt x="1" y="4509"/>
                  </a:lnTo>
                  <a:cubicBezTo>
                    <a:pt x="1" y="4698"/>
                    <a:pt x="158" y="4856"/>
                    <a:pt x="379" y="4856"/>
                  </a:cubicBezTo>
                  <a:lnTo>
                    <a:pt x="1418" y="4856"/>
                  </a:lnTo>
                  <a:lnTo>
                    <a:pt x="1418" y="4"/>
                  </a:lnTo>
                  <a:lnTo>
                    <a:pt x="379" y="4"/>
                  </a:lnTo>
                  <a:cubicBezTo>
                    <a:pt x="360" y="1"/>
                    <a:pt x="341" y="0"/>
                    <a:pt x="323" y="0"/>
                  </a:cubicBezTo>
                  <a:close/>
                </a:path>
              </a:pathLst>
            </a:custGeom>
            <a:grpFill/>
            <a:ln>
              <a:noFill/>
            </a:ln>
          </p:spPr>
          <p:txBody>
            <a:bodyPr spcFirstLastPara="1" wrap="square" lIns="91417" tIns="91417" rIns="91417" bIns="91417" anchor="ctr" anchorCtr="0">
              <a:noAutofit/>
            </a:bodyPr>
            <a:lstStyle/>
            <a:p>
              <a:endParaRPr sz="1400"/>
            </a:p>
          </p:txBody>
        </p:sp>
        <p:sp>
          <p:nvSpPr>
            <p:cNvPr id="526" name="Google Shape;10441;p74"/>
            <p:cNvSpPr/>
            <p:nvPr/>
          </p:nvSpPr>
          <p:spPr>
            <a:xfrm>
              <a:off x="6643075" y="3332025"/>
              <a:ext cx="143375" cy="104000"/>
            </a:xfrm>
            <a:custGeom>
              <a:rect l="l" t="t" r="r" b="b"/>
              <a:pathLst>
                <a:path w="5735" h="4160" extrusionOk="0">
                  <a:moveTo>
                    <a:pt x="1639" y="1"/>
                  </a:moveTo>
                  <a:cubicBezTo>
                    <a:pt x="1450" y="1"/>
                    <a:pt x="1198" y="158"/>
                    <a:pt x="1072" y="379"/>
                  </a:cubicBezTo>
                  <a:lnTo>
                    <a:pt x="0" y="2490"/>
                  </a:lnTo>
                  <a:cubicBezTo>
                    <a:pt x="158" y="2584"/>
                    <a:pt x="378" y="2616"/>
                    <a:pt x="567" y="2616"/>
                  </a:cubicBezTo>
                  <a:cubicBezTo>
                    <a:pt x="1072" y="2616"/>
                    <a:pt x="1544" y="2364"/>
                    <a:pt x="1796" y="1891"/>
                  </a:cubicBezTo>
                  <a:lnTo>
                    <a:pt x="2017" y="1418"/>
                  </a:lnTo>
                  <a:lnTo>
                    <a:pt x="2710" y="1418"/>
                  </a:lnTo>
                  <a:cubicBezTo>
                    <a:pt x="2899" y="1418"/>
                    <a:pt x="3056" y="1481"/>
                    <a:pt x="3182" y="1607"/>
                  </a:cubicBezTo>
                  <a:lnTo>
                    <a:pt x="5734" y="4159"/>
                  </a:lnTo>
                  <a:lnTo>
                    <a:pt x="5734" y="1"/>
                  </a:lnTo>
                  <a:close/>
                </a:path>
              </a:pathLst>
            </a:custGeom>
            <a:grpFill/>
            <a:ln>
              <a:noFill/>
            </a:ln>
          </p:spPr>
          <p:txBody>
            <a:bodyPr spcFirstLastPara="1" wrap="square" lIns="91417" tIns="91417" rIns="91417" bIns="91417" anchor="ctr" anchorCtr="0">
              <a:noAutofit/>
            </a:bodyPr>
            <a:lstStyle/>
            <a:p>
              <a:endParaRPr sz="1400"/>
            </a:p>
          </p:txBody>
        </p:sp>
        <p:sp>
          <p:nvSpPr>
            <p:cNvPr id="527" name="Google Shape;10442;p74"/>
            <p:cNvSpPr/>
            <p:nvPr/>
          </p:nvSpPr>
          <p:spPr>
            <a:xfrm>
              <a:off x="6595025" y="3288700"/>
              <a:ext cx="175675" cy="188725"/>
            </a:xfrm>
            <a:custGeom>
              <a:rect l="l" t="t" r="r" b="b"/>
              <a:pathLst>
                <a:path w="7027" h="7549" extrusionOk="0">
                  <a:moveTo>
                    <a:pt x="2206" y="1"/>
                  </a:moveTo>
                  <a:cubicBezTo>
                    <a:pt x="1828" y="1"/>
                    <a:pt x="1481" y="221"/>
                    <a:pt x="1261" y="568"/>
                  </a:cubicBezTo>
                  <a:lnTo>
                    <a:pt x="946" y="1198"/>
                  </a:lnTo>
                  <a:cubicBezTo>
                    <a:pt x="914" y="1324"/>
                    <a:pt x="757" y="1419"/>
                    <a:pt x="631" y="1419"/>
                  </a:cubicBezTo>
                  <a:lnTo>
                    <a:pt x="1" y="1419"/>
                  </a:lnTo>
                  <a:lnTo>
                    <a:pt x="1" y="6239"/>
                  </a:lnTo>
                  <a:lnTo>
                    <a:pt x="1576" y="6239"/>
                  </a:lnTo>
                  <a:lnTo>
                    <a:pt x="2584" y="7247"/>
                  </a:lnTo>
                  <a:cubicBezTo>
                    <a:pt x="2768" y="7431"/>
                    <a:pt x="3054" y="7548"/>
                    <a:pt x="3330" y="7548"/>
                  </a:cubicBezTo>
                  <a:cubicBezTo>
                    <a:pt x="3431" y="7548"/>
                    <a:pt x="3531" y="7533"/>
                    <a:pt x="3624" y="7499"/>
                  </a:cubicBezTo>
                  <a:lnTo>
                    <a:pt x="6585" y="6554"/>
                  </a:lnTo>
                  <a:cubicBezTo>
                    <a:pt x="6743" y="6522"/>
                    <a:pt x="6900" y="6396"/>
                    <a:pt x="7026" y="6302"/>
                  </a:cubicBezTo>
                  <a:lnTo>
                    <a:pt x="4537" y="3813"/>
                  </a:lnTo>
                  <a:lnTo>
                    <a:pt x="4380" y="3813"/>
                  </a:lnTo>
                  <a:lnTo>
                    <a:pt x="4348" y="3844"/>
                  </a:lnTo>
                  <a:cubicBezTo>
                    <a:pt x="4033" y="4506"/>
                    <a:pt x="3340" y="4947"/>
                    <a:pt x="2647" y="5042"/>
                  </a:cubicBezTo>
                  <a:cubicBezTo>
                    <a:pt x="2601" y="5044"/>
                    <a:pt x="2556" y="5046"/>
                    <a:pt x="2511" y="5046"/>
                  </a:cubicBezTo>
                  <a:cubicBezTo>
                    <a:pt x="2046" y="5046"/>
                    <a:pt x="1698" y="4899"/>
                    <a:pt x="1324" y="4727"/>
                  </a:cubicBezTo>
                  <a:cubicBezTo>
                    <a:pt x="1103" y="4632"/>
                    <a:pt x="1040" y="4412"/>
                    <a:pt x="1166" y="4254"/>
                  </a:cubicBezTo>
                  <a:lnTo>
                    <a:pt x="2363" y="1797"/>
                  </a:lnTo>
                  <a:cubicBezTo>
                    <a:pt x="2615" y="1324"/>
                    <a:pt x="3088" y="1041"/>
                    <a:pt x="3592" y="1041"/>
                  </a:cubicBezTo>
                  <a:lnTo>
                    <a:pt x="5104" y="1041"/>
                  </a:lnTo>
                  <a:cubicBezTo>
                    <a:pt x="5167" y="852"/>
                    <a:pt x="5262" y="631"/>
                    <a:pt x="5262" y="347"/>
                  </a:cubicBezTo>
                  <a:cubicBezTo>
                    <a:pt x="5262" y="158"/>
                    <a:pt x="5104" y="1"/>
                    <a:pt x="4884" y="1"/>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528" name="Google Shape;10443;p74"/>
          <p:cNvGrpSpPr/>
          <p:nvPr/>
        </p:nvGrpSpPr>
        <p:grpSpPr>
          <a:xfrm>
            <a:off x="11313940" y="4449481"/>
            <a:ext cx="551089" cy="587342"/>
            <a:chOff x="2037825" y="3254050"/>
            <a:chExt cx="296175" cy="296175"/>
          </a:xfrm>
          <a:solidFill>
            <a:srgbClr val="00677F"/>
          </a:solidFill>
        </p:grpSpPr>
        <p:sp>
          <p:nvSpPr>
            <p:cNvPr id="529" name="Google Shape;10444;p74"/>
            <p:cNvSpPr/>
            <p:nvPr/>
          </p:nvSpPr>
          <p:spPr>
            <a:xfrm>
              <a:off x="2063825" y="3254050"/>
              <a:ext cx="86675" cy="86675"/>
            </a:xfrm>
            <a:custGeom>
              <a:rect l="l" t="t" r="r" b="b"/>
              <a:pathLst>
                <a:path w="3467" h="3467" extrusionOk="0">
                  <a:moveTo>
                    <a:pt x="1733" y="1"/>
                  </a:moveTo>
                  <a:cubicBezTo>
                    <a:pt x="788" y="1"/>
                    <a:pt x="1" y="788"/>
                    <a:pt x="1" y="1733"/>
                  </a:cubicBezTo>
                  <a:cubicBezTo>
                    <a:pt x="1" y="2679"/>
                    <a:pt x="788" y="3466"/>
                    <a:pt x="1733" y="3466"/>
                  </a:cubicBezTo>
                  <a:cubicBezTo>
                    <a:pt x="2678" y="3466"/>
                    <a:pt x="3466" y="2679"/>
                    <a:pt x="3466" y="1733"/>
                  </a:cubicBezTo>
                  <a:cubicBezTo>
                    <a:pt x="3466" y="788"/>
                    <a:pt x="2678" y="1"/>
                    <a:pt x="1733" y="1"/>
                  </a:cubicBezTo>
                  <a:close/>
                </a:path>
              </a:pathLst>
            </a:custGeom>
            <a:grpFill/>
            <a:ln>
              <a:noFill/>
            </a:ln>
          </p:spPr>
          <p:txBody>
            <a:bodyPr spcFirstLastPara="1" wrap="square" lIns="91417" tIns="91417" rIns="91417" bIns="91417" anchor="ctr" anchorCtr="0">
              <a:noAutofit/>
            </a:bodyPr>
            <a:lstStyle/>
            <a:p>
              <a:endParaRPr sz="1400"/>
            </a:p>
          </p:txBody>
        </p:sp>
        <p:sp>
          <p:nvSpPr>
            <p:cNvPr id="530" name="Google Shape;10445;p74"/>
            <p:cNvSpPr/>
            <p:nvPr/>
          </p:nvSpPr>
          <p:spPr>
            <a:xfrm>
              <a:off x="2178025" y="3289500"/>
              <a:ext cx="104000" cy="67950"/>
            </a:xfrm>
            <a:custGeom>
              <a:rect l="l" t="t" r="r" b="b"/>
              <a:pathLst>
                <a:path w="4160" h="2718" extrusionOk="0">
                  <a:moveTo>
                    <a:pt x="347" y="0"/>
                  </a:moveTo>
                  <a:cubicBezTo>
                    <a:pt x="158" y="0"/>
                    <a:pt x="1" y="158"/>
                    <a:pt x="1" y="347"/>
                  </a:cubicBezTo>
                  <a:cubicBezTo>
                    <a:pt x="1" y="536"/>
                    <a:pt x="95" y="662"/>
                    <a:pt x="316" y="662"/>
                  </a:cubicBezTo>
                  <a:lnTo>
                    <a:pt x="2395" y="662"/>
                  </a:lnTo>
                  <a:cubicBezTo>
                    <a:pt x="2584" y="662"/>
                    <a:pt x="2742" y="820"/>
                    <a:pt x="2742" y="1009"/>
                  </a:cubicBezTo>
                  <a:lnTo>
                    <a:pt x="2742" y="1576"/>
                  </a:lnTo>
                  <a:lnTo>
                    <a:pt x="2616" y="1450"/>
                  </a:lnTo>
                  <a:cubicBezTo>
                    <a:pt x="2568" y="1387"/>
                    <a:pt x="2482" y="1355"/>
                    <a:pt x="2391" y="1355"/>
                  </a:cubicBezTo>
                  <a:cubicBezTo>
                    <a:pt x="2301" y="1355"/>
                    <a:pt x="2206" y="1387"/>
                    <a:pt x="2143" y="1450"/>
                  </a:cubicBezTo>
                  <a:cubicBezTo>
                    <a:pt x="2049" y="1576"/>
                    <a:pt x="2049" y="1796"/>
                    <a:pt x="2143" y="1922"/>
                  </a:cubicBezTo>
                  <a:lnTo>
                    <a:pt x="2868" y="2647"/>
                  </a:lnTo>
                  <a:cubicBezTo>
                    <a:pt x="2931" y="2694"/>
                    <a:pt x="3017" y="2718"/>
                    <a:pt x="3104" y="2718"/>
                  </a:cubicBezTo>
                  <a:cubicBezTo>
                    <a:pt x="3191" y="2718"/>
                    <a:pt x="3277" y="2694"/>
                    <a:pt x="3340" y="2647"/>
                  </a:cubicBezTo>
                  <a:lnTo>
                    <a:pt x="4033" y="1922"/>
                  </a:lnTo>
                  <a:cubicBezTo>
                    <a:pt x="4159" y="1796"/>
                    <a:pt x="4159" y="1576"/>
                    <a:pt x="4033" y="1450"/>
                  </a:cubicBezTo>
                  <a:cubicBezTo>
                    <a:pt x="3986" y="1387"/>
                    <a:pt x="3899" y="1355"/>
                    <a:pt x="3809" y="1355"/>
                  </a:cubicBezTo>
                  <a:cubicBezTo>
                    <a:pt x="3718" y="1355"/>
                    <a:pt x="3624" y="1387"/>
                    <a:pt x="3561" y="1450"/>
                  </a:cubicBezTo>
                  <a:lnTo>
                    <a:pt x="3466" y="1576"/>
                  </a:lnTo>
                  <a:lnTo>
                    <a:pt x="3466" y="1009"/>
                  </a:lnTo>
                  <a:cubicBezTo>
                    <a:pt x="3466" y="441"/>
                    <a:pt x="2994" y="0"/>
                    <a:pt x="2427" y="0"/>
                  </a:cubicBezTo>
                  <a:close/>
                </a:path>
              </a:pathLst>
            </a:custGeom>
            <a:grpFill/>
            <a:ln>
              <a:noFill/>
            </a:ln>
          </p:spPr>
          <p:txBody>
            <a:bodyPr spcFirstLastPara="1" wrap="square" lIns="91417" tIns="91417" rIns="91417" bIns="91417" anchor="ctr" anchorCtr="0">
              <a:noAutofit/>
            </a:bodyPr>
            <a:lstStyle/>
            <a:p>
              <a:endParaRPr sz="1400"/>
            </a:p>
          </p:txBody>
        </p:sp>
        <p:sp>
          <p:nvSpPr>
            <p:cNvPr id="531" name="Google Shape;10446;p74"/>
            <p:cNvSpPr/>
            <p:nvPr/>
          </p:nvSpPr>
          <p:spPr>
            <a:xfrm>
              <a:off x="2070125" y="3444225"/>
              <a:ext cx="106350" cy="69075"/>
            </a:xfrm>
            <a:custGeom>
              <a:rect l="l" t="t" r="r" b="b"/>
              <a:pathLst>
                <a:path w="4254" h="2763" extrusionOk="0">
                  <a:moveTo>
                    <a:pt x="1095" y="0"/>
                  </a:moveTo>
                  <a:cubicBezTo>
                    <a:pt x="1002" y="0"/>
                    <a:pt x="904" y="28"/>
                    <a:pt x="820" y="112"/>
                  </a:cubicBezTo>
                  <a:lnTo>
                    <a:pt x="127" y="805"/>
                  </a:lnTo>
                  <a:cubicBezTo>
                    <a:pt x="1" y="931"/>
                    <a:pt x="1" y="1184"/>
                    <a:pt x="127" y="1278"/>
                  </a:cubicBezTo>
                  <a:cubicBezTo>
                    <a:pt x="190" y="1341"/>
                    <a:pt x="276" y="1373"/>
                    <a:pt x="363" y="1373"/>
                  </a:cubicBezTo>
                  <a:cubicBezTo>
                    <a:pt x="449" y="1373"/>
                    <a:pt x="536" y="1341"/>
                    <a:pt x="599" y="1278"/>
                  </a:cubicBezTo>
                  <a:lnTo>
                    <a:pt x="725" y="1184"/>
                  </a:lnTo>
                  <a:lnTo>
                    <a:pt x="725" y="1719"/>
                  </a:lnTo>
                  <a:cubicBezTo>
                    <a:pt x="725" y="2318"/>
                    <a:pt x="1198" y="2759"/>
                    <a:pt x="1733" y="2759"/>
                  </a:cubicBezTo>
                  <a:lnTo>
                    <a:pt x="3813" y="2759"/>
                  </a:lnTo>
                  <a:cubicBezTo>
                    <a:pt x="3837" y="2761"/>
                    <a:pt x="3861" y="2763"/>
                    <a:pt x="3883" y="2763"/>
                  </a:cubicBezTo>
                  <a:cubicBezTo>
                    <a:pt x="4122" y="2763"/>
                    <a:pt x="4254" y="2616"/>
                    <a:pt x="4254" y="2444"/>
                  </a:cubicBezTo>
                  <a:cubicBezTo>
                    <a:pt x="4254" y="2223"/>
                    <a:pt x="4096" y="2066"/>
                    <a:pt x="3907" y="2066"/>
                  </a:cubicBezTo>
                  <a:lnTo>
                    <a:pt x="1828" y="2066"/>
                  </a:lnTo>
                  <a:cubicBezTo>
                    <a:pt x="1639" y="2066"/>
                    <a:pt x="1481" y="1908"/>
                    <a:pt x="1481" y="1719"/>
                  </a:cubicBezTo>
                  <a:lnTo>
                    <a:pt x="1481" y="1184"/>
                  </a:lnTo>
                  <a:lnTo>
                    <a:pt x="1576" y="1278"/>
                  </a:lnTo>
                  <a:cubicBezTo>
                    <a:pt x="1639" y="1341"/>
                    <a:pt x="1733" y="1373"/>
                    <a:pt x="1824" y="1373"/>
                  </a:cubicBezTo>
                  <a:cubicBezTo>
                    <a:pt x="1914" y="1373"/>
                    <a:pt x="2001" y="1341"/>
                    <a:pt x="2048" y="1278"/>
                  </a:cubicBezTo>
                  <a:cubicBezTo>
                    <a:pt x="2174" y="1184"/>
                    <a:pt x="2174" y="931"/>
                    <a:pt x="2048" y="805"/>
                  </a:cubicBezTo>
                  <a:lnTo>
                    <a:pt x="1355" y="112"/>
                  </a:lnTo>
                  <a:cubicBezTo>
                    <a:pt x="1292" y="81"/>
                    <a:pt x="1261" y="81"/>
                    <a:pt x="1229" y="18"/>
                  </a:cubicBezTo>
                  <a:cubicBezTo>
                    <a:pt x="1187" y="7"/>
                    <a:pt x="1142" y="0"/>
                    <a:pt x="1095" y="0"/>
                  </a:cubicBezTo>
                  <a:close/>
                </a:path>
              </a:pathLst>
            </a:custGeom>
            <a:grpFill/>
            <a:ln>
              <a:noFill/>
            </a:ln>
          </p:spPr>
          <p:txBody>
            <a:bodyPr spcFirstLastPara="1" wrap="square" lIns="91417" tIns="91417" rIns="91417" bIns="91417" anchor="ctr" anchorCtr="0">
              <a:noAutofit/>
            </a:bodyPr>
            <a:lstStyle/>
            <a:p>
              <a:endParaRPr sz="1400"/>
            </a:p>
          </p:txBody>
        </p:sp>
        <p:sp>
          <p:nvSpPr>
            <p:cNvPr id="532" name="Google Shape;10447;p74"/>
            <p:cNvSpPr/>
            <p:nvPr/>
          </p:nvSpPr>
          <p:spPr>
            <a:xfrm>
              <a:off x="2219775" y="3375350"/>
              <a:ext cx="89025" cy="85875"/>
            </a:xfrm>
            <a:custGeom>
              <a:rect l="l" t="t" r="r" b="b"/>
              <a:pathLst>
                <a:path w="3560" h="3435" extrusionOk="0">
                  <a:moveTo>
                    <a:pt x="1796" y="0"/>
                  </a:moveTo>
                  <a:cubicBezTo>
                    <a:pt x="788" y="0"/>
                    <a:pt x="0" y="788"/>
                    <a:pt x="0" y="1733"/>
                  </a:cubicBezTo>
                  <a:cubicBezTo>
                    <a:pt x="0" y="2647"/>
                    <a:pt x="788" y="3434"/>
                    <a:pt x="1796" y="3434"/>
                  </a:cubicBezTo>
                  <a:cubicBezTo>
                    <a:pt x="2741" y="3434"/>
                    <a:pt x="3561" y="2647"/>
                    <a:pt x="3561" y="1733"/>
                  </a:cubicBezTo>
                  <a:cubicBezTo>
                    <a:pt x="3561" y="788"/>
                    <a:pt x="2773" y="0"/>
                    <a:pt x="1796" y="0"/>
                  </a:cubicBezTo>
                  <a:close/>
                </a:path>
              </a:pathLst>
            </a:custGeom>
            <a:grpFill/>
            <a:ln>
              <a:noFill/>
            </a:ln>
          </p:spPr>
          <p:txBody>
            <a:bodyPr spcFirstLastPara="1" wrap="square" lIns="91417" tIns="91417" rIns="91417" bIns="91417" anchor="ctr" anchorCtr="0">
              <a:noAutofit/>
            </a:bodyPr>
            <a:lstStyle/>
            <a:p>
              <a:endParaRPr sz="1400"/>
            </a:p>
          </p:txBody>
        </p:sp>
        <p:sp>
          <p:nvSpPr>
            <p:cNvPr id="533" name="Google Shape;10448;p74"/>
            <p:cNvSpPr/>
            <p:nvPr/>
          </p:nvSpPr>
          <p:spPr>
            <a:xfrm>
              <a:off x="2037825" y="3339125"/>
              <a:ext cx="138650" cy="88225"/>
            </a:xfrm>
            <a:custGeom>
              <a:rect l="l" t="t" r="r" b="b"/>
              <a:pathLst>
                <a:path w="5546" h="3529" extrusionOk="0">
                  <a:moveTo>
                    <a:pt x="1072" y="0"/>
                  </a:moveTo>
                  <a:cubicBezTo>
                    <a:pt x="442" y="536"/>
                    <a:pt x="32" y="1292"/>
                    <a:pt x="32" y="2143"/>
                  </a:cubicBezTo>
                  <a:lnTo>
                    <a:pt x="32" y="3182"/>
                  </a:lnTo>
                  <a:cubicBezTo>
                    <a:pt x="1" y="3371"/>
                    <a:pt x="158" y="3529"/>
                    <a:pt x="347" y="3529"/>
                  </a:cubicBezTo>
                  <a:lnTo>
                    <a:pt x="5199" y="3529"/>
                  </a:lnTo>
                  <a:cubicBezTo>
                    <a:pt x="5388" y="3529"/>
                    <a:pt x="5546" y="3371"/>
                    <a:pt x="5546" y="3182"/>
                  </a:cubicBezTo>
                  <a:lnTo>
                    <a:pt x="5546" y="2143"/>
                  </a:lnTo>
                  <a:cubicBezTo>
                    <a:pt x="5546" y="1292"/>
                    <a:pt x="5168" y="536"/>
                    <a:pt x="4538" y="0"/>
                  </a:cubicBezTo>
                  <a:cubicBezTo>
                    <a:pt x="4096" y="473"/>
                    <a:pt x="3466" y="756"/>
                    <a:pt x="2805" y="756"/>
                  </a:cubicBezTo>
                  <a:cubicBezTo>
                    <a:pt x="2143" y="756"/>
                    <a:pt x="1513" y="504"/>
                    <a:pt x="1072" y="0"/>
                  </a:cubicBezTo>
                  <a:close/>
                </a:path>
              </a:pathLst>
            </a:custGeom>
            <a:grpFill/>
            <a:ln>
              <a:noFill/>
            </a:ln>
          </p:spPr>
          <p:txBody>
            <a:bodyPr spcFirstLastPara="1" wrap="square" lIns="91417" tIns="91417" rIns="91417" bIns="91417" anchor="ctr" anchorCtr="0">
              <a:noAutofit/>
            </a:bodyPr>
            <a:lstStyle/>
            <a:p>
              <a:endParaRPr sz="1400"/>
            </a:p>
          </p:txBody>
        </p:sp>
        <p:sp>
          <p:nvSpPr>
            <p:cNvPr id="534" name="Google Shape;10449;p74"/>
            <p:cNvSpPr/>
            <p:nvPr/>
          </p:nvSpPr>
          <p:spPr>
            <a:xfrm>
              <a:off x="2193775" y="3460400"/>
              <a:ext cx="140225" cy="89825"/>
            </a:xfrm>
            <a:custGeom>
              <a:rect l="l" t="t" r="r" b="b"/>
              <a:pathLst>
                <a:path w="5609" h="3593" extrusionOk="0">
                  <a:moveTo>
                    <a:pt x="1009" y="1"/>
                  </a:moveTo>
                  <a:cubicBezTo>
                    <a:pt x="379" y="537"/>
                    <a:pt x="1" y="1261"/>
                    <a:pt x="1" y="2143"/>
                  </a:cubicBezTo>
                  <a:lnTo>
                    <a:pt x="1" y="3246"/>
                  </a:lnTo>
                  <a:cubicBezTo>
                    <a:pt x="1" y="3435"/>
                    <a:pt x="158" y="3592"/>
                    <a:pt x="347" y="3592"/>
                  </a:cubicBezTo>
                  <a:lnTo>
                    <a:pt x="5262" y="3592"/>
                  </a:lnTo>
                  <a:cubicBezTo>
                    <a:pt x="5451" y="3592"/>
                    <a:pt x="5609" y="3435"/>
                    <a:pt x="5609" y="3246"/>
                  </a:cubicBezTo>
                  <a:lnTo>
                    <a:pt x="5609" y="2143"/>
                  </a:lnTo>
                  <a:cubicBezTo>
                    <a:pt x="5577" y="1261"/>
                    <a:pt x="5199" y="537"/>
                    <a:pt x="4569" y="1"/>
                  </a:cubicBezTo>
                  <a:cubicBezTo>
                    <a:pt x="4128" y="474"/>
                    <a:pt x="3498" y="757"/>
                    <a:pt x="2773" y="757"/>
                  </a:cubicBezTo>
                  <a:cubicBezTo>
                    <a:pt x="2080" y="757"/>
                    <a:pt x="1450" y="474"/>
                    <a:pt x="1009" y="1"/>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553" name="Google Shape;10468;p74"/>
          <p:cNvGrpSpPr/>
          <p:nvPr/>
        </p:nvGrpSpPr>
        <p:grpSpPr>
          <a:xfrm>
            <a:off x="6024696" y="4673720"/>
            <a:ext cx="482825" cy="513201"/>
            <a:chOff x="3859600" y="3591950"/>
            <a:chExt cx="296975" cy="296175"/>
          </a:xfrm>
          <a:solidFill>
            <a:srgbClr val="00677F"/>
          </a:solidFill>
        </p:grpSpPr>
        <p:sp>
          <p:nvSpPr>
            <p:cNvPr id="554" name="Google Shape;10469;p74"/>
            <p:cNvSpPr/>
            <p:nvPr/>
          </p:nvSpPr>
          <p:spPr>
            <a:xfrm>
              <a:off x="4034450" y="3766000"/>
              <a:ext cx="122125" cy="122125"/>
            </a:xfrm>
            <a:custGeom>
              <a:rect l="l" t="t" r="r" b="b"/>
              <a:pathLst>
                <a:path w="4885" h="4885" extrusionOk="0">
                  <a:moveTo>
                    <a:pt x="2395" y="1324"/>
                  </a:moveTo>
                  <a:cubicBezTo>
                    <a:pt x="2616" y="1324"/>
                    <a:pt x="2773" y="1482"/>
                    <a:pt x="2773" y="1702"/>
                  </a:cubicBezTo>
                  <a:lnTo>
                    <a:pt x="2773" y="2049"/>
                  </a:lnTo>
                  <a:lnTo>
                    <a:pt x="3120" y="2049"/>
                  </a:lnTo>
                  <a:cubicBezTo>
                    <a:pt x="3309" y="2049"/>
                    <a:pt x="3466" y="2206"/>
                    <a:pt x="3466" y="2395"/>
                  </a:cubicBezTo>
                  <a:cubicBezTo>
                    <a:pt x="3466" y="2584"/>
                    <a:pt x="3309" y="2742"/>
                    <a:pt x="3120" y="2742"/>
                  </a:cubicBezTo>
                  <a:lnTo>
                    <a:pt x="2395" y="2742"/>
                  </a:lnTo>
                  <a:cubicBezTo>
                    <a:pt x="2206" y="2742"/>
                    <a:pt x="2049" y="2584"/>
                    <a:pt x="2049" y="2395"/>
                  </a:cubicBezTo>
                  <a:lnTo>
                    <a:pt x="2049" y="1702"/>
                  </a:lnTo>
                  <a:cubicBezTo>
                    <a:pt x="2049" y="1482"/>
                    <a:pt x="2206" y="1324"/>
                    <a:pt x="2395" y="1324"/>
                  </a:cubicBezTo>
                  <a:close/>
                  <a:moveTo>
                    <a:pt x="2458" y="1"/>
                  </a:moveTo>
                  <a:cubicBezTo>
                    <a:pt x="1104" y="1"/>
                    <a:pt x="1" y="1103"/>
                    <a:pt x="1" y="2427"/>
                  </a:cubicBezTo>
                  <a:cubicBezTo>
                    <a:pt x="1" y="3781"/>
                    <a:pt x="1104" y="4884"/>
                    <a:pt x="2458" y="4884"/>
                  </a:cubicBezTo>
                  <a:cubicBezTo>
                    <a:pt x="3782" y="4884"/>
                    <a:pt x="4884" y="3781"/>
                    <a:pt x="4884" y="2427"/>
                  </a:cubicBezTo>
                  <a:cubicBezTo>
                    <a:pt x="4853" y="1072"/>
                    <a:pt x="3782" y="1"/>
                    <a:pt x="2458" y="1"/>
                  </a:cubicBezTo>
                  <a:close/>
                </a:path>
              </a:pathLst>
            </a:custGeom>
            <a:grpFill/>
            <a:ln>
              <a:noFill/>
            </a:ln>
          </p:spPr>
          <p:txBody>
            <a:bodyPr spcFirstLastPara="1" wrap="square" lIns="91417" tIns="91417" rIns="91417" bIns="91417" anchor="ctr" anchorCtr="0">
              <a:noAutofit/>
            </a:bodyPr>
            <a:lstStyle/>
            <a:p>
              <a:endParaRPr sz="1400"/>
            </a:p>
          </p:txBody>
        </p:sp>
        <p:sp>
          <p:nvSpPr>
            <p:cNvPr id="555" name="Google Shape;10470;p74"/>
            <p:cNvSpPr/>
            <p:nvPr/>
          </p:nvSpPr>
          <p:spPr>
            <a:xfrm>
              <a:off x="3860400" y="3679375"/>
              <a:ext cx="260725" cy="173300"/>
            </a:xfrm>
            <a:custGeom>
              <a:rect l="l" t="t" r="r" b="b"/>
              <a:pathLst>
                <a:path w="10429" h="6932" extrusionOk="0">
                  <a:moveTo>
                    <a:pt x="2426" y="662"/>
                  </a:moveTo>
                  <a:cubicBezTo>
                    <a:pt x="2647" y="662"/>
                    <a:pt x="2804" y="819"/>
                    <a:pt x="2804" y="1008"/>
                  </a:cubicBezTo>
                  <a:cubicBezTo>
                    <a:pt x="2804" y="1197"/>
                    <a:pt x="2647" y="1355"/>
                    <a:pt x="2426" y="1355"/>
                  </a:cubicBezTo>
                  <a:lnTo>
                    <a:pt x="1733" y="1355"/>
                  </a:lnTo>
                  <a:cubicBezTo>
                    <a:pt x="1544" y="1355"/>
                    <a:pt x="1387" y="1197"/>
                    <a:pt x="1387" y="1008"/>
                  </a:cubicBezTo>
                  <a:cubicBezTo>
                    <a:pt x="1387" y="819"/>
                    <a:pt x="1544" y="662"/>
                    <a:pt x="1733" y="662"/>
                  </a:cubicBezTo>
                  <a:close/>
                  <a:moveTo>
                    <a:pt x="4537" y="662"/>
                  </a:moveTo>
                  <a:cubicBezTo>
                    <a:pt x="4726" y="662"/>
                    <a:pt x="4884" y="819"/>
                    <a:pt x="4884" y="1008"/>
                  </a:cubicBezTo>
                  <a:cubicBezTo>
                    <a:pt x="4884" y="1197"/>
                    <a:pt x="4695" y="1355"/>
                    <a:pt x="4537" y="1355"/>
                  </a:cubicBezTo>
                  <a:lnTo>
                    <a:pt x="3812" y="1355"/>
                  </a:lnTo>
                  <a:cubicBezTo>
                    <a:pt x="3623" y="1355"/>
                    <a:pt x="3466" y="1197"/>
                    <a:pt x="3466" y="1008"/>
                  </a:cubicBezTo>
                  <a:cubicBezTo>
                    <a:pt x="3466" y="819"/>
                    <a:pt x="3623" y="662"/>
                    <a:pt x="3812" y="662"/>
                  </a:cubicBezTo>
                  <a:close/>
                  <a:moveTo>
                    <a:pt x="6648" y="662"/>
                  </a:moveTo>
                  <a:cubicBezTo>
                    <a:pt x="6837" y="662"/>
                    <a:pt x="6994" y="819"/>
                    <a:pt x="6994" y="1008"/>
                  </a:cubicBezTo>
                  <a:cubicBezTo>
                    <a:pt x="6994" y="1197"/>
                    <a:pt x="6837" y="1355"/>
                    <a:pt x="6648" y="1355"/>
                  </a:cubicBezTo>
                  <a:lnTo>
                    <a:pt x="5955" y="1355"/>
                  </a:lnTo>
                  <a:cubicBezTo>
                    <a:pt x="5734" y="1355"/>
                    <a:pt x="5577" y="1197"/>
                    <a:pt x="5577" y="1008"/>
                  </a:cubicBezTo>
                  <a:cubicBezTo>
                    <a:pt x="5577" y="819"/>
                    <a:pt x="5734" y="662"/>
                    <a:pt x="5955" y="662"/>
                  </a:cubicBezTo>
                  <a:close/>
                  <a:moveTo>
                    <a:pt x="8727" y="662"/>
                  </a:moveTo>
                  <a:cubicBezTo>
                    <a:pt x="8948" y="662"/>
                    <a:pt x="9105" y="819"/>
                    <a:pt x="9105" y="1008"/>
                  </a:cubicBezTo>
                  <a:cubicBezTo>
                    <a:pt x="9105" y="1197"/>
                    <a:pt x="8948" y="1355"/>
                    <a:pt x="8727" y="1355"/>
                  </a:cubicBezTo>
                  <a:lnTo>
                    <a:pt x="8034" y="1355"/>
                  </a:lnTo>
                  <a:cubicBezTo>
                    <a:pt x="7845" y="1355"/>
                    <a:pt x="7688" y="1197"/>
                    <a:pt x="7688" y="1008"/>
                  </a:cubicBezTo>
                  <a:cubicBezTo>
                    <a:pt x="7688" y="819"/>
                    <a:pt x="7845" y="662"/>
                    <a:pt x="8034" y="662"/>
                  </a:cubicBezTo>
                  <a:close/>
                  <a:moveTo>
                    <a:pt x="2426" y="2080"/>
                  </a:moveTo>
                  <a:cubicBezTo>
                    <a:pt x="2647" y="2080"/>
                    <a:pt x="2804" y="2237"/>
                    <a:pt x="2804" y="2426"/>
                  </a:cubicBezTo>
                  <a:cubicBezTo>
                    <a:pt x="2804" y="2647"/>
                    <a:pt x="2647" y="2773"/>
                    <a:pt x="2426" y="2773"/>
                  </a:cubicBezTo>
                  <a:lnTo>
                    <a:pt x="1733" y="2773"/>
                  </a:lnTo>
                  <a:cubicBezTo>
                    <a:pt x="1544" y="2773"/>
                    <a:pt x="1387" y="2647"/>
                    <a:pt x="1387" y="2426"/>
                  </a:cubicBezTo>
                  <a:cubicBezTo>
                    <a:pt x="1387" y="2206"/>
                    <a:pt x="1544" y="2080"/>
                    <a:pt x="1733" y="2080"/>
                  </a:cubicBezTo>
                  <a:close/>
                  <a:moveTo>
                    <a:pt x="4537" y="2080"/>
                  </a:moveTo>
                  <a:cubicBezTo>
                    <a:pt x="4726" y="2080"/>
                    <a:pt x="4884" y="2237"/>
                    <a:pt x="4884" y="2426"/>
                  </a:cubicBezTo>
                  <a:cubicBezTo>
                    <a:pt x="4884" y="2647"/>
                    <a:pt x="4695" y="2773"/>
                    <a:pt x="4537" y="2773"/>
                  </a:cubicBezTo>
                  <a:lnTo>
                    <a:pt x="3812" y="2773"/>
                  </a:lnTo>
                  <a:cubicBezTo>
                    <a:pt x="3623" y="2773"/>
                    <a:pt x="3466" y="2647"/>
                    <a:pt x="3466" y="2426"/>
                  </a:cubicBezTo>
                  <a:cubicBezTo>
                    <a:pt x="3466" y="2206"/>
                    <a:pt x="3623" y="2080"/>
                    <a:pt x="3812" y="2080"/>
                  </a:cubicBezTo>
                  <a:close/>
                  <a:moveTo>
                    <a:pt x="6648" y="2080"/>
                  </a:moveTo>
                  <a:cubicBezTo>
                    <a:pt x="6837" y="2080"/>
                    <a:pt x="6994" y="2237"/>
                    <a:pt x="6994" y="2426"/>
                  </a:cubicBezTo>
                  <a:cubicBezTo>
                    <a:pt x="6994" y="2647"/>
                    <a:pt x="6837" y="2773"/>
                    <a:pt x="6648" y="2773"/>
                  </a:cubicBezTo>
                  <a:lnTo>
                    <a:pt x="5955" y="2773"/>
                  </a:lnTo>
                  <a:cubicBezTo>
                    <a:pt x="5734" y="2773"/>
                    <a:pt x="5577" y="2647"/>
                    <a:pt x="5577" y="2426"/>
                  </a:cubicBezTo>
                  <a:cubicBezTo>
                    <a:pt x="5577" y="2206"/>
                    <a:pt x="5734" y="2080"/>
                    <a:pt x="5955" y="2080"/>
                  </a:cubicBezTo>
                  <a:close/>
                  <a:moveTo>
                    <a:pt x="8727" y="2080"/>
                  </a:moveTo>
                  <a:cubicBezTo>
                    <a:pt x="8948" y="2080"/>
                    <a:pt x="9105" y="2237"/>
                    <a:pt x="9105" y="2426"/>
                  </a:cubicBezTo>
                  <a:cubicBezTo>
                    <a:pt x="9105" y="2647"/>
                    <a:pt x="8948" y="2773"/>
                    <a:pt x="8727" y="2773"/>
                  </a:cubicBezTo>
                  <a:lnTo>
                    <a:pt x="8034" y="2773"/>
                  </a:lnTo>
                  <a:cubicBezTo>
                    <a:pt x="7845" y="2773"/>
                    <a:pt x="7688" y="2647"/>
                    <a:pt x="7688" y="2426"/>
                  </a:cubicBezTo>
                  <a:cubicBezTo>
                    <a:pt x="7688" y="2206"/>
                    <a:pt x="7845" y="2080"/>
                    <a:pt x="8034" y="2080"/>
                  </a:cubicBezTo>
                  <a:close/>
                  <a:moveTo>
                    <a:pt x="2426" y="3466"/>
                  </a:moveTo>
                  <a:cubicBezTo>
                    <a:pt x="2647" y="3466"/>
                    <a:pt x="2804" y="3623"/>
                    <a:pt x="2804" y="3812"/>
                  </a:cubicBezTo>
                  <a:cubicBezTo>
                    <a:pt x="2804" y="4001"/>
                    <a:pt x="2647" y="4159"/>
                    <a:pt x="2426" y="4159"/>
                  </a:cubicBezTo>
                  <a:lnTo>
                    <a:pt x="1733" y="4159"/>
                  </a:lnTo>
                  <a:cubicBezTo>
                    <a:pt x="1544" y="4159"/>
                    <a:pt x="1387" y="4001"/>
                    <a:pt x="1387" y="3812"/>
                  </a:cubicBezTo>
                  <a:cubicBezTo>
                    <a:pt x="1387" y="3623"/>
                    <a:pt x="1544" y="3466"/>
                    <a:pt x="1733" y="3466"/>
                  </a:cubicBezTo>
                  <a:close/>
                  <a:moveTo>
                    <a:pt x="4537" y="3466"/>
                  </a:moveTo>
                  <a:cubicBezTo>
                    <a:pt x="4726" y="3466"/>
                    <a:pt x="4884" y="3623"/>
                    <a:pt x="4884" y="3812"/>
                  </a:cubicBezTo>
                  <a:cubicBezTo>
                    <a:pt x="4884" y="4001"/>
                    <a:pt x="4695" y="4159"/>
                    <a:pt x="4537" y="4159"/>
                  </a:cubicBezTo>
                  <a:lnTo>
                    <a:pt x="3812" y="4159"/>
                  </a:lnTo>
                  <a:cubicBezTo>
                    <a:pt x="3623" y="4159"/>
                    <a:pt x="3466" y="4001"/>
                    <a:pt x="3466" y="3812"/>
                  </a:cubicBezTo>
                  <a:cubicBezTo>
                    <a:pt x="3466" y="3623"/>
                    <a:pt x="3623" y="3466"/>
                    <a:pt x="3812" y="3466"/>
                  </a:cubicBezTo>
                  <a:close/>
                  <a:moveTo>
                    <a:pt x="6648" y="3466"/>
                  </a:moveTo>
                  <a:cubicBezTo>
                    <a:pt x="6837" y="3466"/>
                    <a:pt x="6994" y="3623"/>
                    <a:pt x="6994" y="3812"/>
                  </a:cubicBezTo>
                  <a:cubicBezTo>
                    <a:pt x="6994" y="4001"/>
                    <a:pt x="6837" y="4159"/>
                    <a:pt x="6648" y="4159"/>
                  </a:cubicBezTo>
                  <a:lnTo>
                    <a:pt x="5955" y="4159"/>
                  </a:lnTo>
                  <a:cubicBezTo>
                    <a:pt x="5734" y="4159"/>
                    <a:pt x="5577" y="4001"/>
                    <a:pt x="5577" y="3812"/>
                  </a:cubicBezTo>
                  <a:cubicBezTo>
                    <a:pt x="5577" y="3623"/>
                    <a:pt x="5734" y="3466"/>
                    <a:pt x="5955" y="3466"/>
                  </a:cubicBezTo>
                  <a:close/>
                  <a:moveTo>
                    <a:pt x="2426" y="4852"/>
                  </a:moveTo>
                  <a:cubicBezTo>
                    <a:pt x="2647" y="4852"/>
                    <a:pt x="2804" y="5010"/>
                    <a:pt x="2804" y="5199"/>
                  </a:cubicBezTo>
                  <a:cubicBezTo>
                    <a:pt x="2804" y="5388"/>
                    <a:pt x="2647" y="5545"/>
                    <a:pt x="2426" y="5545"/>
                  </a:cubicBezTo>
                  <a:lnTo>
                    <a:pt x="1733" y="5545"/>
                  </a:lnTo>
                  <a:cubicBezTo>
                    <a:pt x="1544" y="5545"/>
                    <a:pt x="1387" y="5388"/>
                    <a:pt x="1387" y="5199"/>
                  </a:cubicBezTo>
                  <a:cubicBezTo>
                    <a:pt x="1387" y="5010"/>
                    <a:pt x="1544" y="4852"/>
                    <a:pt x="1733" y="4852"/>
                  </a:cubicBezTo>
                  <a:close/>
                  <a:moveTo>
                    <a:pt x="4537" y="4852"/>
                  </a:moveTo>
                  <a:cubicBezTo>
                    <a:pt x="4726" y="4852"/>
                    <a:pt x="4884" y="5010"/>
                    <a:pt x="4884" y="5199"/>
                  </a:cubicBezTo>
                  <a:cubicBezTo>
                    <a:pt x="4884" y="5388"/>
                    <a:pt x="4695" y="5545"/>
                    <a:pt x="4537" y="5545"/>
                  </a:cubicBezTo>
                  <a:lnTo>
                    <a:pt x="3812" y="5545"/>
                  </a:lnTo>
                  <a:cubicBezTo>
                    <a:pt x="3623" y="5545"/>
                    <a:pt x="3466" y="5388"/>
                    <a:pt x="3466" y="5199"/>
                  </a:cubicBezTo>
                  <a:cubicBezTo>
                    <a:pt x="3466" y="5010"/>
                    <a:pt x="3623" y="4852"/>
                    <a:pt x="3812" y="4852"/>
                  </a:cubicBezTo>
                  <a:close/>
                  <a:moveTo>
                    <a:pt x="0" y="0"/>
                  </a:moveTo>
                  <a:lnTo>
                    <a:pt x="0" y="5892"/>
                  </a:lnTo>
                  <a:cubicBezTo>
                    <a:pt x="0" y="6459"/>
                    <a:pt x="473" y="6931"/>
                    <a:pt x="1071" y="6931"/>
                  </a:cubicBezTo>
                  <a:lnTo>
                    <a:pt x="6490" y="6931"/>
                  </a:lnTo>
                  <a:cubicBezTo>
                    <a:pt x="6364" y="6616"/>
                    <a:pt x="6301" y="6270"/>
                    <a:pt x="6301" y="5892"/>
                  </a:cubicBezTo>
                  <a:cubicBezTo>
                    <a:pt x="6301" y="5797"/>
                    <a:pt x="6333" y="5671"/>
                    <a:pt x="6333" y="5545"/>
                  </a:cubicBezTo>
                  <a:lnTo>
                    <a:pt x="5955" y="5545"/>
                  </a:lnTo>
                  <a:cubicBezTo>
                    <a:pt x="5734" y="5545"/>
                    <a:pt x="5577" y="5388"/>
                    <a:pt x="5577" y="5199"/>
                  </a:cubicBezTo>
                  <a:cubicBezTo>
                    <a:pt x="5577" y="5010"/>
                    <a:pt x="5734" y="4852"/>
                    <a:pt x="5955" y="4852"/>
                  </a:cubicBezTo>
                  <a:lnTo>
                    <a:pt x="6490" y="4852"/>
                  </a:lnTo>
                  <a:cubicBezTo>
                    <a:pt x="6931" y="3623"/>
                    <a:pt x="8066" y="2741"/>
                    <a:pt x="9420" y="2741"/>
                  </a:cubicBezTo>
                  <a:cubicBezTo>
                    <a:pt x="9767" y="2741"/>
                    <a:pt x="10113" y="2836"/>
                    <a:pt x="10428" y="2962"/>
                  </a:cubicBezTo>
                  <a:lnTo>
                    <a:pt x="10428" y="0"/>
                  </a:lnTo>
                  <a:close/>
                </a:path>
              </a:pathLst>
            </a:custGeom>
            <a:grpFill/>
            <a:ln>
              <a:noFill/>
            </a:ln>
          </p:spPr>
          <p:txBody>
            <a:bodyPr spcFirstLastPara="1" wrap="square" lIns="91417" tIns="91417" rIns="91417" bIns="91417" anchor="ctr" anchorCtr="0">
              <a:noAutofit/>
            </a:bodyPr>
            <a:lstStyle/>
            <a:p>
              <a:endParaRPr sz="1400"/>
            </a:p>
          </p:txBody>
        </p:sp>
        <p:sp>
          <p:nvSpPr>
            <p:cNvPr id="556" name="Google Shape;10471;p74"/>
            <p:cNvSpPr/>
            <p:nvPr/>
          </p:nvSpPr>
          <p:spPr>
            <a:xfrm>
              <a:off x="3859600" y="3591950"/>
              <a:ext cx="261525" cy="70900"/>
            </a:xfrm>
            <a:custGeom>
              <a:rect l="l" t="t" r="r" b="b"/>
              <a:pathLst>
                <a:path w="10461" h="2836" extrusionOk="0">
                  <a:moveTo>
                    <a:pt x="1734" y="0"/>
                  </a:moveTo>
                  <a:cubicBezTo>
                    <a:pt x="1513" y="0"/>
                    <a:pt x="1356" y="158"/>
                    <a:pt x="1356" y="347"/>
                  </a:cubicBezTo>
                  <a:lnTo>
                    <a:pt x="1356" y="693"/>
                  </a:lnTo>
                  <a:lnTo>
                    <a:pt x="1009" y="693"/>
                  </a:lnTo>
                  <a:cubicBezTo>
                    <a:pt x="410" y="693"/>
                    <a:pt x="1" y="1166"/>
                    <a:pt x="1" y="1733"/>
                  </a:cubicBezTo>
                  <a:lnTo>
                    <a:pt x="1" y="2836"/>
                  </a:lnTo>
                  <a:lnTo>
                    <a:pt x="10429" y="2836"/>
                  </a:lnTo>
                  <a:lnTo>
                    <a:pt x="10429" y="1733"/>
                  </a:lnTo>
                  <a:lnTo>
                    <a:pt x="10460" y="1733"/>
                  </a:lnTo>
                  <a:cubicBezTo>
                    <a:pt x="10460" y="1134"/>
                    <a:pt x="9988" y="693"/>
                    <a:pt x="9421" y="693"/>
                  </a:cubicBezTo>
                  <a:lnTo>
                    <a:pt x="9074" y="693"/>
                  </a:lnTo>
                  <a:lnTo>
                    <a:pt x="9074" y="347"/>
                  </a:lnTo>
                  <a:cubicBezTo>
                    <a:pt x="9074" y="158"/>
                    <a:pt x="8917" y="0"/>
                    <a:pt x="8728" y="0"/>
                  </a:cubicBezTo>
                  <a:cubicBezTo>
                    <a:pt x="8539" y="0"/>
                    <a:pt x="8381" y="158"/>
                    <a:pt x="8381" y="347"/>
                  </a:cubicBezTo>
                  <a:lnTo>
                    <a:pt x="8381" y="693"/>
                  </a:lnTo>
                  <a:lnTo>
                    <a:pt x="6995" y="693"/>
                  </a:lnTo>
                  <a:lnTo>
                    <a:pt x="6995" y="347"/>
                  </a:lnTo>
                  <a:cubicBezTo>
                    <a:pt x="6995" y="158"/>
                    <a:pt x="6837" y="0"/>
                    <a:pt x="6648" y="0"/>
                  </a:cubicBezTo>
                  <a:cubicBezTo>
                    <a:pt x="6459" y="0"/>
                    <a:pt x="6302" y="158"/>
                    <a:pt x="6302" y="347"/>
                  </a:cubicBezTo>
                  <a:lnTo>
                    <a:pt x="6302" y="693"/>
                  </a:lnTo>
                  <a:lnTo>
                    <a:pt x="4159" y="693"/>
                  </a:lnTo>
                  <a:lnTo>
                    <a:pt x="4159" y="347"/>
                  </a:lnTo>
                  <a:cubicBezTo>
                    <a:pt x="4159" y="158"/>
                    <a:pt x="4002" y="0"/>
                    <a:pt x="3813" y="0"/>
                  </a:cubicBezTo>
                  <a:cubicBezTo>
                    <a:pt x="3624" y="0"/>
                    <a:pt x="3466" y="158"/>
                    <a:pt x="3466" y="347"/>
                  </a:cubicBezTo>
                  <a:lnTo>
                    <a:pt x="3466" y="693"/>
                  </a:lnTo>
                  <a:lnTo>
                    <a:pt x="2080" y="693"/>
                  </a:lnTo>
                  <a:lnTo>
                    <a:pt x="2080" y="347"/>
                  </a:lnTo>
                  <a:cubicBezTo>
                    <a:pt x="2080" y="158"/>
                    <a:pt x="1923" y="0"/>
                    <a:pt x="1734" y="0"/>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568" name="Google Shape;10483;p74"/>
          <p:cNvGrpSpPr/>
          <p:nvPr/>
        </p:nvGrpSpPr>
        <p:grpSpPr>
          <a:xfrm>
            <a:off x="10481628" y="4540277"/>
            <a:ext cx="453357" cy="480451"/>
            <a:chOff x="5727850" y="3609275"/>
            <a:chExt cx="278850" cy="277275"/>
          </a:xfrm>
          <a:solidFill>
            <a:srgbClr val="00677F"/>
          </a:solidFill>
        </p:grpSpPr>
        <p:sp>
          <p:nvSpPr>
            <p:cNvPr id="569" name="Google Shape;10484;p74"/>
            <p:cNvSpPr/>
            <p:nvPr/>
          </p:nvSpPr>
          <p:spPr>
            <a:xfrm>
              <a:off x="5884600" y="3765225"/>
              <a:ext cx="122100" cy="121325"/>
            </a:xfrm>
            <a:custGeom>
              <a:rect l="l" t="t" r="r" b="b"/>
              <a:pathLst>
                <a:path w="4884" h="4853" extrusionOk="0">
                  <a:moveTo>
                    <a:pt x="2426" y="662"/>
                  </a:moveTo>
                  <a:cubicBezTo>
                    <a:pt x="2646" y="662"/>
                    <a:pt x="2804" y="819"/>
                    <a:pt x="2804" y="1008"/>
                  </a:cubicBezTo>
                  <a:cubicBezTo>
                    <a:pt x="2804" y="1197"/>
                    <a:pt x="2646" y="1355"/>
                    <a:pt x="2426" y="1355"/>
                  </a:cubicBezTo>
                  <a:cubicBezTo>
                    <a:pt x="2237" y="1355"/>
                    <a:pt x="2079" y="1197"/>
                    <a:pt x="2079" y="1008"/>
                  </a:cubicBezTo>
                  <a:cubicBezTo>
                    <a:pt x="2079" y="819"/>
                    <a:pt x="2237" y="662"/>
                    <a:pt x="2426" y="662"/>
                  </a:cubicBezTo>
                  <a:close/>
                  <a:moveTo>
                    <a:pt x="2426" y="1670"/>
                  </a:moveTo>
                  <a:cubicBezTo>
                    <a:pt x="2646" y="1670"/>
                    <a:pt x="2804" y="1828"/>
                    <a:pt x="2804" y="2048"/>
                  </a:cubicBezTo>
                  <a:lnTo>
                    <a:pt x="2804" y="3781"/>
                  </a:lnTo>
                  <a:cubicBezTo>
                    <a:pt x="2804" y="3970"/>
                    <a:pt x="2646" y="4127"/>
                    <a:pt x="2426" y="4127"/>
                  </a:cubicBezTo>
                  <a:cubicBezTo>
                    <a:pt x="2237" y="4127"/>
                    <a:pt x="2079" y="3970"/>
                    <a:pt x="2079" y="3781"/>
                  </a:cubicBezTo>
                  <a:lnTo>
                    <a:pt x="2079" y="2048"/>
                  </a:lnTo>
                  <a:cubicBezTo>
                    <a:pt x="2079" y="1828"/>
                    <a:pt x="2237" y="1670"/>
                    <a:pt x="2426" y="1670"/>
                  </a:cubicBezTo>
                  <a:close/>
                  <a:moveTo>
                    <a:pt x="2426" y="0"/>
                  </a:moveTo>
                  <a:cubicBezTo>
                    <a:pt x="1103" y="0"/>
                    <a:pt x="0" y="1103"/>
                    <a:pt x="0" y="2426"/>
                  </a:cubicBezTo>
                  <a:cubicBezTo>
                    <a:pt x="0" y="3749"/>
                    <a:pt x="1103" y="4852"/>
                    <a:pt x="2426" y="4852"/>
                  </a:cubicBezTo>
                  <a:cubicBezTo>
                    <a:pt x="3781" y="4852"/>
                    <a:pt x="4883" y="3749"/>
                    <a:pt x="4883" y="2426"/>
                  </a:cubicBezTo>
                  <a:cubicBezTo>
                    <a:pt x="4883" y="1040"/>
                    <a:pt x="3781" y="0"/>
                    <a:pt x="2426" y="0"/>
                  </a:cubicBezTo>
                  <a:close/>
                </a:path>
              </a:pathLst>
            </a:custGeom>
            <a:grpFill/>
            <a:ln>
              <a:noFill/>
            </a:ln>
          </p:spPr>
          <p:txBody>
            <a:bodyPr spcFirstLastPara="1" wrap="square" lIns="91417" tIns="91417" rIns="91417" bIns="91417" anchor="ctr" anchorCtr="0">
              <a:noAutofit/>
            </a:bodyPr>
            <a:lstStyle/>
            <a:p>
              <a:endParaRPr sz="1400"/>
            </a:p>
          </p:txBody>
        </p:sp>
        <p:sp>
          <p:nvSpPr>
            <p:cNvPr id="570" name="Google Shape;10485;p74"/>
            <p:cNvSpPr/>
            <p:nvPr/>
          </p:nvSpPr>
          <p:spPr>
            <a:xfrm>
              <a:off x="5727850" y="3669125"/>
              <a:ext cx="35475" cy="216625"/>
            </a:xfrm>
            <a:custGeom>
              <a:rect l="l" t="t" r="r" b="b"/>
              <a:pathLst>
                <a:path w="1419" h="8665" extrusionOk="0">
                  <a:moveTo>
                    <a:pt x="32" y="1"/>
                  </a:moveTo>
                  <a:lnTo>
                    <a:pt x="32" y="7310"/>
                  </a:lnTo>
                  <a:cubicBezTo>
                    <a:pt x="1" y="8034"/>
                    <a:pt x="631" y="8665"/>
                    <a:pt x="1418" y="8665"/>
                  </a:cubicBezTo>
                  <a:lnTo>
                    <a:pt x="1418" y="347"/>
                  </a:lnTo>
                  <a:lnTo>
                    <a:pt x="1072" y="347"/>
                  </a:lnTo>
                  <a:cubicBezTo>
                    <a:pt x="662" y="347"/>
                    <a:pt x="316" y="253"/>
                    <a:pt x="32" y="1"/>
                  </a:cubicBezTo>
                  <a:close/>
                </a:path>
              </a:pathLst>
            </a:custGeom>
            <a:grpFill/>
            <a:ln>
              <a:noFill/>
            </a:ln>
          </p:spPr>
          <p:txBody>
            <a:bodyPr spcFirstLastPara="1" wrap="square" lIns="91417" tIns="91417" rIns="91417" bIns="91417" anchor="ctr" anchorCtr="0">
              <a:noAutofit/>
            </a:bodyPr>
            <a:lstStyle/>
            <a:p>
              <a:endParaRPr sz="1400"/>
            </a:p>
          </p:txBody>
        </p:sp>
        <p:sp>
          <p:nvSpPr>
            <p:cNvPr id="571" name="Google Shape;10486;p74"/>
            <p:cNvSpPr/>
            <p:nvPr/>
          </p:nvSpPr>
          <p:spPr>
            <a:xfrm>
              <a:off x="5779825" y="3677800"/>
              <a:ext cx="174900" cy="207950"/>
            </a:xfrm>
            <a:custGeom>
              <a:rect l="l" t="t" r="r" b="b"/>
              <a:pathLst>
                <a:path w="6996" h="8318" extrusionOk="0">
                  <a:moveTo>
                    <a:pt x="5262" y="693"/>
                  </a:moveTo>
                  <a:cubicBezTo>
                    <a:pt x="5451" y="693"/>
                    <a:pt x="5609" y="851"/>
                    <a:pt x="5609" y="1040"/>
                  </a:cubicBezTo>
                  <a:cubicBezTo>
                    <a:pt x="5609" y="1229"/>
                    <a:pt x="5451" y="1386"/>
                    <a:pt x="5262" y="1386"/>
                  </a:cubicBezTo>
                  <a:lnTo>
                    <a:pt x="1072" y="1386"/>
                  </a:lnTo>
                  <a:cubicBezTo>
                    <a:pt x="883" y="1386"/>
                    <a:pt x="726" y="1229"/>
                    <a:pt x="726" y="1040"/>
                  </a:cubicBezTo>
                  <a:cubicBezTo>
                    <a:pt x="726" y="851"/>
                    <a:pt x="883" y="693"/>
                    <a:pt x="1072" y="693"/>
                  </a:cubicBezTo>
                  <a:close/>
                  <a:moveTo>
                    <a:pt x="5262" y="2080"/>
                  </a:moveTo>
                  <a:cubicBezTo>
                    <a:pt x="5451" y="2080"/>
                    <a:pt x="5609" y="2237"/>
                    <a:pt x="5609" y="2426"/>
                  </a:cubicBezTo>
                  <a:cubicBezTo>
                    <a:pt x="5609" y="2615"/>
                    <a:pt x="5451" y="2773"/>
                    <a:pt x="5262" y="2773"/>
                  </a:cubicBezTo>
                  <a:lnTo>
                    <a:pt x="1072" y="2773"/>
                  </a:lnTo>
                  <a:cubicBezTo>
                    <a:pt x="883" y="2773"/>
                    <a:pt x="726" y="2615"/>
                    <a:pt x="726" y="2426"/>
                  </a:cubicBezTo>
                  <a:cubicBezTo>
                    <a:pt x="726" y="2237"/>
                    <a:pt x="883" y="2080"/>
                    <a:pt x="1072" y="2080"/>
                  </a:cubicBezTo>
                  <a:close/>
                  <a:moveTo>
                    <a:pt x="1" y="0"/>
                  </a:moveTo>
                  <a:lnTo>
                    <a:pt x="1" y="8318"/>
                  </a:lnTo>
                  <a:lnTo>
                    <a:pt x="4695" y="8318"/>
                  </a:lnTo>
                  <a:cubicBezTo>
                    <a:pt x="4002" y="7750"/>
                    <a:pt x="3498" y="6868"/>
                    <a:pt x="3498" y="5892"/>
                  </a:cubicBezTo>
                  <a:cubicBezTo>
                    <a:pt x="3498" y="5766"/>
                    <a:pt x="3561" y="5640"/>
                    <a:pt x="3561" y="5545"/>
                  </a:cubicBezTo>
                  <a:lnTo>
                    <a:pt x="1072" y="5545"/>
                  </a:lnTo>
                  <a:cubicBezTo>
                    <a:pt x="883" y="5545"/>
                    <a:pt x="726" y="5388"/>
                    <a:pt x="726" y="5167"/>
                  </a:cubicBezTo>
                  <a:lnTo>
                    <a:pt x="726" y="3812"/>
                  </a:lnTo>
                  <a:cubicBezTo>
                    <a:pt x="726" y="3592"/>
                    <a:pt x="883" y="3434"/>
                    <a:pt x="1072" y="3434"/>
                  </a:cubicBezTo>
                  <a:lnTo>
                    <a:pt x="4695" y="3434"/>
                  </a:lnTo>
                  <a:cubicBezTo>
                    <a:pt x="5199" y="3056"/>
                    <a:pt x="5861" y="2773"/>
                    <a:pt x="6617" y="2773"/>
                  </a:cubicBezTo>
                  <a:cubicBezTo>
                    <a:pt x="6743" y="2773"/>
                    <a:pt x="6869" y="2804"/>
                    <a:pt x="6995" y="2804"/>
                  </a:cubicBezTo>
                  <a:lnTo>
                    <a:pt x="6995" y="0"/>
                  </a:lnTo>
                  <a:close/>
                </a:path>
              </a:pathLst>
            </a:custGeom>
            <a:grpFill/>
            <a:ln>
              <a:noFill/>
            </a:ln>
          </p:spPr>
          <p:txBody>
            <a:bodyPr spcFirstLastPara="1" wrap="square" lIns="91417" tIns="91417" rIns="91417" bIns="91417" anchor="ctr" anchorCtr="0">
              <a:noAutofit/>
            </a:bodyPr>
            <a:lstStyle/>
            <a:p>
              <a:endParaRPr sz="1400"/>
            </a:p>
          </p:txBody>
        </p:sp>
        <p:sp>
          <p:nvSpPr>
            <p:cNvPr id="572" name="Google Shape;10487;p74"/>
            <p:cNvSpPr/>
            <p:nvPr/>
          </p:nvSpPr>
          <p:spPr>
            <a:xfrm>
              <a:off x="5815275" y="3781750"/>
              <a:ext cx="66200" cy="17350"/>
            </a:xfrm>
            <a:custGeom>
              <a:rect l="l" t="t" r="r" b="b"/>
              <a:pathLst>
                <a:path w="2648" h="694" extrusionOk="0">
                  <a:moveTo>
                    <a:pt x="1" y="1"/>
                  </a:moveTo>
                  <a:lnTo>
                    <a:pt x="1" y="694"/>
                  </a:lnTo>
                  <a:lnTo>
                    <a:pt x="2301" y="694"/>
                  </a:lnTo>
                  <a:cubicBezTo>
                    <a:pt x="2364" y="473"/>
                    <a:pt x="2490" y="221"/>
                    <a:pt x="2647" y="1"/>
                  </a:cubicBezTo>
                  <a:close/>
                </a:path>
              </a:pathLst>
            </a:custGeom>
            <a:grpFill/>
            <a:ln>
              <a:noFill/>
            </a:ln>
          </p:spPr>
          <p:txBody>
            <a:bodyPr spcFirstLastPara="1" wrap="square" lIns="91417" tIns="91417" rIns="91417" bIns="91417" anchor="ctr" anchorCtr="0">
              <a:noAutofit/>
            </a:bodyPr>
            <a:lstStyle/>
            <a:p>
              <a:endParaRPr sz="1400"/>
            </a:p>
          </p:txBody>
        </p:sp>
        <p:sp>
          <p:nvSpPr>
            <p:cNvPr id="573" name="Google Shape;10488;p74"/>
            <p:cNvSpPr/>
            <p:nvPr/>
          </p:nvSpPr>
          <p:spPr>
            <a:xfrm>
              <a:off x="5727850" y="3609275"/>
              <a:ext cx="226075" cy="51225"/>
            </a:xfrm>
            <a:custGeom>
              <a:rect l="l" t="t" r="r" b="b"/>
              <a:pathLst>
                <a:path w="9043" h="2049" extrusionOk="0">
                  <a:moveTo>
                    <a:pt x="1072" y="0"/>
                  </a:moveTo>
                  <a:cubicBezTo>
                    <a:pt x="473" y="0"/>
                    <a:pt x="32" y="473"/>
                    <a:pt x="32" y="1040"/>
                  </a:cubicBezTo>
                  <a:cubicBezTo>
                    <a:pt x="1" y="1576"/>
                    <a:pt x="473" y="2048"/>
                    <a:pt x="1072" y="2048"/>
                  </a:cubicBezTo>
                  <a:lnTo>
                    <a:pt x="9043" y="2048"/>
                  </a:lnTo>
                  <a:cubicBezTo>
                    <a:pt x="8475" y="2048"/>
                    <a:pt x="8034" y="1576"/>
                    <a:pt x="8034" y="1040"/>
                  </a:cubicBezTo>
                  <a:cubicBezTo>
                    <a:pt x="8034" y="441"/>
                    <a:pt x="8507" y="0"/>
                    <a:pt x="9043" y="0"/>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582" name="Google Shape;10497;p74"/>
          <p:cNvGrpSpPr/>
          <p:nvPr/>
        </p:nvGrpSpPr>
        <p:grpSpPr>
          <a:xfrm>
            <a:off x="10373746" y="2606177"/>
            <a:ext cx="630348" cy="670006"/>
            <a:chOff x="6553275" y="3604550"/>
            <a:chExt cx="296975" cy="296175"/>
          </a:xfrm>
          <a:solidFill>
            <a:srgbClr val="00677F"/>
          </a:solidFill>
        </p:grpSpPr>
        <p:sp>
          <p:nvSpPr>
            <p:cNvPr id="583" name="Google Shape;10498;p74"/>
            <p:cNvSpPr/>
            <p:nvPr/>
          </p:nvSpPr>
          <p:spPr>
            <a:xfrm>
              <a:off x="6657250" y="3604550"/>
              <a:ext cx="86650" cy="86650"/>
            </a:xfrm>
            <a:custGeom>
              <a:rect l="l" t="t" r="r" b="b"/>
              <a:pathLst>
                <a:path w="3466" h="3466" extrusionOk="0">
                  <a:moveTo>
                    <a:pt x="1733" y="0"/>
                  </a:moveTo>
                  <a:cubicBezTo>
                    <a:pt x="788" y="0"/>
                    <a:pt x="0" y="788"/>
                    <a:pt x="0" y="1733"/>
                  </a:cubicBezTo>
                  <a:cubicBezTo>
                    <a:pt x="0" y="2678"/>
                    <a:pt x="788" y="3466"/>
                    <a:pt x="1733" y="3466"/>
                  </a:cubicBezTo>
                  <a:cubicBezTo>
                    <a:pt x="2678" y="3466"/>
                    <a:pt x="3466" y="2678"/>
                    <a:pt x="3466" y="1733"/>
                  </a:cubicBezTo>
                  <a:cubicBezTo>
                    <a:pt x="3466" y="788"/>
                    <a:pt x="2678" y="0"/>
                    <a:pt x="1733" y="0"/>
                  </a:cubicBezTo>
                  <a:close/>
                </a:path>
              </a:pathLst>
            </a:custGeom>
            <a:grpFill/>
            <a:ln>
              <a:noFill/>
            </a:ln>
          </p:spPr>
          <p:txBody>
            <a:bodyPr spcFirstLastPara="1" wrap="square" lIns="91417" tIns="91417" rIns="91417" bIns="91417" anchor="ctr" anchorCtr="0">
              <a:noAutofit/>
            </a:bodyPr>
            <a:lstStyle/>
            <a:p>
              <a:endParaRPr sz="1400"/>
            </a:p>
          </p:txBody>
        </p:sp>
        <p:sp>
          <p:nvSpPr>
            <p:cNvPr id="584" name="Google Shape;10499;p74"/>
            <p:cNvSpPr/>
            <p:nvPr/>
          </p:nvSpPr>
          <p:spPr>
            <a:xfrm>
              <a:off x="6553275" y="3777825"/>
              <a:ext cx="296975" cy="122900"/>
            </a:xfrm>
            <a:custGeom>
              <a:rect l="l" t="t" r="r" b="b"/>
              <a:pathLst>
                <a:path w="11879" h="4916" extrusionOk="0">
                  <a:moveTo>
                    <a:pt x="694" y="0"/>
                  </a:moveTo>
                  <a:cubicBezTo>
                    <a:pt x="316" y="0"/>
                    <a:pt x="1" y="315"/>
                    <a:pt x="1" y="693"/>
                  </a:cubicBezTo>
                  <a:cubicBezTo>
                    <a:pt x="1" y="1103"/>
                    <a:pt x="316" y="1418"/>
                    <a:pt x="694" y="1418"/>
                  </a:cubicBezTo>
                  <a:lnTo>
                    <a:pt x="694" y="4569"/>
                  </a:lnTo>
                  <a:cubicBezTo>
                    <a:pt x="694" y="4758"/>
                    <a:pt x="851" y="4915"/>
                    <a:pt x="1040" y="4915"/>
                  </a:cubicBezTo>
                  <a:lnTo>
                    <a:pt x="10807" y="4915"/>
                  </a:lnTo>
                  <a:cubicBezTo>
                    <a:pt x="11028" y="4915"/>
                    <a:pt x="11185" y="4758"/>
                    <a:pt x="11185" y="4569"/>
                  </a:cubicBezTo>
                  <a:lnTo>
                    <a:pt x="11185" y="1418"/>
                  </a:lnTo>
                  <a:cubicBezTo>
                    <a:pt x="11563" y="1418"/>
                    <a:pt x="11878" y="1103"/>
                    <a:pt x="11878" y="693"/>
                  </a:cubicBezTo>
                  <a:cubicBezTo>
                    <a:pt x="11815" y="315"/>
                    <a:pt x="11500" y="0"/>
                    <a:pt x="11122" y="0"/>
                  </a:cubicBezTo>
                  <a:close/>
                </a:path>
              </a:pathLst>
            </a:custGeom>
            <a:grpFill/>
            <a:ln>
              <a:noFill/>
            </a:ln>
          </p:spPr>
          <p:txBody>
            <a:bodyPr spcFirstLastPara="1" wrap="square" lIns="91417" tIns="91417" rIns="91417" bIns="91417" anchor="ctr" anchorCtr="0">
              <a:noAutofit/>
            </a:bodyPr>
            <a:lstStyle/>
            <a:p>
              <a:endParaRPr sz="1400"/>
            </a:p>
          </p:txBody>
        </p:sp>
        <p:sp>
          <p:nvSpPr>
            <p:cNvPr id="585" name="Google Shape;10500;p74"/>
            <p:cNvSpPr/>
            <p:nvPr/>
          </p:nvSpPr>
          <p:spPr>
            <a:xfrm>
              <a:off x="6755700" y="3640000"/>
              <a:ext cx="74850" cy="121300"/>
            </a:xfrm>
            <a:custGeom>
              <a:rect l="l" t="t" r="r" b="b"/>
              <a:pathLst>
                <a:path w="2994" h="4852" extrusionOk="0">
                  <a:moveTo>
                    <a:pt x="190" y="0"/>
                  </a:moveTo>
                  <a:cubicBezTo>
                    <a:pt x="190" y="126"/>
                    <a:pt x="253" y="221"/>
                    <a:pt x="253" y="347"/>
                  </a:cubicBezTo>
                  <a:cubicBezTo>
                    <a:pt x="253" y="693"/>
                    <a:pt x="158" y="1071"/>
                    <a:pt x="1" y="1386"/>
                  </a:cubicBezTo>
                  <a:cubicBezTo>
                    <a:pt x="977" y="2079"/>
                    <a:pt x="1607" y="3182"/>
                    <a:pt x="1607" y="4474"/>
                  </a:cubicBezTo>
                  <a:lnTo>
                    <a:pt x="1607" y="4852"/>
                  </a:lnTo>
                  <a:lnTo>
                    <a:pt x="2994" y="4852"/>
                  </a:lnTo>
                  <a:lnTo>
                    <a:pt x="2489" y="756"/>
                  </a:lnTo>
                  <a:cubicBezTo>
                    <a:pt x="2363" y="315"/>
                    <a:pt x="1922" y="0"/>
                    <a:pt x="1450" y="0"/>
                  </a:cubicBezTo>
                  <a:close/>
                </a:path>
              </a:pathLst>
            </a:custGeom>
            <a:grpFill/>
            <a:ln>
              <a:noFill/>
            </a:ln>
          </p:spPr>
          <p:txBody>
            <a:bodyPr spcFirstLastPara="1" wrap="square" lIns="91417" tIns="91417" rIns="91417" bIns="91417" anchor="ctr" anchorCtr="0">
              <a:noAutofit/>
            </a:bodyPr>
            <a:lstStyle/>
            <a:p>
              <a:endParaRPr sz="1400"/>
            </a:p>
          </p:txBody>
        </p:sp>
        <p:sp>
          <p:nvSpPr>
            <p:cNvPr id="586" name="Google Shape;10501;p74"/>
            <p:cNvSpPr/>
            <p:nvPr/>
          </p:nvSpPr>
          <p:spPr>
            <a:xfrm>
              <a:off x="6570600" y="3640000"/>
              <a:ext cx="74850" cy="121300"/>
            </a:xfrm>
            <a:custGeom>
              <a:rect l="l" t="t" r="r" b="b"/>
              <a:pathLst>
                <a:path w="2994" h="4852" extrusionOk="0">
                  <a:moveTo>
                    <a:pt x="1545" y="0"/>
                  </a:moveTo>
                  <a:cubicBezTo>
                    <a:pt x="1072" y="0"/>
                    <a:pt x="663" y="315"/>
                    <a:pt x="505" y="788"/>
                  </a:cubicBezTo>
                  <a:lnTo>
                    <a:pt x="1" y="4852"/>
                  </a:lnTo>
                  <a:lnTo>
                    <a:pt x="1356" y="4852"/>
                  </a:lnTo>
                  <a:lnTo>
                    <a:pt x="1356" y="4474"/>
                  </a:lnTo>
                  <a:lnTo>
                    <a:pt x="1387" y="4474"/>
                  </a:lnTo>
                  <a:cubicBezTo>
                    <a:pt x="1387" y="3182"/>
                    <a:pt x="2017" y="2048"/>
                    <a:pt x="2994" y="1386"/>
                  </a:cubicBezTo>
                  <a:cubicBezTo>
                    <a:pt x="2836" y="1071"/>
                    <a:pt x="2773" y="693"/>
                    <a:pt x="2773" y="347"/>
                  </a:cubicBezTo>
                  <a:cubicBezTo>
                    <a:pt x="2773" y="221"/>
                    <a:pt x="2773" y="95"/>
                    <a:pt x="2805" y="0"/>
                  </a:cubicBezTo>
                  <a:close/>
                </a:path>
              </a:pathLst>
            </a:custGeom>
            <a:grpFill/>
            <a:ln>
              <a:noFill/>
            </a:ln>
          </p:spPr>
          <p:txBody>
            <a:bodyPr spcFirstLastPara="1" wrap="square" lIns="91417" tIns="91417" rIns="91417" bIns="91417" anchor="ctr" anchorCtr="0">
              <a:noAutofit/>
            </a:bodyPr>
            <a:lstStyle/>
            <a:p>
              <a:endParaRPr sz="1400"/>
            </a:p>
          </p:txBody>
        </p:sp>
        <p:sp>
          <p:nvSpPr>
            <p:cNvPr id="587" name="Google Shape;10502;p74"/>
            <p:cNvSpPr/>
            <p:nvPr/>
          </p:nvSpPr>
          <p:spPr>
            <a:xfrm>
              <a:off x="6707650" y="3688025"/>
              <a:ext cx="70925" cy="70925"/>
            </a:xfrm>
            <a:custGeom>
              <a:rect l="l" t="t" r="r" b="b"/>
              <a:pathLst>
                <a:path w="2837" h="2837" extrusionOk="0">
                  <a:moveTo>
                    <a:pt x="1482" y="1"/>
                  </a:moveTo>
                  <a:cubicBezTo>
                    <a:pt x="1450" y="32"/>
                    <a:pt x="1418" y="64"/>
                    <a:pt x="1324" y="127"/>
                  </a:cubicBezTo>
                  <a:cubicBezTo>
                    <a:pt x="1324" y="190"/>
                    <a:pt x="1292" y="253"/>
                    <a:pt x="1261" y="284"/>
                  </a:cubicBezTo>
                  <a:lnTo>
                    <a:pt x="1" y="1923"/>
                  </a:lnTo>
                  <a:lnTo>
                    <a:pt x="1" y="2836"/>
                  </a:lnTo>
                  <a:lnTo>
                    <a:pt x="2742" y="2836"/>
                  </a:lnTo>
                  <a:lnTo>
                    <a:pt x="2742" y="2553"/>
                  </a:lnTo>
                  <a:lnTo>
                    <a:pt x="2836" y="2553"/>
                  </a:lnTo>
                  <a:cubicBezTo>
                    <a:pt x="2836" y="1513"/>
                    <a:pt x="2332" y="599"/>
                    <a:pt x="1482" y="1"/>
                  </a:cubicBezTo>
                  <a:close/>
                </a:path>
              </a:pathLst>
            </a:custGeom>
            <a:grpFill/>
            <a:ln>
              <a:noFill/>
            </a:ln>
          </p:spPr>
          <p:txBody>
            <a:bodyPr spcFirstLastPara="1" wrap="square" lIns="91417" tIns="91417" rIns="91417" bIns="91417" anchor="ctr" anchorCtr="0">
              <a:noAutofit/>
            </a:bodyPr>
            <a:lstStyle/>
            <a:p>
              <a:endParaRPr sz="1400"/>
            </a:p>
          </p:txBody>
        </p:sp>
        <p:sp>
          <p:nvSpPr>
            <p:cNvPr id="588" name="Google Shape;10503;p74"/>
            <p:cNvSpPr/>
            <p:nvPr/>
          </p:nvSpPr>
          <p:spPr>
            <a:xfrm>
              <a:off x="6621025" y="3688825"/>
              <a:ext cx="70900" cy="73275"/>
            </a:xfrm>
            <a:custGeom>
              <a:rect l="l" t="t" r="r" b="b"/>
              <a:pathLst>
                <a:path w="2836" h="2931" extrusionOk="0">
                  <a:moveTo>
                    <a:pt x="1323" y="0"/>
                  </a:moveTo>
                  <a:cubicBezTo>
                    <a:pt x="536" y="567"/>
                    <a:pt x="0" y="1513"/>
                    <a:pt x="0" y="2584"/>
                  </a:cubicBezTo>
                  <a:lnTo>
                    <a:pt x="0" y="2930"/>
                  </a:lnTo>
                  <a:lnTo>
                    <a:pt x="2741" y="2930"/>
                  </a:lnTo>
                  <a:lnTo>
                    <a:pt x="2741" y="1922"/>
                  </a:lnTo>
                  <a:lnTo>
                    <a:pt x="2836" y="1922"/>
                  </a:lnTo>
                  <a:lnTo>
                    <a:pt x="1575" y="284"/>
                  </a:lnTo>
                  <a:cubicBezTo>
                    <a:pt x="1512" y="252"/>
                    <a:pt x="1512" y="158"/>
                    <a:pt x="1481" y="126"/>
                  </a:cubicBezTo>
                  <a:cubicBezTo>
                    <a:pt x="1449" y="95"/>
                    <a:pt x="1355" y="63"/>
                    <a:pt x="1323" y="0"/>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589" name="Google Shape;10234;p74"/>
          <p:cNvGrpSpPr/>
          <p:nvPr/>
        </p:nvGrpSpPr>
        <p:grpSpPr>
          <a:xfrm>
            <a:off x="5049352" y="2654388"/>
            <a:ext cx="627005" cy="670006"/>
            <a:chOff x="4263650" y="3235150"/>
            <a:chExt cx="295400" cy="296175"/>
          </a:xfrm>
          <a:solidFill>
            <a:srgbClr val="00677F"/>
          </a:solidFill>
        </p:grpSpPr>
        <p:sp>
          <p:nvSpPr>
            <p:cNvPr id="590" name="Google Shape;10235;p74"/>
            <p:cNvSpPr/>
            <p:nvPr/>
          </p:nvSpPr>
          <p:spPr>
            <a:xfrm>
              <a:off x="4393625" y="3391100"/>
              <a:ext cx="35450" cy="35475"/>
            </a:xfrm>
            <a:custGeom>
              <a:rect l="l" t="t" r="r" b="b"/>
              <a:pathLst>
                <a:path w="1418" h="1419" extrusionOk="0">
                  <a:moveTo>
                    <a:pt x="725" y="1"/>
                  </a:moveTo>
                  <a:cubicBezTo>
                    <a:pt x="315" y="1"/>
                    <a:pt x="0" y="316"/>
                    <a:pt x="0" y="694"/>
                  </a:cubicBezTo>
                  <a:cubicBezTo>
                    <a:pt x="63" y="1103"/>
                    <a:pt x="315" y="1418"/>
                    <a:pt x="725" y="1418"/>
                  </a:cubicBezTo>
                  <a:cubicBezTo>
                    <a:pt x="1103" y="1418"/>
                    <a:pt x="1418" y="1103"/>
                    <a:pt x="1418" y="694"/>
                  </a:cubicBezTo>
                  <a:cubicBezTo>
                    <a:pt x="1418" y="316"/>
                    <a:pt x="1103" y="1"/>
                    <a:pt x="725" y="1"/>
                  </a:cubicBezTo>
                  <a:close/>
                </a:path>
              </a:pathLst>
            </a:custGeom>
            <a:grpFill/>
            <a:ln>
              <a:noFill/>
            </a:ln>
          </p:spPr>
          <p:txBody>
            <a:bodyPr spcFirstLastPara="1" wrap="square" lIns="91417" tIns="91417" rIns="91417" bIns="91417" anchor="ctr" anchorCtr="0">
              <a:noAutofit/>
            </a:bodyPr>
            <a:lstStyle/>
            <a:p>
              <a:endParaRPr sz="1400"/>
            </a:p>
          </p:txBody>
        </p:sp>
        <p:sp>
          <p:nvSpPr>
            <p:cNvPr id="591" name="Google Shape;10236;p74"/>
            <p:cNvSpPr/>
            <p:nvPr/>
          </p:nvSpPr>
          <p:spPr>
            <a:xfrm>
              <a:off x="4377075" y="3443875"/>
              <a:ext cx="70125" cy="34675"/>
            </a:xfrm>
            <a:custGeom>
              <a:rect l="l" t="t" r="r" b="b"/>
              <a:pathLst>
                <a:path w="2805" h="1387" extrusionOk="0">
                  <a:moveTo>
                    <a:pt x="1387" y="0"/>
                  </a:moveTo>
                  <a:cubicBezTo>
                    <a:pt x="631" y="0"/>
                    <a:pt x="1" y="630"/>
                    <a:pt x="1" y="1387"/>
                  </a:cubicBezTo>
                  <a:lnTo>
                    <a:pt x="2805" y="1387"/>
                  </a:lnTo>
                  <a:cubicBezTo>
                    <a:pt x="2805" y="630"/>
                    <a:pt x="2174" y="0"/>
                    <a:pt x="1387" y="0"/>
                  </a:cubicBezTo>
                  <a:close/>
                </a:path>
              </a:pathLst>
            </a:custGeom>
            <a:grpFill/>
            <a:ln>
              <a:noFill/>
            </a:ln>
          </p:spPr>
          <p:txBody>
            <a:bodyPr spcFirstLastPara="1" wrap="square" lIns="91417" tIns="91417" rIns="91417" bIns="91417" anchor="ctr" anchorCtr="0">
              <a:noAutofit/>
            </a:bodyPr>
            <a:lstStyle/>
            <a:p>
              <a:endParaRPr sz="1400"/>
            </a:p>
          </p:txBody>
        </p:sp>
        <p:sp>
          <p:nvSpPr>
            <p:cNvPr id="592" name="Google Shape;10237;p74"/>
            <p:cNvSpPr/>
            <p:nvPr/>
          </p:nvSpPr>
          <p:spPr>
            <a:xfrm>
              <a:off x="4333750" y="3357225"/>
              <a:ext cx="156775" cy="174100"/>
            </a:xfrm>
            <a:custGeom>
              <a:rect l="l" t="t" r="r" b="b"/>
              <a:pathLst>
                <a:path w="6271" h="6964" extrusionOk="0">
                  <a:moveTo>
                    <a:pt x="3088" y="725"/>
                  </a:moveTo>
                  <a:cubicBezTo>
                    <a:pt x="3813" y="725"/>
                    <a:pt x="4506" y="1356"/>
                    <a:pt x="4506" y="2080"/>
                  </a:cubicBezTo>
                  <a:cubicBezTo>
                    <a:pt x="4506" y="2458"/>
                    <a:pt x="4348" y="2805"/>
                    <a:pt x="4096" y="3025"/>
                  </a:cubicBezTo>
                  <a:cubicBezTo>
                    <a:pt x="4727" y="3372"/>
                    <a:pt x="5168" y="4065"/>
                    <a:pt x="5168" y="4853"/>
                  </a:cubicBezTo>
                  <a:lnTo>
                    <a:pt x="5168" y="5199"/>
                  </a:lnTo>
                  <a:cubicBezTo>
                    <a:pt x="5168" y="5388"/>
                    <a:pt x="5010" y="5546"/>
                    <a:pt x="4821" y="5546"/>
                  </a:cubicBezTo>
                  <a:lnTo>
                    <a:pt x="1293" y="5546"/>
                  </a:lnTo>
                  <a:cubicBezTo>
                    <a:pt x="1103" y="5546"/>
                    <a:pt x="946" y="5388"/>
                    <a:pt x="946" y="5199"/>
                  </a:cubicBezTo>
                  <a:lnTo>
                    <a:pt x="946" y="4853"/>
                  </a:lnTo>
                  <a:lnTo>
                    <a:pt x="1040" y="4853"/>
                  </a:lnTo>
                  <a:cubicBezTo>
                    <a:pt x="1040" y="4065"/>
                    <a:pt x="1450" y="3403"/>
                    <a:pt x="2080" y="3025"/>
                  </a:cubicBezTo>
                  <a:cubicBezTo>
                    <a:pt x="1860" y="2805"/>
                    <a:pt x="1702" y="2458"/>
                    <a:pt x="1702" y="2080"/>
                  </a:cubicBezTo>
                  <a:cubicBezTo>
                    <a:pt x="1702" y="1356"/>
                    <a:pt x="2332" y="725"/>
                    <a:pt x="3088" y="725"/>
                  </a:cubicBezTo>
                  <a:close/>
                  <a:moveTo>
                    <a:pt x="1" y="1"/>
                  </a:moveTo>
                  <a:lnTo>
                    <a:pt x="1" y="6617"/>
                  </a:lnTo>
                  <a:cubicBezTo>
                    <a:pt x="1" y="6806"/>
                    <a:pt x="158" y="6963"/>
                    <a:pt x="347" y="6963"/>
                  </a:cubicBezTo>
                  <a:lnTo>
                    <a:pt x="5924" y="6963"/>
                  </a:lnTo>
                  <a:cubicBezTo>
                    <a:pt x="6113" y="6963"/>
                    <a:pt x="6270" y="6806"/>
                    <a:pt x="6270" y="6617"/>
                  </a:cubicBezTo>
                  <a:lnTo>
                    <a:pt x="6270" y="1"/>
                  </a:lnTo>
                  <a:close/>
                </a:path>
              </a:pathLst>
            </a:custGeom>
            <a:grpFill/>
            <a:ln>
              <a:noFill/>
            </a:ln>
          </p:spPr>
          <p:txBody>
            <a:bodyPr spcFirstLastPara="1" wrap="square" lIns="91417" tIns="91417" rIns="91417" bIns="91417" anchor="ctr" anchorCtr="0">
              <a:noAutofit/>
            </a:bodyPr>
            <a:lstStyle/>
            <a:p>
              <a:endParaRPr sz="1400"/>
            </a:p>
          </p:txBody>
        </p:sp>
        <p:sp>
          <p:nvSpPr>
            <p:cNvPr id="593" name="Google Shape;10238;p74"/>
            <p:cNvSpPr/>
            <p:nvPr/>
          </p:nvSpPr>
          <p:spPr>
            <a:xfrm>
              <a:off x="4316425" y="3235150"/>
              <a:ext cx="191425" cy="35475"/>
            </a:xfrm>
            <a:custGeom>
              <a:rect l="l" t="t" r="r" b="b"/>
              <a:pathLst>
                <a:path w="7657" h="1419" extrusionOk="0">
                  <a:moveTo>
                    <a:pt x="347" y="1"/>
                  </a:moveTo>
                  <a:cubicBezTo>
                    <a:pt x="158" y="1"/>
                    <a:pt x="1" y="158"/>
                    <a:pt x="1" y="347"/>
                  </a:cubicBezTo>
                  <a:lnTo>
                    <a:pt x="1" y="1418"/>
                  </a:lnTo>
                  <a:lnTo>
                    <a:pt x="7625" y="1418"/>
                  </a:lnTo>
                  <a:lnTo>
                    <a:pt x="7625" y="347"/>
                  </a:lnTo>
                  <a:lnTo>
                    <a:pt x="7656" y="347"/>
                  </a:lnTo>
                  <a:cubicBezTo>
                    <a:pt x="7656" y="158"/>
                    <a:pt x="7499" y="1"/>
                    <a:pt x="7310" y="1"/>
                  </a:cubicBezTo>
                  <a:close/>
                </a:path>
              </a:pathLst>
            </a:custGeom>
            <a:grpFill/>
            <a:ln>
              <a:noFill/>
            </a:ln>
          </p:spPr>
          <p:txBody>
            <a:bodyPr spcFirstLastPara="1" wrap="square" lIns="91417" tIns="91417" rIns="91417" bIns="91417" anchor="ctr" anchorCtr="0">
              <a:noAutofit/>
            </a:bodyPr>
            <a:lstStyle/>
            <a:p>
              <a:endParaRPr sz="1400"/>
            </a:p>
          </p:txBody>
        </p:sp>
        <p:sp>
          <p:nvSpPr>
            <p:cNvPr id="594" name="Google Shape;10239;p74"/>
            <p:cNvSpPr/>
            <p:nvPr/>
          </p:nvSpPr>
          <p:spPr>
            <a:xfrm>
              <a:off x="4263650" y="3288700"/>
              <a:ext cx="295400" cy="137875"/>
            </a:xfrm>
            <a:custGeom>
              <a:rect l="l" t="t" r="r" b="b"/>
              <a:pathLst>
                <a:path w="11816" h="5515" extrusionOk="0">
                  <a:moveTo>
                    <a:pt x="10082" y="662"/>
                  </a:moveTo>
                  <a:cubicBezTo>
                    <a:pt x="10303" y="662"/>
                    <a:pt x="10461" y="820"/>
                    <a:pt x="10461" y="1009"/>
                  </a:cubicBezTo>
                  <a:cubicBezTo>
                    <a:pt x="10461" y="1198"/>
                    <a:pt x="10303" y="1356"/>
                    <a:pt x="10082" y="1356"/>
                  </a:cubicBezTo>
                  <a:cubicBezTo>
                    <a:pt x="9893" y="1356"/>
                    <a:pt x="9736" y="1198"/>
                    <a:pt x="9736" y="1009"/>
                  </a:cubicBezTo>
                  <a:cubicBezTo>
                    <a:pt x="9767" y="820"/>
                    <a:pt x="9893" y="662"/>
                    <a:pt x="10082" y="662"/>
                  </a:cubicBezTo>
                  <a:close/>
                  <a:moveTo>
                    <a:pt x="1041" y="1"/>
                  </a:moveTo>
                  <a:cubicBezTo>
                    <a:pt x="442" y="1"/>
                    <a:pt x="1" y="442"/>
                    <a:pt x="1" y="1009"/>
                  </a:cubicBezTo>
                  <a:lnTo>
                    <a:pt x="1" y="4475"/>
                  </a:lnTo>
                  <a:cubicBezTo>
                    <a:pt x="1" y="5073"/>
                    <a:pt x="473" y="5514"/>
                    <a:pt x="1041" y="5514"/>
                  </a:cubicBezTo>
                  <a:lnTo>
                    <a:pt x="2112" y="5514"/>
                  </a:lnTo>
                  <a:lnTo>
                    <a:pt x="2112" y="2395"/>
                  </a:lnTo>
                  <a:cubicBezTo>
                    <a:pt x="2112" y="2206"/>
                    <a:pt x="2269" y="2049"/>
                    <a:pt x="2458" y="2049"/>
                  </a:cubicBezTo>
                  <a:lnTo>
                    <a:pt x="9421" y="2049"/>
                  </a:lnTo>
                  <a:cubicBezTo>
                    <a:pt x="9610" y="2049"/>
                    <a:pt x="9767" y="2206"/>
                    <a:pt x="9767" y="2395"/>
                  </a:cubicBezTo>
                  <a:lnTo>
                    <a:pt x="9767" y="5514"/>
                  </a:lnTo>
                  <a:lnTo>
                    <a:pt x="10807" y="5514"/>
                  </a:lnTo>
                  <a:cubicBezTo>
                    <a:pt x="11406" y="5514"/>
                    <a:pt x="11815" y="5042"/>
                    <a:pt x="11815" y="4475"/>
                  </a:cubicBezTo>
                  <a:lnTo>
                    <a:pt x="11815" y="1009"/>
                  </a:lnTo>
                  <a:cubicBezTo>
                    <a:pt x="11815" y="410"/>
                    <a:pt x="11343" y="1"/>
                    <a:pt x="10807" y="1"/>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595" name="Google Shape;10251;p74"/>
          <p:cNvGrpSpPr/>
          <p:nvPr/>
        </p:nvGrpSpPr>
        <p:grpSpPr>
          <a:xfrm>
            <a:off x="9500217" y="2659944"/>
            <a:ext cx="406312" cy="670006"/>
            <a:chOff x="6164975" y="3211525"/>
            <a:chExt cx="191425" cy="296175"/>
          </a:xfrm>
          <a:solidFill>
            <a:srgbClr val="00677F"/>
          </a:solidFill>
        </p:grpSpPr>
        <p:sp>
          <p:nvSpPr>
            <p:cNvPr id="596" name="Google Shape;10252;p74"/>
            <p:cNvSpPr/>
            <p:nvPr/>
          </p:nvSpPr>
          <p:spPr>
            <a:xfrm>
              <a:off x="6269750" y="3371400"/>
              <a:ext cx="68525" cy="84300"/>
            </a:xfrm>
            <a:custGeom>
              <a:rect l="l" t="t" r="r" b="b"/>
              <a:pathLst>
                <a:path w="2741" h="3372" extrusionOk="0">
                  <a:moveTo>
                    <a:pt x="1670" y="1"/>
                  </a:moveTo>
                  <a:cubicBezTo>
                    <a:pt x="1166" y="316"/>
                    <a:pt x="599" y="505"/>
                    <a:pt x="0" y="568"/>
                  </a:cubicBezTo>
                  <a:lnTo>
                    <a:pt x="0" y="1482"/>
                  </a:lnTo>
                  <a:lnTo>
                    <a:pt x="1890" y="3372"/>
                  </a:lnTo>
                  <a:lnTo>
                    <a:pt x="2741" y="3372"/>
                  </a:lnTo>
                  <a:lnTo>
                    <a:pt x="2741" y="3340"/>
                  </a:lnTo>
                  <a:lnTo>
                    <a:pt x="2741" y="2301"/>
                  </a:lnTo>
                  <a:cubicBezTo>
                    <a:pt x="2741" y="1356"/>
                    <a:pt x="2300" y="536"/>
                    <a:pt x="1670" y="1"/>
                  </a:cubicBezTo>
                  <a:close/>
                </a:path>
              </a:pathLst>
            </a:custGeom>
            <a:grpFill/>
            <a:ln>
              <a:noFill/>
            </a:ln>
          </p:spPr>
          <p:txBody>
            <a:bodyPr spcFirstLastPara="1" wrap="square" lIns="91417" tIns="91417" rIns="91417" bIns="91417" anchor="ctr" anchorCtr="0">
              <a:noAutofit/>
            </a:bodyPr>
            <a:lstStyle/>
            <a:p>
              <a:endParaRPr sz="1400"/>
            </a:p>
          </p:txBody>
        </p:sp>
        <p:sp>
          <p:nvSpPr>
            <p:cNvPr id="597" name="Google Shape;10253;p74"/>
            <p:cNvSpPr/>
            <p:nvPr/>
          </p:nvSpPr>
          <p:spPr>
            <a:xfrm>
              <a:off x="6228775" y="3424175"/>
              <a:ext cx="62250" cy="30750"/>
            </a:xfrm>
            <a:custGeom>
              <a:rect l="l" t="t" r="r" b="b"/>
              <a:pathLst>
                <a:path w="2490" h="1230" extrusionOk="0">
                  <a:moveTo>
                    <a:pt x="1229" y="1"/>
                  </a:moveTo>
                  <a:lnTo>
                    <a:pt x="1" y="1229"/>
                  </a:lnTo>
                  <a:lnTo>
                    <a:pt x="2490" y="1229"/>
                  </a:lnTo>
                  <a:lnTo>
                    <a:pt x="1229" y="1"/>
                  </a:lnTo>
                  <a:close/>
                </a:path>
              </a:pathLst>
            </a:custGeom>
            <a:grpFill/>
            <a:ln>
              <a:noFill/>
            </a:ln>
          </p:spPr>
          <p:txBody>
            <a:bodyPr spcFirstLastPara="1" wrap="square" lIns="91417" tIns="91417" rIns="91417" bIns="91417" anchor="ctr" anchorCtr="0">
              <a:noAutofit/>
            </a:bodyPr>
            <a:lstStyle/>
            <a:p>
              <a:endParaRPr sz="1400"/>
            </a:p>
          </p:txBody>
        </p:sp>
        <p:sp>
          <p:nvSpPr>
            <p:cNvPr id="598" name="Google Shape;10254;p74"/>
            <p:cNvSpPr/>
            <p:nvPr/>
          </p:nvSpPr>
          <p:spPr>
            <a:xfrm>
              <a:off x="6182300" y="3369825"/>
              <a:ext cx="69350" cy="85100"/>
            </a:xfrm>
            <a:custGeom>
              <a:rect l="l" t="t" r="r" b="b"/>
              <a:pathLst>
                <a:path w="2774" h="3404" extrusionOk="0">
                  <a:moveTo>
                    <a:pt x="1072" y="1"/>
                  </a:moveTo>
                  <a:cubicBezTo>
                    <a:pt x="411" y="599"/>
                    <a:pt x="1" y="1419"/>
                    <a:pt x="1" y="2332"/>
                  </a:cubicBezTo>
                  <a:lnTo>
                    <a:pt x="1" y="3403"/>
                  </a:lnTo>
                  <a:lnTo>
                    <a:pt x="883" y="3403"/>
                  </a:lnTo>
                  <a:lnTo>
                    <a:pt x="2773" y="1513"/>
                  </a:lnTo>
                  <a:lnTo>
                    <a:pt x="2773" y="599"/>
                  </a:lnTo>
                  <a:cubicBezTo>
                    <a:pt x="2143" y="568"/>
                    <a:pt x="1576" y="316"/>
                    <a:pt x="1072" y="1"/>
                  </a:cubicBezTo>
                  <a:close/>
                </a:path>
              </a:pathLst>
            </a:custGeom>
            <a:grpFill/>
            <a:ln>
              <a:noFill/>
            </a:ln>
          </p:spPr>
          <p:txBody>
            <a:bodyPr spcFirstLastPara="1" wrap="square" lIns="91417" tIns="91417" rIns="91417" bIns="91417" anchor="ctr" anchorCtr="0">
              <a:noAutofit/>
            </a:bodyPr>
            <a:lstStyle/>
            <a:p>
              <a:endParaRPr sz="1400"/>
            </a:p>
          </p:txBody>
        </p:sp>
        <p:sp>
          <p:nvSpPr>
            <p:cNvPr id="599" name="Google Shape;10255;p74"/>
            <p:cNvSpPr/>
            <p:nvPr/>
          </p:nvSpPr>
          <p:spPr>
            <a:xfrm>
              <a:off x="6164975" y="3472225"/>
              <a:ext cx="191425" cy="35475"/>
            </a:xfrm>
            <a:custGeom>
              <a:rect l="l" t="t" r="r" b="b"/>
              <a:pathLst>
                <a:path w="7657" h="1419" extrusionOk="0">
                  <a:moveTo>
                    <a:pt x="725" y="1"/>
                  </a:moveTo>
                  <a:cubicBezTo>
                    <a:pt x="316" y="1"/>
                    <a:pt x="1" y="316"/>
                    <a:pt x="1" y="725"/>
                  </a:cubicBezTo>
                  <a:cubicBezTo>
                    <a:pt x="1" y="1103"/>
                    <a:pt x="316" y="1418"/>
                    <a:pt x="725" y="1418"/>
                  </a:cubicBezTo>
                  <a:lnTo>
                    <a:pt x="6932" y="1418"/>
                  </a:lnTo>
                  <a:cubicBezTo>
                    <a:pt x="7341" y="1418"/>
                    <a:pt x="7657" y="1103"/>
                    <a:pt x="7657" y="725"/>
                  </a:cubicBezTo>
                  <a:cubicBezTo>
                    <a:pt x="7594" y="316"/>
                    <a:pt x="7278" y="1"/>
                    <a:pt x="6932" y="1"/>
                  </a:cubicBezTo>
                  <a:close/>
                </a:path>
              </a:pathLst>
            </a:custGeom>
            <a:grpFill/>
            <a:ln>
              <a:noFill/>
            </a:ln>
          </p:spPr>
          <p:txBody>
            <a:bodyPr spcFirstLastPara="1" wrap="square" lIns="91417" tIns="91417" rIns="91417" bIns="91417" anchor="ctr" anchorCtr="0">
              <a:noAutofit/>
            </a:bodyPr>
            <a:lstStyle/>
            <a:p>
              <a:endParaRPr sz="1400"/>
            </a:p>
          </p:txBody>
        </p:sp>
        <p:sp>
          <p:nvSpPr>
            <p:cNvPr id="600" name="Google Shape;10256;p74"/>
            <p:cNvSpPr/>
            <p:nvPr/>
          </p:nvSpPr>
          <p:spPr>
            <a:xfrm>
              <a:off x="6164975" y="3211525"/>
              <a:ext cx="191425" cy="35475"/>
            </a:xfrm>
            <a:custGeom>
              <a:rect l="l" t="t" r="r" b="b"/>
              <a:pathLst>
                <a:path w="7657" h="1419" extrusionOk="0">
                  <a:moveTo>
                    <a:pt x="725" y="0"/>
                  </a:moveTo>
                  <a:cubicBezTo>
                    <a:pt x="316" y="0"/>
                    <a:pt x="1" y="315"/>
                    <a:pt x="1" y="725"/>
                  </a:cubicBezTo>
                  <a:cubicBezTo>
                    <a:pt x="1" y="1103"/>
                    <a:pt x="316" y="1418"/>
                    <a:pt x="725" y="1418"/>
                  </a:cubicBezTo>
                  <a:lnTo>
                    <a:pt x="6932" y="1418"/>
                  </a:lnTo>
                  <a:cubicBezTo>
                    <a:pt x="7341" y="1418"/>
                    <a:pt x="7657" y="1103"/>
                    <a:pt x="7657" y="725"/>
                  </a:cubicBezTo>
                  <a:cubicBezTo>
                    <a:pt x="7594" y="284"/>
                    <a:pt x="7278" y="0"/>
                    <a:pt x="6932" y="0"/>
                  </a:cubicBezTo>
                  <a:close/>
                </a:path>
              </a:pathLst>
            </a:custGeom>
            <a:grpFill/>
            <a:ln>
              <a:noFill/>
            </a:ln>
          </p:spPr>
          <p:txBody>
            <a:bodyPr spcFirstLastPara="1" wrap="square" lIns="91417" tIns="91417" rIns="91417" bIns="91417" anchor="ctr" anchorCtr="0">
              <a:noAutofit/>
            </a:bodyPr>
            <a:lstStyle/>
            <a:p>
              <a:endParaRPr sz="1400"/>
            </a:p>
          </p:txBody>
        </p:sp>
        <p:sp>
          <p:nvSpPr>
            <p:cNvPr id="601" name="Google Shape;10257;p74"/>
            <p:cNvSpPr/>
            <p:nvPr/>
          </p:nvSpPr>
          <p:spPr>
            <a:xfrm>
              <a:off x="6183100" y="3262725"/>
              <a:ext cx="155175" cy="35650"/>
            </a:xfrm>
            <a:custGeom>
              <a:rect l="l" t="t" r="r" b="b"/>
              <a:pathLst>
                <a:path w="6207" h="1426" extrusionOk="0">
                  <a:moveTo>
                    <a:pt x="0" y="0"/>
                  </a:moveTo>
                  <a:lnTo>
                    <a:pt x="0" y="441"/>
                  </a:lnTo>
                  <a:lnTo>
                    <a:pt x="568" y="788"/>
                  </a:lnTo>
                  <a:cubicBezTo>
                    <a:pt x="1355" y="1213"/>
                    <a:pt x="2237" y="1426"/>
                    <a:pt x="3112" y="1426"/>
                  </a:cubicBezTo>
                  <a:cubicBezTo>
                    <a:pt x="3986" y="1426"/>
                    <a:pt x="4852" y="1213"/>
                    <a:pt x="5608" y="788"/>
                  </a:cubicBezTo>
                  <a:lnTo>
                    <a:pt x="6207" y="441"/>
                  </a:lnTo>
                  <a:lnTo>
                    <a:pt x="6207" y="0"/>
                  </a:lnTo>
                  <a:close/>
                </a:path>
              </a:pathLst>
            </a:custGeom>
            <a:grpFill/>
            <a:ln>
              <a:noFill/>
            </a:ln>
          </p:spPr>
          <p:txBody>
            <a:bodyPr spcFirstLastPara="1" wrap="square" lIns="91417" tIns="91417" rIns="91417" bIns="91417" anchor="ctr" anchorCtr="0">
              <a:noAutofit/>
            </a:bodyPr>
            <a:lstStyle/>
            <a:p>
              <a:endParaRPr sz="1400"/>
            </a:p>
          </p:txBody>
        </p:sp>
        <p:sp>
          <p:nvSpPr>
            <p:cNvPr id="602" name="Google Shape;10258;p74"/>
            <p:cNvSpPr/>
            <p:nvPr/>
          </p:nvSpPr>
          <p:spPr>
            <a:xfrm>
              <a:off x="6181525" y="3294225"/>
              <a:ext cx="155975" cy="74050"/>
            </a:xfrm>
            <a:custGeom>
              <a:rect l="l" t="t" r="r" b="b"/>
              <a:pathLst>
                <a:path w="6239" h="2962" extrusionOk="0">
                  <a:moveTo>
                    <a:pt x="0" y="0"/>
                  </a:moveTo>
                  <a:cubicBezTo>
                    <a:pt x="126" y="1607"/>
                    <a:pt x="1481" y="2962"/>
                    <a:pt x="3119" y="2962"/>
                  </a:cubicBezTo>
                  <a:cubicBezTo>
                    <a:pt x="4758" y="2962"/>
                    <a:pt x="6112" y="1607"/>
                    <a:pt x="6238" y="0"/>
                  </a:cubicBezTo>
                  <a:lnTo>
                    <a:pt x="6238" y="0"/>
                  </a:lnTo>
                  <a:lnTo>
                    <a:pt x="5986" y="126"/>
                  </a:lnTo>
                  <a:cubicBezTo>
                    <a:pt x="5136" y="631"/>
                    <a:pt x="4096" y="883"/>
                    <a:pt x="3119" y="883"/>
                  </a:cubicBezTo>
                  <a:cubicBezTo>
                    <a:pt x="2143" y="883"/>
                    <a:pt x="1166" y="631"/>
                    <a:pt x="252" y="126"/>
                  </a:cubicBezTo>
                  <a:lnTo>
                    <a:pt x="0" y="0"/>
                  </a:lnTo>
                  <a:close/>
                </a:path>
              </a:pathLst>
            </a:custGeom>
            <a:grpFill/>
            <a:ln>
              <a:noFill/>
            </a:ln>
          </p:spPr>
          <p:txBody>
            <a:bodyPr spcFirstLastPara="1" wrap="square" lIns="91417" tIns="91417" rIns="91417" bIns="91417" anchor="ctr" anchorCtr="0">
              <a:noAutofit/>
            </a:bodyPr>
            <a:lstStyle/>
            <a:p>
              <a:endParaRPr sz="1400"/>
            </a:p>
          </p:txBody>
        </p:sp>
      </p:grpSp>
      <p:grpSp>
        <p:nvGrpSpPr>
          <p:cNvPr id="603" name="Google Shape;10297;p74"/>
          <p:cNvGrpSpPr/>
          <p:nvPr/>
        </p:nvGrpSpPr>
        <p:grpSpPr>
          <a:xfrm>
            <a:off x="6018206" y="2642160"/>
            <a:ext cx="626953" cy="666442"/>
            <a:chOff x="4629125" y="3235150"/>
            <a:chExt cx="295375" cy="294600"/>
          </a:xfrm>
          <a:solidFill>
            <a:srgbClr val="00677F"/>
          </a:solidFill>
        </p:grpSpPr>
        <p:sp>
          <p:nvSpPr>
            <p:cNvPr id="604" name="Google Shape;10298;p74"/>
            <p:cNvSpPr/>
            <p:nvPr/>
          </p:nvSpPr>
          <p:spPr>
            <a:xfrm>
              <a:off x="4696850" y="3391100"/>
              <a:ext cx="35475" cy="35475"/>
            </a:xfrm>
            <a:custGeom>
              <a:rect l="l" t="t" r="r" b="b"/>
              <a:pathLst>
                <a:path w="1419" h="1419" extrusionOk="0">
                  <a:moveTo>
                    <a:pt x="725" y="1"/>
                  </a:moveTo>
                  <a:cubicBezTo>
                    <a:pt x="316" y="1"/>
                    <a:pt x="1" y="316"/>
                    <a:pt x="1" y="694"/>
                  </a:cubicBezTo>
                  <a:cubicBezTo>
                    <a:pt x="64" y="1103"/>
                    <a:pt x="316" y="1418"/>
                    <a:pt x="725" y="1418"/>
                  </a:cubicBezTo>
                  <a:cubicBezTo>
                    <a:pt x="1103" y="1418"/>
                    <a:pt x="1418" y="1103"/>
                    <a:pt x="1418" y="694"/>
                  </a:cubicBezTo>
                  <a:cubicBezTo>
                    <a:pt x="1418" y="316"/>
                    <a:pt x="1103" y="1"/>
                    <a:pt x="725" y="1"/>
                  </a:cubicBezTo>
                  <a:close/>
                </a:path>
              </a:pathLst>
            </a:custGeom>
            <a:grpFill/>
            <a:ln>
              <a:noFill/>
            </a:ln>
          </p:spPr>
          <p:txBody>
            <a:bodyPr spcFirstLastPara="1" wrap="square" lIns="91417" tIns="91417" rIns="91417" bIns="91417" anchor="ctr" anchorCtr="0">
              <a:noAutofit/>
            </a:bodyPr>
            <a:lstStyle/>
            <a:p>
              <a:endParaRPr sz="1400"/>
            </a:p>
          </p:txBody>
        </p:sp>
        <p:sp>
          <p:nvSpPr>
            <p:cNvPr id="605" name="Google Shape;10299;p74"/>
            <p:cNvSpPr/>
            <p:nvPr/>
          </p:nvSpPr>
          <p:spPr>
            <a:xfrm>
              <a:off x="4680300" y="3443875"/>
              <a:ext cx="69350" cy="34675"/>
            </a:xfrm>
            <a:custGeom>
              <a:rect l="l" t="t" r="r" b="b"/>
              <a:pathLst>
                <a:path w="2774" h="1387" extrusionOk="0">
                  <a:moveTo>
                    <a:pt x="1387" y="0"/>
                  </a:moveTo>
                  <a:cubicBezTo>
                    <a:pt x="631" y="0"/>
                    <a:pt x="1" y="630"/>
                    <a:pt x="1" y="1387"/>
                  </a:cubicBezTo>
                  <a:lnTo>
                    <a:pt x="2773" y="1387"/>
                  </a:lnTo>
                  <a:cubicBezTo>
                    <a:pt x="2773" y="630"/>
                    <a:pt x="2175" y="0"/>
                    <a:pt x="1387" y="0"/>
                  </a:cubicBezTo>
                  <a:close/>
                </a:path>
              </a:pathLst>
            </a:custGeom>
            <a:grpFill/>
            <a:ln>
              <a:noFill/>
            </a:ln>
          </p:spPr>
          <p:txBody>
            <a:bodyPr spcFirstLastPara="1" wrap="square" lIns="91417" tIns="91417" rIns="91417" bIns="91417" anchor="ctr" anchorCtr="0">
              <a:noAutofit/>
            </a:bodyPr>
            <a:lstStyle/>
            <a:p>
              <a:endParaRPr sz="1400"/>
            </a:p>
          </p:txBody>
        </p:sp>
        <p:sp>
          <p:nvSpPr>
            <p:cNvPr id="606" name="Google Shape;10300;p74"/>
            <p:cNvSpPr/>
            <p:nvPr/>
          </p:nvSpPr>
          <p:spPr>
            <a:xfrm>
              <a:off x="4629125" y="3339900"/>
              <a:ext cx="295375" cy="189850"/>
            </a:xfrm>
            <a:custGeom>
              <a:rect l="l" t="t" r="r" b="b"/>
              <a:pathLst>
                <a:path w="11815" h="7594" extrusionOk="0">
                  <a:moveTo>
                    <a:pt x="10050" y="2080"/>
                  </a:moveTo>
                  <a:cubicBezTo>
                    <a:pt x="10239" y="2080"/>
                    <a:pt x="10397" y="2238"/>
                    <a:pt x="10397" y="2427"/>
                  </a:cubicBezTo>
                  <a:cubicBezTo>
                    <a:pt x="10397" y="2616"/>
                    <a:pt x="10239" y="2773"/>
                    <a:pt x="10050" y="2773"/>
                  </a:cubicBezTo>
                  <a:lnTo>
                    <a:pt x="6553" y="2773"/>
                  </a:lnTo>
                  <a:cubicBezTo>
                    <a:pt x="6333" y="2773"/>
                    <a:pt x="6175" y="2616"/>
                    <a:pt x="6175" y="2427"/>
                  </a:cubicBezTo>
                  <a:cubicBezTo>
                    <a:pt x="6175" y="2238"/>
                    <a:pt x="6333" y="2080"/>
                    <a:pt x="6553" y="2080"/>
                  </a:cubicBezTo>
                  <a:close/>
                  <a:moveTo>
                    <a:pt x="10050" y="3466"/>
                  </a:moveTo>
                  <a:cubicBezTo>
                    <a:pt x="10239" y="3466"/>
                    <a:pt x="10397" y="3624"/>
                    <a:pt x="10397" y="3813"/>
                  </a:cubicBezTo>
                  <a:cubicBezTo>
                    <a:pt x="10397" y="4002"/>
                    <a:pt x="10239" y="4159"/>
                    <a:pt x="10050" y="4159"/>
                  </a:cubicBezTo>
                  <a:lnTo>
                    <a:pt x="6553" y="4159"/>
                  </a:lnTo>
                  <a:cubicBezTo>
                    <a:pt x="6333" y="4159"/>
                    <a:pt x="6175" y="4002"/>
                    <a:pt x="6175" y="3813"/>
                  </a:cubicBezTo>
                  <a:cubicBezTo>
                    <a:pt x="6175" y="3624"/>
                    <a:pt x="6333" y="3466"/>
                    <a:pt x="6553" y="3466"/>
                  </a:cubicBezTo>
                  <a:close/>
                  <a:moveTo>
                    <a:pt x="10050" y="4821"/>
                  </a:moveTo>
                  <a:cubicBezTo>
                    <a:pt x="10239" y="4821"/>
                    <a:pt x="10397" y="4978"/>
                    <a:pt x="10397" y="5199"/>
                  </a:cubicBezTo>
                  <a:cubicBezTo>
                    <a:pt x="10397" y="5388"/>
                    <a:pt x="10239" y="5546"/>
                    <a:pt x="10050" y="5546"/>
                  </a:cubicBezTo>
                  <a:lnTo>
                    <a:pt x="6553" y="5546"/>
                  </a:lnTo>
                  <a:cubicBezTo>
                    <a:pt x="6333" y="5546"/>
                    <a:pt x="6175" y="5388"/>
                    <a:pt x="6175" y="5199"/>
                  </a:cubicBezTo>
                  <a:cubicBezTo>
                    <a:pt x="6175" y="4978"/>
                    <a:pt x="6333" y="4821"/>
                    <a:pt x="6553" y="4821"/>
                  </a:cubicBezTo>
                  <a:close/>
                  <a:moveTo>
                    <a:pt x="3403" y="1418"/>
                  </a:moveTo>
                  <a:cubicBezTo>
                    <a:pt x="4127" y="1418"/>
                    <a:pt x="4757" y="2049"/>
                    <a:pt x="4757" y="2773"/>
                  </a:cubicBezTo>
                  <a:cubicBezTo>
                    <a:pt x="4757" y="3151"/>
                    <a:pt x="4600" y="3498"/>
                    <a:pt x="4379" y="3718"/>
                  </a:cubicBezTo>
                  <a:cubicBezTo>
                    <a:pt x="5009" y="4065"/>
                    <a:pt x="5451" y="4758"/>
                    <a:pt x="5451" y="5546"/>
                  </a:cubicBezTo>
                  <a:lnTo>
                    <a:pt x="5451" y="5892"/>
                  </a:lnTo>
                  <a:lnTo>
                    <a:pt x="5514" y="5892"/>
                  </a:lnTo>
                  <a:cubicBezTo>
                    <a:pt x="5514" y="6081"/>
                    <a:pt x="5356" y="6239"/>
                    <a:pt x="5167" y="6239"/>
                  </a:cubicBezTo>
                  <a:lnTo>
                    <a:pt x="1701" y="6239"/>
                  </a:lnTo>
                  <a:cubicBezTo>
                    <a:pt x="1512" y="6239"/>
                    <a:pt x="1355" y="6081"/>
                    <a:pt x="1355" y="5892"/>
                  </a:cubicBezTo>
                  <a:lnTo>
                    <a:pt x="1355" y="5546"/>
                  </a:lnTo>
                  <a:cubicBezTo>
                    <a:pt x="1355" y="4758"/>
                    <a:pt x="1764" y="4096"/>
                    <a:pt x="2395" y="3718"/>
                  </a:cubicBezTo>
                  <a:cubicBezTo>
                    <a:pt x="2174" y="3498"/>
                    <a:pt x="2016" y="3151"/>
                    <a:pt x="2016" y="2773"/>
                  </a:cubicBezTo>
                  <a:cubicBezTo>
                    <a:pt x="2016" y="2049"/>
                    <a:pt x="2647" y="1418"/>
                    <a:pt x="3403" y="1418"/>
                  </a:cubicBezTo>
                  <a:close/>
                  <a:moveTo>
                    <a:pt x="1040" y="1"/>
                  </a:moveTo>
                  <a:cubicBezTo>
                    <a:pt x="441" y="1"/>
                    <a:pt x="0" y="473"/>
                    <a:pt x="0" y="1009"/>
                  </a:cubicBezTo>
                  <a:lnTo>
                    <a:pt x="0" y="6554"/>
                  </a:lnTo>
                  <a:cubicBezTo>
                    <a:pt x="0" y="7152"/>
                    <a:pt x="473" y="7593"/>
                    <a:pt x="1040" y="7593"/>
                  </a:cubicBezTo>
                  <a:lnTo>
                    <a:pt x="10806" y="7593"/>
                  </a:lnTo>
                  <a:cubicBezTo>
                    <a:pt x="11373" y="7593"/>
                    <a:pt x="11815" y="7121"/>
                    <a:pt x="11815" y="6554"/>
                  </a:cubicBezTo>
                  <a:lnTo>
                    <a:pt x="11815" y="1009"/>
                  </a:lnTo>
                  <a:cubicBezTo>
                    <a:pt x="11783" y="473"/>
                    <a:pt x="11310" y="1"/>
                    <a:pt x="10743" y="1"/>
                  </a:cubicBezTo>
                  <a:lnTo>
                    <a:pt x="7593" y="1"/>
                  </a:lnTo>
                  <a:lnTo>
                    <a:pt x="7593" y="347"/>
                  </a:lnTo>
                  <a:cubicBezTo>
                    <a:pt x="7593" y="946"/>
                    <a:pt x="7120" y="1355"/>
                    <a:pt x="6585" y="1355"/>
                  </a:cubicBezTo>
                  <a:lnTo>
                    <a:pt x="5198" y="1355"/>
                  </a:lnTo>
                  <a:cubicBezTo>
                    <a:pt x="4600" y="1355"/>
                    <a:pt x="4190" y="883"/>
                    <a:pt x="4190" y="347"/>
                  </a:cubicBezTo>
                  <a:lnTo>
                    <a:pt x="4190" y="1"/>
                  </a:lnTo>
                  <a:close/>
                </a:path>
              </a:pathLst>
            </a:custGeom>
            <a:grpFill/>
            <a:ln>
              <a:noFill/>
            </a:ln>
          </p:spPr>
          <p:txBody>
            <a:bodyPr spcFirstLastPara="1" wrap="square" lIns="91417" tIns="91417" rIns="91417" bIns="91417" anchor="ctr" anchorCtr="0">
              <a:noAutofit/>
            </a:bodyPr>
            <a:lstStyle/>
            <a:p>
              <a:endParaRPr sz="1400"/>
            </a:p>
          </p:txBody>
        </p:sp>
        <p:sp>
          <p:nvSpPr>
            <p:cNvPr id="607" name="Google Shape;10301;p74"/>
            <p:cNvSpPr/>
            <p:nvPr/>
          </p:nvSpPr>
          <p:spPr>
            <a:xfrm>
              <a:off x="4714975" y="3287125"/>
              <a:ext cx="122100" cy="70125"/>
            </a:xfrm>
            <a:custGeom>
              <a:rect l="l" t="t" r="r" b="b"/>
              <a:pathLst>
                <a:path w="4884" h="2805" extrusionOk="0">
                  <a:moveTo>
                    <a:pt x="693" y="1"/>
                  </a:moveTo>
                  <a:cubicBezTo>
                    <a:pt x="315" y="1"/>
                    <a:pt x="0" y="316"/>
                    <a:pt x="0" y="725"/>
                  </a:cubicBezTo>
                  <a:cubicBezTo>
                    <a:pt x="0" y="1104"/>
                    <a:pt x="315" y="1419"/>
                    <a:pt x="693" y="1419"/>
                  </a:cubicBezTo>
                  <a:lnTo>
                    <a:pt x="1418" y="1419"/>
                  </a:lnTo>
                  <a:lnTo>
                    <a:pt x="1418" y="2458"/>
                  </a:lnTo>
                  <a:cubicBezTo>
                    <a:pt x="1386" y="2647"/>
                    <a:pt x="1544" y="2805"/>
                    <a:pt x="1733" y="2805"/>
                  </a:cubicBezTo>
                  <a:lnTo>
                    <a:pt x="3119" y="2805"/>
                  </a:lnTo>
                  <a:cubicBezTo>
                    <a:pt x="3308" y="2805"/>
                    <a:pt x="3466" y="2647"/>
                    <a:pt x="3466" y="2458"/>
                  </a:cubicBezTo>
                  <a:lnTo>
                    <a:pt x="3466" y="1419"/>
                  </a:lnTo>
                  <a:lnTo>
                    <a:pt x="4159" y="1419"/>
                  </a:lnTo>
                  <a:cubicBezTo>
                    <a:pt x="4568" y="1419"/>
                    <a:pt x="4883" y="1104"/>
                    <a:pt x="4883" y="725"/>
                  </a:cubicBezTo>
                  <a:cubicBezTo>
                    <a:pt x="4883" y="316"/>
                    <a:pt x="4568" y="1"/>
                    <a:pt x="4159" y="1"/>
                  </a:cubicBezTo>
                  <a:close/>
                </a:path>
              </a:pathLst>
            </a:custGeom>
            <a:grpFill/>
            <a:ln>
              <a:noFill/>
            </a:ln>
          </p:spPr>
          <p:txBody>
            <a:bodyPr spcFirstLastPara="1" wrap="square" lIns="91417" tIns="91417" rIns="91417" bIns="91417" anchor="ctr" anchorCtr="0">
              <a:noAutofit/>
            </a:bodyPr>
            <a:lstStyle/>
            <a:p>
              <a:endParaRPr sz="1400"/>
            </a:p>
          </p:txBody>
        </p:sp>
        <p:sp>
          <p:nvSpPr>
            <p:cNvPr id="608" name="Google Shape;10302;p74"/>
            <p:cNvSpPr/>
            <p:nvPr/>
          </p:nvSpPr>
          <p:spPr>
            <a:xfrm>
              <a:off x="4732300" y="3235150"/>
              <a:ext cx="86650" cy="35475"/>
            </a:xfrm>
            <a:custGeom>
              <a:rect l="l" t="t" r="r" b="b"/>
              <a:pathLst>
                <a:path w="3466" h="1419" extrusionOk="0">
                  <a:moveTo>
                    <a:pt x="378" y="1"/>
                  </a:moveTo>
                  <a:cubicBezTo>
                    <a:pt x="158" y="1"/>
                    <a:pt x="0" y="158"/>
                    <a:pt x="0" y="347"/>
                  </a:cubicBezTo>
                  <a:lnTo>
                    <a:pt x="0" y="1418"/>
                  </a:lnTo>
                  <a:lnTo>
                    <a:pt x="3466" y="1418"/>
                  </a:lnTo>
                  <a:lnTo>
                    <a:pt x="3466" y="347"/>
                  </a:lnTo>
                  <a:cubicBezTo>
                    <a:pt x="3466" y="158"/>
                    <a:pt x="3308" y="1"/>
                    <a:pt x="3119" y="1"/>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609" name="Google Shape;10352;p74"/>
          <p:cNvGrpSpPr/>
          <p:nvPr/>
        </p:nvGrpSpPr>
        <p:grpSpPr>
          <a:xfrm>
            <a:off x="6910983" y="2653465"/>
            <a:ext cx="628651" cy="672381"/>
            <a:chOff x="4991425" y="3234750"/>
            <a:chExt cx="296175" cy="297225"/>
          </a:xfrm>
          <a:solidFill>
            <a:srgbClr val="00677F"/>
          </a:solidFill>
        </p:grpSpPr>
        <p:sp>
          <p:nvSpPr>
            <p:cNvPr id="610" name="Google Shape;10353;p74"/>
            <p:cNvSpPr/>
            <p:nvPr/>
          </p:nvSpPr>
          <p:spPr>
            <a:xfrm>
              <a:off x="5077275" y="3304450"/>
              <a:ext cx="122100" cy="99275"/>
            </a:xfrm>
            <a:custGeom>
              <a:rect l="l" t="t" r="r" b="b"/>
              <a:pathLst>
                <a:path w="4884" h="3971" extrusionOk="0">
                  <a:moveTo>
                    <a:pt x="2426" y="1"/>
                  </a:moveTo>
                  <a:cubicBezTo>
                    <a:pt x="1103" y="1"/>
                    <a:pt x="0" y="1104"/>
                    <a:pt x="0" y="2427"/>
                  </a:cubicBezTo>
                  <a:cubicBezTo>
                    <a:pt x="0" y="3025"/>
                    <a:pt x="190" y="3530"/>
                    <a:pt x="536" y="3971"/>
                  </a:cubicBezTo>
                  <a:cubicBezTo>
                    <a:pt x="820" y="3624"/>
                    <a:pt x="1103" y="3309"/>
                    <a:pt x="1481" y="3057"/>
                  </a:cubicBezTo>
                  <a:cubicBezTo>
                    <a:pt x="1261" y="2805"/>
                    <a:pt x="1103" y="2458"/>
                    <a:pt x="1103" y="2112"/>
                  </a:cubicBezTo>
                  <a:cubicBezTo>
                    <a:pt x="1103" y="1356"/>
                    <a:pt x="1733" y="726"/>
                    <a:pt x="2489" y="726"/>
                  </a:cubicBezTo>
                  <a:cubicBezTo>
                    <a:pt x="3214" y="726"/>
                    <a:pt x="3844" y="1356"/>
                    <a:pt x="3844" y="2112"/>
                  </a:cubicBezTo>
                  <a:cubicBezTo>
                    <a:pt x="3844" y="2458"/>
                    <a:pt x="3687" y="2805"/>
                    <a:pt x="3466" y="3057"/>
                  </a:cubicBezTo>
                  <a:cubicBezTo>
                    <a:pt x="3844" y="3246"/>
                    <a:pt x="4128" y="3561"/>
                    <a:pt x="4317" y="3971"/>
                  </a:cubicBezTo>
                  <a:cubicBezTo>
                    <a:pt x="4695" y="3530"/>
                    <a:pt x="4884" y="3025"/>
                    <a:pt x="4884" y="2427"/>
                  </a:cubicBezTo>
                  <a:cubicBezTo>
                    <a:pt x="4884" y="1104"/>
                    <a:pt x="3781" y="1"/>
                    <a:pt x="2426" y="1"/>
                  </a:cubicBezTo>
                  <a:close/>
                </a:path>
              </a:pathLst>
            </a:custGeom>
            <a:grpFill/>
            <a:ln>
              <a:noFill/>
            </a:ln>
          </p:spPr>
          <p:txBody>
            <a:bodyPr spcFirstLastPara="1" wrap="square" lIns="91417" tIns="91417" rIns="91417" bIns="91417" anchor="ctr" anchorCtr="0">
              <a:noAutofit/>
            </a:bodyPr>
            <a:lstStyle/>
            <a:p>
              <a:endParaRPr sz="1400"/>
            </a:p>
          </p:txBody>
        </p:sp>
        <p:sp>
          <p:nvSpPr>
            <p:cNvPr id="611" name="Google Shape;10354;p74"/>
            <p:cNvSpPr/>
            <p:nvPr/>
          </p:nvSpPr>
          <p:spPr>
            <a:xfrm>
              <a:off x="5121375" y="3339900"/>
              <a:ext cx="35475" cy="35475"/>
            </a:xfrm>
            <a:custGeom>
              <a:rect l="l" t="t" r="r" b="b"/>
              <a:pathLst>
                <a:path w="1419" h="1419" extrusionOk="0">
                  <a:moveTo>
                    <a:pt x="725" y="1"/>
                  </a:moveTo>
                  <a:cubicBezTo>
                    <a:pt x="316" y="1"/>
                    <a:pt x="1" y="316"/>
                    <a:pt x="1" y="694"/>
                  </a:cubicBezTo>
                  <a:cubicBezTo>
                    <a:pt x="1" y="1103"/>
                    <a:pt x="316" y="1418"/>
                    <a:pt x="725" y="1418"/>
                  </a:cubicBezTo>
                  <a:cubicBezTo>
                    <a:pt x="1103" y="1418"/>
                    <a:pt x="1418" y="1103"/>
                    <a:pt x="1418" y="694"/>
                  </a:cubicBezTo>
                  <a:cubicBezTo>
                    <a:pt x="1418" y="316"/>
                    <a:pt x="1103" y="1"/>
                    <a:pt x="725" y="1"/>
                  </a:cubicBezTo>
                  <a:close/>
                </a:path>
              </a:pathLst>
            </a:custGeom>
            <a:grpFill/>
            <a:ln>
              <a:noFill/>
            </a:ln>
          </p:spPr>
          <p:txBody>
            <a:bodyPr spcFirstLastPara="1" wrap="square" lIns="91417" tIns="91417" rIns="91417" bIns="91417" anchor="ctr" anchorCtr="0">
              <a:noAutofit/>
            </a:bodyPr>
            <a:lstStyle/>
            <a:p>
              <a:endParaRPr sz="1400"/>
            </a:p>
          </p:txBody>
        </p:sp>
        <p:sp>
          <p:nvSpPr>
            <p:cNvPr id="612" name="Google Shape;10355;p74"/>
            <p:cNvSpPr/>
            <p:nvPr/>
          </p:nvSpPr>
          <p:spPr>
            <a:xfrm>
              <a:off x="5009550" y="3234750"/>
              <a:ext cx="259150" cy="261125"/>
            </a:xfrm>
            <a:custGeom>
              <a:rect l="l" t="t" r="r" b="b"/>
              <a:pathLst>
                <a:path w="10366" h="10445" extrusionOk="0">
                  <a:moveTo>
                    <a:pt x="5198" y="2159"/>
                  </a:moveTo>
                  <a:cubicBezTo>
                    <a:pt x="6931" y="2159"/>
                    <a:pt x="8286" y="3514"/>
                    <a:pt x="8286" y="5246"/>
                  </a:cubicBezTo>
                  <a:cubicBezTo>
                    <a:pt x="8286" y="6916"/>
                    <a:pt x="6931" y="8365"/>
                    <a:pt x="5198" y="8365"/>
                  </a:cubicBezTo>
                  <a:cubicBezTo>
                    <a:pt x="3340" y="8365"/>
                    <a:pt x="2079" y="6822"/>
                    <a:pt x="2079" y="5246"/>
                  </a:cubicBezTo>
                  <a:cubicBezTo>
                    <a:pt x="2079" y="3514"/>
                    <a:pt x="3497" y="2159"/>
                    <a:pt x="5198" y="2159"/>
                  </a:cubicBezTo>
                  <a:close/>
                  <a:moveTo>
                    <a:pt x="5167" y="1"/>
                  </a:moveTo>
                  <a:cubicBezTo>
                    <a:pt x="5088" y="1"/>
                    <a:pt x="5009" y="17"/>
                    <a:pt x="4946" y="48"/>
                  </a:cubicBezTo>
                  <a:lnTo>
                    <a:pt x="4001" y="836"/>
                  </a:lnTo>
                  <a:lnTo>
                    <a:pt x="2773" y="678"/>
                  </a:lnTo>
                  <a:cubicBezTo>
                    <a:pt x="2756" y="675"/>
                    <a:pt x="2739" y="673"/>
                    <a:pt x="2723" y="673"/>
                  </a:cubicBezTo>
                  <a:cubicBezTo>
                    <a:pt x="2583" y="673"/>
                    <a:pt x="2454" y="786"/>
                    <a:pt x="2426" y="899"/>
                  </a:cubicBezTo>
                  <a:lnTo>
                    <a:pt x="1953" y="2033"/>
                  </a:lnTo>
                  <a:lnTo>
                    <a:pt x="819" y="2505"/>
                  </a:lnTo>
                  <a:cubicBezTo>
                    <a:pt x="662" y="2568"/>
                    <a:pt x="567" y="2694"/>
                    <a:pt x="630" y="2852"/>
                  </a:cubicBezTo>
                  <a:lnTo>
                    <a:pt x="788" y="4081"/>
                  </a:lnTo>
                  <a:lnTo>
                    <a:pt x="32" y="5026"/>
                  </a:lnTo>
                  <a:cubicBezTo>
                    <a:pt x="0" y="5183"/>
                    <a:pt x="0" y="5341"/>
                    <a:pt x="63" y="5467"/>
                  </a:cubicBezTo>
                  <a:lnTo>
                    <a:pt x="819" y="6381"/>
                  </a:lnTo>
                  <a:lnTo>
                    <a:pt x="662" y="7609"/>
                  </a:lnTo>
                  <a:cubicBezTo>
                    <a:pt x="630" y="7767"/>
                    <a:pt x="725" y="7924"/>
                    <a:pt x="851" y="7956"/>
                  </a:cubicBezTo>
                  <a:lnTo>
                    <a:pt x="1985" y="8428"/>
                  </a:lnTo>
                  <a:lnTo>
                    <a:pt x="2457" y="9594"/>
                  </a:lnTo>
                  <a:cubicBezTo>
                    <a:pt x="2536" y="9725"/>
                    <a:pt x="2637" y="9791"/>
                    <a:pt x="2741" y="9791"/>
                  </a:cubicBezTo>
                  <a:cubicBezTo>
                    <a:pt x="2762" y="9791"/>
                    <a:pt x="2783" y="9788"/>
                    <a:pt x="2804" y="9783"/>
                  </a:cubicBezTo>
                  <a:lnTo>
                    <a:pt x="4033" y="9626"/>
                  </a:lnTo>
                  <a:lnTo>
                    <a:pt x="4978" y="10382"/>
                  </a:lnTo>
                  <a:cubicBezTo>
                    <a:pt x="5072" y="10413"/>
                    <a:pt x="5104" y="10445"/>
                    <a:pt x="5167" y="10445"/>
                  </a:cubicBezTo>
                  <a:cubicBezTo>
                    <a:pt x="5261" y="10445"/>
                    <a:pt x="5324" y="10413"/>
                    <a:pt x="5387" y="10382"/>
                  </a:cubicBezTo>
                  <a:lnTo>
                    <a:pt x="6333" y="9626"/>
                  </a:lnTo>
                  <a:lnTo>
                    <a:pt x="7530" y="9783"/>
                  </a:lnTo>
                  <a:cubicBezTo>
                    <a:pt x="7687" y="9783"/>
                    <a:pt x="7876" y="9689"/>
                    <a:pt x="7908" y="9594"/>
                  </a:cubicBezTo>
                  <a:lnTo>
                    <a:pt x="8380" y="8428"/>
                  </a:lnTo>
                  <a:lnTo>
                    <a:pt x="9515" y="7956"/>
                  </a:lnTo>
                  <a:cubicBezTo>
                    <a:pt x="9672" y="7893"/>
                    <a:pt x="9735" y="7767"/>
                    <a:pt x="9704" y="7609"/>
                  </a:cubicBezTo>
                  <a:lnTo>
                    <a:pt x="9546" y="6381"/>
                  </a:lnTo>
                  <a:lnTo>
                    <a:pt x="10302" y="5467"/>
                  </a:lnTo>
                  <a:cubicBezTo>
                    <a:pt x="10365" y="5341"/>
                    <a:pt x="10365" y="5120"/>
                    <a:pt x="10302" y="5026"/>
                  </a:cubicBezTo>
                  <a:lnTo>
                    <a:pt x="9546" y="4081"/>
                  </a:lnTo>
                  <a:lnTo>
                    <a:pt x="9704" y="2852"/>
                  </a:lnTo>
                  <a:cubicBezTo>
                    <a:pt x="9735" y="2694"/>
                    <a:pt x="9641" y="2537"/>
                    <a:pt x="9515" y="2505"/>
                  </a:cubicBezTo>
                  <a:lnTo>
                    <a:pt x="8380" y="2033"/>
                  </a:lnTo>
                  <a:lnTo>
                    <a:pt x="7908" y="899"/>
                  </a:lnTo>
                  <a:cubicBezTo>
                    <a:pt x="7826" y="762"/>
                    <a:pt x="7719" y="672"/>
                    <a:pt x="7589" y="672"/>
                  </a:cubicBezTo>
                  <a:cubicBezTo>
                    <a:pt x="7570" y="672"/>
                    <a:pt x="7550" y="674"/>
                    <a:pt x="7530" y="678"/>
                  </a:cubicBezTo>
                  <a:lnTo>
                    <a:pt x="6333" y="836"/>
                  </a:lnTo>
                  <a:lnTo>
                    <a:pt x="5387" y="48"/>
                  </a:lnTo>
                  <a:cubicBezTo>
                    <a:pt x="5324" y="17"/>
                    <a:pt x="5246" y="1"/>
                    <a:pt x="5167" y="1"/>
                  </a:cubicBezTo>
                  <a:close/>
                </a:path>
              </a:pathLst>
            </a:custGeom>
            <a:grpFill/>
            <a:ln>
              <a:noFill/>
            </a:ln>
          </p:spPr>
          <p:txBody>
            <a:bodyPr spcFirstLastPara="1" wrap="square" lIns="91417" tIns="91417" rIns="91417" bIns="91417" anchor="ctr" anchorCtr="0">
              <a:noAutofit/>
            </a:bodyPr>
            <a:lstStyle/>
            <a:p>
              <a:endParaRPr sz="1400"/>
            </a:p>
          </p:txBody>
        </p:sp>
        <p:sp>
          <p:nvSpPr>
            <p:cNvPr id="613" name="Google Shape;10356;p74"/>
            <p:cNvSpPr/>
            <p:nvPr/>
          </p:nvSpPr>
          <p:spPr>
            <a:xfrm>
              <a:off x="5105625" y="3391900"/>
              <a:ext cx="66975" cy="34675"/>
            </a:xfrm>
            <a:custGeom>
              <a:rect l="l" t="t" r="r" b="b"/>
              <a:pathLst>
                <a:path w="2679" h="1387" extrusionOk="0">
                  <a:moveTo>
                    <a:pt x="1355" y="0"/>
                  </a:moveTo>
                  <a:cubicBezTo>
                    <a:pt x="725" y="0"/>
                    <a:pt x="190" y="441"/>
                    <a:pt x="1" y="977"/>
                  </a:cubicBezTo>
                  <a:cubicBezTo>
                    <a:pt x="410" y="1229"/>
                    <a:pt x="820" y="1386"/>
                    <a:pt x="1355" y="1386"/>
                  </a:cubicBezTo>
                  <a:cubicBezTo>
                    <a:pt x="1859" y="1386"/>
                    <a:pt x="2301" y="1229"/>
                    <a:pt x="2679" y="977"/>
                  </a:cubicBezTo>
                  <a:cubicBezTo>
                    <a:pt x="2521" y="410"/>
                    <a:pt x="1985" y="0"/>
                    <a:pt x="1355" y="0"/>
                  </a:cubicBezTo>
                  <a:close/>
                </a:path>
              </a:pathLst>
            </a:custGeom>
            <a:grpFill/>
            <a:ln>
              <a:noFill/>
            </a:ln>
          </p:spPr>
          <p:txBody>
            <a:bodyPr spcFirstLastPara="1" wrap="square" lIns="91417" tIns="91417" rIns="91417" bIns="91417" anchor="ctr" anchorCtr="0">
              <a:noAutofit/>
            </a:bodyPr>
            <a:lstStyle/>
            <a:p>
              <a:endParaRPr sz="1400"/>
            </a:p>
          </p:txBody>
        </p:sp>
        <p:sp>
          <p:nvSpPr>
            <p:cNvPr id="614" name="Google Shape;10357;p74"/>
            <p:cNvSpPr/>
            <p:nvPr/>
          </p:nvSpPr>
          <p:spPr>
            <a:xfrm>
              <a:off x="5192275" y="3443075"/>
              <a:ext cx="95325" cy="86975"/>
            </a:xfrm>
            <a:custGeom>
              <a:rect l="l" t="t" r="r" b="b"/>
              <a:pathLst>
                <a:path w="3812" h="3479" extrusionOk="0">
                  <a:moveTo>
                    <a:pt x="2867" y="1"/>
                  </a:moveTo>
                  <a:cubicBezTo>
                    <a:pt x="2741" y="127"/>
                    <a:pt x="2647" y="221"/>
                    <a:pt x="2489" y="284"/>
                  </a:cubicBezTo>
                  <a:lnTo>
                    <a:pt x="1607" y="631"/>
                  </a:lnTo>
                  <a:lnTo>
                    <a:pt x="1260" y="1482"/>
                  </a:lnTo>
                  <a:cubicBezTo>
                    <a:pt x="1103" y="1891"/>
                    <a:pt x="693" y="2112"/>
                    <a:pt x="284" y="2112"/>
                  </a:cubicBezTo>
                  <a:lnTo>
                    <a:pt x="158" y="2112"/>
                  </a:lnTo>
                  <a:lnTo>
                    <a:pt x="0" y="2080"/>
                  </a:lnTo>
                  <a:lnTo>
                    <a:pt x="1166" y="3372"/>
                  </a:lnTo>
                  <a:cubicBezTo>
                    <a:pt x="1237" y="3443"/>
                    <a:pt x="1343" y="3478"/>
                    <a:pt x="1445" y="3478"/>
                  </a:cubicBezTo>
                  <a:cubicBezTo>
                    <a:pt x="1479" y="3478"/>
                    <a:pt x="1512" y="3474"/>
                    <a:pt x="1544" y="3466"/>
                  </a:cubicBezTo>
                  <a:cubicBezTo>
                    <a:pt x="1638" y="3403"/>
                    <a:pt x="1764" y="3340"/>
                    <a:pt x="1764" y="3183"/>
                  </a:cubicBezTo>
                  <a:lnTo>
                    <a:pt x="2080" y="1639"/>
                  </a:lnTo>
                  <a:lnTo>
                    <a:pt x="3497" y="1324"/>
                  </a:lnTo>
                  <a:cubicBezTo>
                    <a:pt x="3532" y="1338"/>
                    <a:pt x="3563" y="1344"/>
                    <a:pt x="3592" y="1344"/>
                  </a:cubicBezTo>
                  <a:cubicBezTo>
                    <a:pt x="3693" y="1344"/>
                    <a:pt x="3756" y="1265"/>
                    <a:pt x="3781" y="1167"/>
                  </a:cubicBezTo>
                  <a:cubicBezTo>
                    <a:pt x="3812" y="1072"/>
                    <a:pt x="3781" y="946"/>
                    <a:pt x="3686" y="820"/>
                  </a:cubicBezTo>
                  <a:lnTo>
                    <a:pt x="2867" y="1"/>
                  </a:lnTo>
                  <a:close/>
                </a:path>
              </a:pathLst>
            </a:custGeom>
            <a:grpFill/>
            <a:ln>
              <a:noFill/>
            </a:ln>
          </p:spPr>
          <p:txBody>
            <a:bodyPr spcFirstLastPara="1" wrap="square" lIns="91417" tIns="91417" rIns="91417" bIns="91417" anchor="ctr" anchorCtr="0">
              <a:noAutofit/>
            </a:bodyPr>
            <a:lstStyle/>
            <a:p>
              <a:endParaRPr sz="1400"/>
            </a:p>
          </p:txBody>
        </p:sp>
        <p:sp>
          <p:nvSpPr>
            <p:cNvPr id="615" name="Google Shape;10358;p74"/>
            <p:cNvSpPr/>
            <p:nvPr/>
          </p:nvSpPr>
          <p:spPr>
            <a:xfrm>
              <a:off x="4991425" y="3444650"/>
              <a:ext cx="95325" cy="87325"/>
            </a:xfrm>
            <a:custGeom>
              <a:rect l="l" t="t" r="r" b="b"/>
              <a:pathLst>
                <a:path w="3812" h="3492" extrusionOk="0">
                  <a:moveTo>
                    <a:pt x="946" y="1"/>
                  </a:moveTo>
                  <a:lnTo>
                    <a:pt x="126" y="851"/>
                  </a:lnTo>
                  <a:cubicBezTo>
                    <a:pt x="0" y="851"/>
                    <a:pt x="0" y="1009"/>
                    <a:pt x="32" y="1104"/>
                  </a:cubicBezTo>
                  <a:cubicBezTo>
                    <a:pt x="95" y="1230"/>
                    <a:pt x="158" y="1324"/>
                    <a:pt x="315" y="1356"/>
                  </a:cubicBezTo>
                  <a:lnTo>
                    <a:pt x="1733" y="1671"/>
                  </a:lnTo>
                  <a:lnTo>
                    <a:pt x="2048" y="3214"/>
                  </a:lnTo>
                  <a:cubicBezTo>
                    <a:pt x="2080" y="3309"/>
                    <a:pt x="2174" y="3435"/>
                    <a:pt x="2300" y="3466"/>
                  </a:cubicBezTo>
                  <a:cubicBezTo>
                    <a:pt x="2328" y="3485"/>
                    <a:pt x="2361" y="3492"/>
                    <a:pt x="2396" y="3492"/>
                  </a:cubicBezTo>
                  <a:cubicBezTo>
                    <a:pt x="2482" y="3492"/>
                    <a:pt x="2580" y="3448"/>
                    <a:pt x="2647" y="3403"/>
                  </a:cubicBezTo>
                  <a:lnTo>
                    <a:pt x="3813" y="2112"/>
                  </a:lnTo>
                  <a:lnTo>
                    <a:pt x="3813" y="2112"/>
                  </a:lnTo>
                  <a:lnTo>
                    <a:pt x="3624" y="2143"/>
                  </a:lnTo>
                  <a:lnTo>
                    <a:pt x="3561" y="2143"/>
                  </a:lnTo>
                  <a:cubicBezTo>
                    <a:pt x="3119" y="2143"/>
                    <a:pt x="2773" y="1891"/>
                    <a:pt x="2552" y="1513"/>
                  </a:cubicBezTo>
                  <a:lnTo>
                    <a:pt x="2206" y="631"/>
                  </a:lnTo>
                  <a:lnTo>
                    <a:pt x="1355" y="284"/>
                  </a:lnTo>
                  <a:cubicBezTo>
                    <a:pt x="1198" y="221"/>
                    <a:pt x="1072" y="127"/>
                    <a:pt x="946" y="1"/>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616" name="Google Shape;10390;p74"/>
          <p:cNvGrpSpPr/>
          <p:nvPr/>
        </p:nvGrpSpPr>
        <p:grpSpPr>
          <a:xfrm>
            <a:off x="4171997" y="2668995"/>
            <a:ext cx="628651" cy="670006"/>
            <a:chOff x="3497300" y="3227275"/>
            <a:chExt cx="296175" cy="296175"/>
          </a:xfrm>
          <a:solidFill>
            <a:srgbClr val="00677F"/>
          </a:solidFill>
        </p:grpSpPr>
        <p:sp>
          <p:nvSpPr>
            <p:cNvPr id="617" name="Google Shape;10391;p74"/>
            <p:cNvSpPr/>
            <p:nvPr/>
          </p:nvSpPr>
          <p:spPr>
            <a:xfrm>
              <a:off x="3609925" y="3339900"/>
              <a:ext cx="69350" cy="68550"/>
            </a:xfrm>
            <a:custGeom>
              <a:rect l="l" t="t" r="r" b="b"/>
              <a:pathLst>
                <a:path w="2774" h="2742" extrusionOk="0">
                  <a:moveTo>
                    <a:pt x="1387" y="1"/>
                  </a:moveTo>
                  <a:cubicBezTo>
                    <a:pt x="631" y="1"/>
                    <a:pt x="1" y="631"/>
                    <a:pt x="1" y="1355"/>
                  </a:cubicBezTo>
                  <a:cubicBezTo>
                    <a:pt x="1" y="2112"/>
                    <a:pt x="631" y="2742"/>
                    <a:pt x="1387" y="2742"/>
                  </a:cubicBezTo>
                  <a:cubicBezTo>
                    <a:pt x="2143" y="2742"/>
                    <a:pt x="2773" y="2112"/>
                    <a:pt x="2773" y="1355"/>
                  </a:cubicBezTo>
                  <a:cubicBezTo>
                    <a:pt x="2773" y="631"/>
                    <a:pt x="2143" y="1"/>
                    <a:pt x="1387" y="1"/>
                  </a:cubicBezTo>
                  <a:close/>
                </a:path>
              </a:pathLst>
            </a:custGeom>
            <a:grpFill/>
            <a:ln>
              <a:noFill/>
            </a:ln>
          </p:spPr>
          <p:txBody>
            <a:bodyPr spcFirstLastPara="1" wrap="square" lIns="91417" tIns="91417" rIns="91417" bIns="91417" anchor="ctr" anchorCtr="0">
              <a:noAutofit/>
            </a:bodyPr>
            <a:lstStyle/>
            <a:p>
              <a:endParaRPr sz="1400"/>
            </a:p>
          </p:txBody>
        </p:sp>
        <p:sp>
          <p:nvSpPr>
            <p:cNvPr id="618" name="Google Shape;10392;p74"/>
            <p:cNvSpPr/>
            <p:nvPr/>
          </p:nvSpPr>
          <p:spPr>
            <a:xfrm>
              <a:off x="3531175" y="3227275"/>
              <a:ext cx="86650" cy="86675"/>
            </a:xfrm>
            <a:custGeom>
              <a:rect l="l" t="t" r="r" b="b"/>
              <a:pathLst>
                <a:path w="3466" h="3467" extrusionOk="0">
                  <a:moveTo>
                    <a:pt x="1733" y="1"/>
                  </a:moveTo>
                  <a:cubicBezTo>
                    <a:pt x="788" y="1"/>
                    <a:pt x="0" y="788"/>
                    <a:pt x="0" y="1733"/>
                  </a:cubicBezTo>
                  <a:cubicBezTo>
                    <a:pt x="0" y="2678"/>
                    <a:pt x="788" y="3466"/>
                    <a:pt x="1733" y="3466"/>
                  </a:cubicBezTo>
                  <a:cubicBezTo>
                    <a:pt x="2741" y="3466"/>
                    <a:pt x="3466" y="2678"/>
                    <a:pt x="3466" y="1733"/>
                  </a:cubicBezTo>
                  <a:cubicBezTo>
                    <a:pt x="3466" y="788"/>
                    <a:pt x="2678" y="1"/>
                    <a:pt x="1733" y="1"/>
                  </a:cubicBezTo>
                  <a:close/>
                </a:path>
              </a:pathLst>
            </a:custGeom>
            <a:grpFill/>
            <a:ln>
              <a:noFill/>
            </a:ln>
          </p:spPr>
          <p:txBody>
            <a:bodyPr spcFirstLastPara="1" wrap="square" lIns="91417" tIns="91417" rIns="91417" bIns="91417" anchor="ctr" anchorCtr="0">
              <a:noAutofit/>
            </a:bodyPr>
            <a:lstStyle/>
            <a:p>
              <a:endParaRPr sz="1400"/>
            </a:p>
          </p:txBody>
        </p:sp>
        <p:sp>
          <p:nvSpPr>
            <p:cNvPr id="619" name="Google Shape;10393;p74"/>
            <p:cNvSpPr/>
            <p:nvPr/>
          </p:nvSpPr>
          <p:spPr>
            <a:xfrm>
              <a:off x="3670575" y="3227275"/>
              <a:ext cx="86675" cy="86675"/>
            </a:xfrm>
            <a:custGeom>
              <a:rect l="l" t="t" r="r" b="b"/>
              <a:pathLst>
                <a:path w="3467" h="3467" extrusionOk="0">
                  <a:moveTo>
                    <a:pt x="1733" y="1"/>
                  </a:moveTo>
                  <a:cubicBezTo>
                    <a:pt x="788" y="1"/>
                    <a:pt x="1" y="788"/>
                    <a:pt x="1" y="1733"/>
                  </a:cubicBezTo>
                  <a:cubicBezTo>
                    <a:pt x="1" y="2678"/>
                    <a:pt x="788" y="3466"/>
                    <a:pt x="1733" y="3466"/>
                  </a:cubicBezTo>
                  <a:cubicBezTo>
                    <a:pt x="2679" y="3466"/>
                    <a:pt x="3466" y="2678"/>
                    <a:pt x="3466" y="1733"/>
                  </a:cubicBezTo>
                  <a:cubicBezTo>
                    <a:pt x="3466" y="788"/>
                    <a:pt x="2679" y="1"/>
                    <a:pt x="1733" y="1"/>
                  </a:cubicBezTo>
                  <a:close/>
                </a:path>
              </a:pathLst>
            </a:custGeom>
            <a:grpFill/>
            <a:ln>
              <a:noFill/>
            </a:ln>
          </p:spPr>
          <p:txBody>
            <a:bodyPr spcFirstLastPara="1" wrap="square" lIns="91417" tIns="91417" rIns="91417" bIns="91417" anchor="ctr" anchorCtr="0">
              <a:noAutofit/>
            </a:bodyPr>
            <a:lstStyle/>
            <a:p>
              <a:endParaRPr sz="1400"/>
            </a:p>
          </p:txBody>
        </p:sp>
        <p:sp>
          <p:nvSpPr>
            <p:cNvPr id="620" name="Google Shape;10394;p74"/>
            <p:cNvSpPr/>
            <p:nvPr/>
          </p:nvSpPr>
          <p:spPr>
            <a:xfrm>
              <a:off x="3622525" y="3421825"/>
              <a:ext cx="41775" cy="25225"/>
            </a:xfrm>
            <a:custGeom>
              <a:rect l="l" t="t" r="r" b="b"/>
              <a:pathLst>
                <a:path w="1670" h="1009" extrusionOk="0">
                  <a:moveTo>
                    <a:pt x="1" y="0"/>
                  </a:moveTo>
                  <a:lnTo>
                    <a:pt x="851" y="1008"/>
                  </a:lnTo>
                  <a:lnTo>
                    <a:pt x="1671" y="0"/>
                  </a:lnTo>
                  <a:lnTo>
                    <a:pt x="1671" y="0"/>
                  </a:lnTo>
                  <a:cubicBezTo>
                    <a:pt x="1450" y="126"/>
                    <a:pt x="1167" y="158"/>
                    <a:pt x="851" y="158"/>
                  </a:cubicBezTo>
                  <a:cubicBezTo>
                    <a:pt x="568" y="158"/>
                    <a:pt x="284" y="95"/>
                    <a:pt x="1" y="0"/>
                  </a:cubicBezTo>
                  <a:close/>
                </a:path>
              </a:pathLst>
            </a:custGeom>
            <a:grpFill/>
            <a:ln>
              <a:noFill/>
            </a:ln>
          </p:spPr>
          <p:txBody>
            <a:bodyPr spcFirstLastPara="1" wrap="square" lIns="91417" tIns="91417" rIns="91417" bIns="91417" anchor="ctr" anchorCtr="0">
              <a:noAutofit/>
            </a:bodyPr>
            <a:lstStyle/>
            <a:p>
              <a:endParaRPr sz="1400"/>
            </a:p>
          </p:txBody>
        </p:sp>
        <p:sp>
          <p:nvSpPr>
            <p:cNvPr id="621" name="Google Shape;10395;p74"/>
            <p:cNvSpPr/>
            <p:nvPr/>
          </p:nvSpPr>
          <p:spPr>
            <a:xfrm>
              <a:off x="3566600" y="3416300"/>
              <a:ext cx="70125" cy="106350"/>
            </a:xfrm>
            <a:custGeom>
              <a:rect l="l" t="t" r="r" b="b"/>
              <a:pathLst>
                <a:path w="2805" h="4254" extrusionOk="0">
                  <a:moveTo>
                    <a:pt x="1261" y="1"/>
                  </a:moveTo>
                  <a:cubicBezTo>
                    <a:pt x="474" y="599"/>
                    <a:pt x="1" y="1513"/>
                    <a:pt x="1" y="2490"/>
                  </a:cubicBezTo>
                  <a:lnTo>
                    <a:pt x="1" y="3907"/>
                  </a:lnTo>
                  <a:cubicBezTo>
                    <a:pt x="1" y="4096"/>
                    <a:pt x="158" y="4254"/>
                    <a:pt x="379" y="4254"/>
                  </a:cubicBezTo>
                  <a:lnTo>
                    <a:pt x="2805" y="4254"/>
                  </a:lnTo>
                  <a:lnTo>
                    <a:pt x="2805" y="1891"/>
                  </a:lnTo>
                  <a:lnTo>
                    <a:pt x="1261" y="1"/>
                  </a:lnTo>
                  <a:close/>
                </a:path>
              </a:pathLst>
            </a:custGeom>
            <a:grpFill/>
            <a:ln>
              <a:noFill/>
            </a:ln>
          </p:spPr>
          <p:txBody>
            <a:bodyPr spcFirstLastPara="1" wrap="square" lIns="91417" tIns="91417" rIns="91417" bIns="91417" anchor="ctr" anchorCtr="0">
              <a:noAutofit/>
            </a:bodyPr>
            <a:lstStyle/>
            <a:p>
              <a:endParaRPr sz="1400"/>
            </a:p>
          </p:txBody>
        </p:sp>
        <p:sp>
          <p:nvSpPr>
            <p:cNvPr id="622" name="Google Shape;10396;p74"/>
            <p:cNvSpPr/>
            <p:nvPr/>
          </p:nvSpPr>
          <p:spPr>
            <a:xfrm>
              <a:off x="3653250" y="3417100"/>
              <a:ext cx="70125" cy="106350"/>
            </a:xfrm>
            <a:custGeom>
              <a:rect l="l" t="t" r="r" b="b"/>
              <a:pathLst>
                <a:path w="2805" h="4254" extrusionOk="0">
                  <a:moveTo>
                    <a:pt x="1544" y="0"/>
                  </a:moveTo>
                  <a:lnTo>
                    <a:pt x="1" y="1890"/>
                  </a:lnTo>
                  <a:lnTo>
                    <a:pt x="1" y="4253"/>
                  </a:lnTo>
                  <a:lnTo>
                    <a:pt x="2458" y="4253"/>
                  </a:lnTo>
                  <a:cubicBezTo>
                    <a:pt x="2647" y="4253"/>
                    <a:pt x="2804" y="4096"/>
                    <a:pt x="2804" y="3907"/>
                  </a:cubicBezTo>
                  <a:lnTo>
                    <a:pt x="2804" y="2489"/>
                  </a:lnTo>
                  <a:cubicBezTo>
                    <a:pt x="2773" y="1481"/>
                    <a:pt x="2300" y="567"/>
                    <a:pt x="1544" y="0"/>
                  </a:cubicBezTo>
                  <a:close/>
                </a:path>
              </a:pathLst>
            </a:custGeom>
            <a:grpFill/>
            <a:ln>
              <a:noFill/>
            </a:ln>
          </p:spPr>
          <p:txBody>
            <a:bodyPr spcFirstLastPara="1" wrap="square" lIns="91417" tIns="91417" rIns="91417" bIns="91417" anchor="ctr" anchorCtr="0">
              <a:noAutofit/>
            </a:bodyPr>
            <a:lstStyle/>
            <a:p>
              <a:endParaRPr sz="1400"/>
            </a:p>
          </p:txBody>
        </p:sp>
        <p:sp>
          <p:nvSpPr>
            <p:cNvPr id="623" name="Google Shape;10397;p74"/>
            <p:cNvSpPr/>
            <p:nvPr/>
          </p:nvSpPr>
          <p:spPr>
            <a:xfrm>
              <a:off x="3655625" y="3310775"/>
              <a:ext cx="137850" cy="108700"/>
            </a:xfrm>
            <a:custGeom>
              <a:rect l="l" t="t" r="r" b="b"/>
              <a:pathLst>
                <a:path w="5514" h="4348" extrusionOk="0">
                  <a:moveTo>
                    <a:pt x="3686" y="1512"/>
                  </a:moveTo>
                  <a:cubicBezTo>
                    <a:pt x="3907" y="1512"/>
                    <a:pt x="4064" y="1670"/>
                    <a:pt x="4064" y="1859"/>
                  </a:cubicBezTo>
                  <a:cubicBezTo>
                    <a:pt x="4064" y="2048"/>
                    <a:pt x="3907" y="2205"/>
                    <a:pt x="3686" y="2205"/>
                  </a:cubicBezTo>
                  <a:lnTo>
                    <a:pt x="2993" y="2205"/>
                  </a:lnTo>
                  <a:cubicBezTo>
                    <a:pt x="2804" y="2205"/>
                    <a:pt x="2646" y="2048"/>
                    <a:pt x="2646" y="1859"/>
                  </a:cubicBezTo>
                  <a:cubicBezTo>
                    <a:pt x="2646" y="1670"/>
                    <a:pt x="2804" y="1512"/>
                    <a:pt x="2993" y="1512"/>
                  </a:cubicBezTo>
                  <a:close/>
                  <a:moveTo>
                    <a:pt x="4127" y="0"/>
                  </a:moveTo>
                  <a:cubicBezTo>
                    <a:pt x="3686" y="536"/>
                    <a:pt x="3056" y="851"/>
                    <a:pt x="2331" y="851"/>
                  </a:cubicBezTo>
                  <a:cubicBezTo>
                    <a:pt x="1607" y="851"/>
                    <a:pt x="977" y="504"/>
                    <a:pt x="536" y="63"/>
                  </a:cubicBezTo>
                  <a:cubicBezTo>
                    <a:pt x="347" y="221"/>
                    <a:pt x="158" y="378"/>
                    <a:pt x="0" y="567"/>
                  </a:cubicBezTo>
                  <a:cubicBezTo>
                    <a:pt x="945" y="756"/>
                    <a:pt x="1638" y="1575"/>
                    <a:pt x="1638" y="2615"/>
                  </a:cubicBezTo>
                  <a:cubicBezTo>
                    <a:pt x="1638" y="2930"/>
                    <a:pt x="1575" y="3214"/>
                    <a:pt x="1449" y="3466"/>
                  </a:cubicBezTo>
                  <a:cubicBezTo>
                    <a:pt x="1859" y="3718"/>
                    <a:pt x="2205" y="4001"/>
                    <a:pt x="2520" y="4348"/>
                  </a:cubicBezTo>
                  <a:lnTo>
                    <a:pt x="5167" y="4348"/>
                  </a:lnTo>
                  <a:cubicBezTo>
                    <a:pt x="5356" y="4348"/>
                    <a:pt x="5513" y="4190"/>
                    <a:pt x="5513" y="4001"/>
                  </a:cubicBezTo>
                  <a:lnTo>
                    <a:pt x="5513" y="2615"/>
                  </a:lnTo>
                  <a:cubicBezTo>
                    <a:pt x="5482" y="1512"/>
                    <a:pt x="4915" y="567"/>
                    <a:pt x="4127" y="0"/>
                  </a:cubicBezTo>
                  <a:close/>
                </a:path>
              </a:pathLst>
            </a:custGeom>
            <a:grpFill/>
            <a:ln>
              <a:noFill/>
            </a:ln>
          </p:spPr>
          <p:txBody>
            <a:bodyPr spcFirstLastPara="1" wrap="square" lIns="91417" tIns="91417" rIns="91417" bIns="91417" anchor="ctr" anchorCtr="0">
              <a:noAutofit/>
            </a:bodyPr>
            <a:lstStyle/>
            <a:p>
              <a:endParaRPr sz="1400"/>
            </a:p>
          </p:txBody>
        </p:sp>
        <p:sp>
          <p:nvSpPr>
            <p:cNvPr id="624" name="Google Shape;10398;p74"/>
            <p:cNvSpPr/>
            <p:nvPr/>
          </p:nvSpPr>
          <p:spPr>
            <a:xfrm>
              <a:off x="3497300" y="3309975"/>
              <a:ext cx="136275" cy="108725"/>
            </a:xfrm>
            <a:custGeom>
              <a:rect l="l" t="t" r="r" b="b"/>
              <a:pathLst>
                <a:path w="5451" h="4349" extrusionOk="0">
                  <a:moveTo>
                    <a:pt x="2426" y="1544"/>
                  </a:moveTo>
                  <a:cubicBezTo>
                    <a:pt x="2615" y="1544"/>
                    <a:pt x="2773" y="1702"/>
                    <a:pt x="2773" y="1891"/>
                  </a:cubicBezTo>
                  <a:cubicBezTo>
                    <a:pt x="2773" y="2080"/>
                    <a:pt x="2615" y="2237"/>
                    <a:pt x="2426" y="2237"/>
                  </a:cubicBezTo>
                  <a:lnTo>
                    <a:pt x="1733" y="2237"/>
                  </a:lnTo>
                  <a:cubicBezTo>
                    <a:pt x="1513" y="2237"/>
                    <a:pt x="1355" y="2080"/>
                    <a:pt x="1355" y="1891"/>
                  </a:cubicBezTo>
                  <a:cubicBezTo>
                    <a:pt x="1355" y="1702"/>
                    <a:pt x="1513" y="1544"/>
                    <a:pt x="1733" y="1544"/>
                  </a:cubicBezTo>
                  <a:close/>
                  <a:moveTo>
                    <a:pt x="1324" y="1"/>
                  </a:moveTo>
                  <a:cubicBezTo>
                    <a:pt x="536" y="568"/>
                    <a:pt x="1" y="1513"/>
                    <a:pt x="1" y="2552"/>
                  </a:cubicBezTo>
                  <a:lnTo>
                    <a:pt x="1" y="3939"/>
                  </a:lnTo>
                  <a:cubicBezTo>
                    <a:pt x="1" y="4191"/>
                    <a:pt x="95" y="4348"/>
                    <a:pt x="316" y="4348"/>
                  </a:cubicBezTo>
                  <a:lnTo>
                    <a:pt x="2930" y="4348"/>
                  </a:lnTo>
                  <a:cubicBezTo>
                    <a:pt x="3214" y="3970"/>
                    <a:pt x="3561" y="3655"/>
                    <a:pt x="4002" y="3466"/>
                  </a:cubicBezTo>
                  <a:cubicBezTo>
                    <a:pt x="3876" y="3183"/>
                    <a:pt x="3813" y="2930"/>
                    <a:pt x="3813" y="2615"/>
                  </a:cubicBezTo>
                  <a:cubicBezTo>
                    <a:pt x="3813" y="1607"/>
                    <a:pt x="4506" y="757"/>
                    <a:pt x="5451" y="568"/>
                  </a:cubicBezTo>
                  <a:cubicBezTo>
                    <a:pt x="5293" y="347"/>
                    <a:pt x="5104" y="190"/>
                    <a:pt x="4915" y="32"/>
                  </a:cubicBezTo>
                  <a:cubicBezTo>
                    <a:pt x="4474" y="505"/>
                    <a:pt x="3844" y="820"/>
                    <a:pt x="3151" y="820"/>
                  </a:cubicBezTo>
                  <a:cubicBezTo>
                    <a:pt x="2426" y="820"/>
                    <a:pt x="1796" y="505"/>
                    <a:pt x="1324" y="1"/>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625" name="Google Shape;10412;p74"/>
          <p:cNvGrpSpPr/>
          <p:nvPr/>
        </p:nvGrpSpPr>
        <p:grpSpPr>
          <a:xfrm>
            <a:off x="7859577" y="2653944"/>
            <a:ext cx="588534" cy="667235"/>
            <a:chOff x="5364750" y="3235150"/>
            <a:chExt cx="277275" cy="294950"/>
          </a:xfrm>
          <a:solidFill>
            <a:srgbClr val="00677F"/>
          </a:solidFill>
        </p:grpSpPr>
        <p:sp>
          <p:nvSpPr>
            <p:cNvPr id="626" name="Google Shape;10413;p74"/>
            <p:cNvSpPr/>
            <p:nvPr/>
          </p:nvSpPr>
          <p:spPr>
            <a:xfrm>
              <a:off x="5502600" y="3235150"/>
              <a:ext cx="17350" cy="44125"/>
            </a:xfrm>
            <a:custGeom>
              <a:rect l="l" t="t" r="r" b="b"/>
              <a:pathLst>
                <a:path w="694" h="1765" extrusionOk="0">
                  <a:moveTo>
                    <a:pt x="347" y="1"/>
                  </a:moveTo>
                  <a:cubicBezTo>
                    <a:pt x="158" y="1"/>
                    <a:pt x="0" y="158"/>
                    <a:pt x="0" y="347"/>
                  </a:cubicBezTo>
                  <a:lnTo>
                    <a:pt x="0" y="1418"/>
                  </a:lnTo>
                  <a:cubicBezTo>
                    <a:pt x="0" y="1607"/>
                    <a:pt x="158" y="1765"/>
                    <a:pt x="347" y="1765"/>
                  </a:cubicBezTo>
                  <a:cubicBezTo>
                    <a:pt x="536" y="1765"/>
                    <a:pt x="693" y="1607"/>
                    <a:pt x="693" y="1418"/>
                  </a:cubicBezTo>
                  <a:lnTo>
                    <a:pt x="693" y="347"/>
                  </a:lnTo>
                  <a:cubicBezTo>
                    <a:pt x="693" y="158"/>
                    <a:pt x="536" y="1"/>
                    <a:pt x="347" y="1"/>
                  </a:cubicBezTo>
                  <a:close/>
                </a:path>
              </a:pathLst>
            </a:custGeom>
            <a:grpFill/>
            <a:ln>
              <a:noFill/>
            </a:ln>
          </p:spPr>
          <p:txBody>
            <a:bodyPr spcFirstLastPara="1" wrap="square" lIns="91417" tIns="91417" rIns="91417" bIns="91417" anchor="ctr" anchorCtr="0">
              <a:noAutofit/>
            </a:bodyPr>
            <a:lstStyle/>
            <a:p>
              <a:endParaRPr sz="1400"/>
            </a:p>
          </p:txBody>
        </p:sp>
        <p:sp>
          <p:nvSpPr>
            <p:cNvPr id="627" name="Google Shape;10414;p74"/>
            <p:cNvSpPr/>
            <p:nvPr/>
          </p:nvSpPr>
          <p:spPr>
            <a:xfrm>
              <a:off x="5555375" y="3253850"/>
              <a:ext cx="35450" cy="34100"/>
            </a:xfrm>
            <a:custGeom>
              <a:rect l="l" t="t" r="r" b="b"/>
              <a:pathLst>
                <a:path w="1418" h="1364" extrusionOk="0">
                  <a:moveTo>
                    <a:pt x="1071" y="1"/>
                  </a:moveTo>
                  <a:cubicBezTo>
                    <a:pt x="977" y="1"/>
                    <a:pt x="882" y="24"/>
                    <a:pt x="819" y="72"/>
                  </a:cubicBezTo>
                  <a:lnTo>
                    <a:pt x="126" y="796"/>
                  </a:lnTo>
                  <a:cubicBezTo>
                    <a:pt x="0" y="922"/>
                    <a:pt x="0" y="1143"/>
                    <a:pt x="126" y="1269"/>
                  </a:cubicBezTo>
                  <a:cubicBezTo>
                    <a:pt x="189" y="1332"/>
                    <a:pt x="268" y="1363"/>
                    <a:pt x="350" y="1363"/>
                  </a:cubicBezTo>
                  <a:cubicBezTo>
                    <a:pt x="433" y="1363"/>
                    <a:pt x="520" y="1332"/>
                    <a:pt x="599" y="1269"/>
                  </a:cubicBezTo>
                  <a:lnTo>
                    <a:pt x="1323" y="544"/>
                  </a:lnTo>
                  <a:cubicBezTo>
                    <a:pt x="1418" y="418"/>
                    <a:pt x="1418" y="198"/>
                    <a:pt x="1323" y="72"/>
                  </a:cubicBezTo>
                  <a:cubicBezTo>
                    <a:pt x="1260" y="24"/>
                    <a:pt x="1166" y="1"/>
                    <a:pt x="1071" y="1"/>
                  </a:cubicBezTo>
                  <a:close/>
                </a:path>
              </a:pathLst>
            </a:custGeom>
            <a:grpFill/>
            <a:ln>
              <a:noFill/>
            </a:ln>
          </p:spPr>
          <p:txBody>
            <a:bodyPr spcFirstLastPara="1" wrap="square" lIns="91417" tIns="91417" rIns="91417" bIns="91417" anchor="ctr" anchorCtr="0">
              <a:noAutofit/>
            </a:bodyPr>
            <a:lstStyle/>
            <a:p>
              <a:endParaRPr sz="1400"/>
            </a:p>
          </p:txBody>
        </p:sp>
        <p:sp>
          <p:nvSpPr>
            <p:cNvPr id="628" name="Google Shape;10415;p74"/>
            <p:cNvSpPr/>
            <p:nvPr/>
          </p:nvSpPr>
          <p:spPr>
            <a:xfrm>
              <a:off x="5606550" y="3357225"/>
              <a:ext cx="35475" cy="18150"/>
            </a:xfrm>
            <a:custGeom>
              <a:rect l="l" t="t" r="r" b="b"/>
              <a:pathLst>
                <a:path w="1419" h="726" extrusionOk="0">
                  <a:moveTo>
                    <a:pt x="379" y="1"/>
                  </a:moveTo>
                  <a:cubicBezTo>
                    <a:pt x="158" y="1"/>
                    <a:pt x="1" y="158"/>
                    <a:pt x="1" y="347"/>
                  </a:cubicBezTo>
                  <a:cubicBezTo>
                    <a:pt x="1" y="568"/>
                    <a:pt x="158" y="725"/>
                    <a:pt x="379" y="725"/>
                  </a:cubicBezTo>
                  <a:lnTo>
                    <a:pt x="1072" y="725"/>
                  </a:lnTo>
                  <a:cubicBezTo>
                    <a:pt x="1261" y="725"/>
                    <a:pt x="1419" y="568"/>
                    <a:pt x="1419" y="347"/>
                  </a:cubicBezTo>
                  <a:cubicBezTo>
                    <a:pt x="1419" y="158"/>
                    <a:pt x="1261" y="1"/>
                    <a:pt x="1072" y="1"/>
                  </a:cubicBezTo>
                  <a:close/>
                </a:path>
              </a:pathLst>
            </a:custGeom>
            <a:grpFill/>
            <a:ln>
              <a:noFill/>
            </a:ln>
          </p:spPr>
          <p:txBody>
            <a:bodyPr spcFirstLastPara="1" wrap="square" lIns="91417" tIns="91417" rIns="91417" bIns="91417" anchor="ctr" anchorCtr="0">
              <a:noAutofit/>
            </a:bodyPr>
            <a:lstStyle/>
            <a:p>
              <a:endParaRPr sz="1400"/>
            </a:p>
          </p:txBody>
        </p:sp>
        <p:sp>
          <p:nvSpPr>
            <p:cNvPr id="629" name="Google Shape;10416;p74"/>
            <p:cNvSpPr/>
            <p:nvPr/>
          </p:nvSpPr>
          <p:spPr>
            <a:xfrm>
              <a:off x="5364750" y="3357225"/>
              <a:ext cx="35475" cy="17350"/>
            </a:xfrm>
            <a:custGeom>
              <a:rect l="l" t="t" r="r" b="b"/>
              <a:pathLst>
                <a:path w="1419" h="694" extrusionOk="0">
                  <a:moveTo>
                    <a:pt x="347" y="1"/>
                  </a:moveTo>
                  <a:cubicBezTo>
                    <a:pt x="158" y="1"/>
                    <a:pt x="1" y="158"/>
                    <a:pt x="1" y="347"/>
                  </a:cubicBezTo>
                  <a:cubicBezTo>
                    <a:pt x="1" y="568"/>
                    <a:pt x="158" y="694"/>
                    <a:pt x="347" y="694"/>
                  </a:cubicBezTo>
                  <a:lnTo>
                    <a:pt x="1072" y="694"/>
                  </a:lnTo>
                  <a:cubicBezTo>
                    <a:pt x="1261" y="694"/>
                    <a:pt x="1419" y="568"/>
                    <a:pt x="1419" y="347"/>
                  </a:cubicBezTo>
                  <a:cubicBezTo>
                    <a:pt x="1419" y="158"/>
                    <a:pt x="1261" y="1"/>
                    <a:pt x="1072" y="1"/>
                  </a:cubicBezTo>
                  <a:close/>
                </a:path>
              </a:pathLst>
            </a:custGeom>
            <a:grpFill/>
            <a:ln>
              <a:noFill/>
            </a:ln>
          </p:spPr>
          <p:txBody>
            <a:bodyPr spcFirstLastPara="1" wrap="square" lIns="91417" tIns="91417" rIns="91417" bIns="91417" anchor="ctr" anchorCtr="0">
              <a:noAutofit/>
            </a:bodyPr>
            <a:lstStyle/>
            <a:p>
              <a:endParaRPr sz="1400"/>
            </a:p>
          </p:txBody>
        </p:sp>
        <p:sp>
          <p:nvSpPr>
            <p:cNvPr id="630" name="Google Shape;10417;p74"/>
            <p:cNvSpPr/>
            <p:nvPr/>
          </p:nvSpPr>
          <p:spPr>
            <a:xfrm>
              <a:off x="5433275" y="3253850"/>
              <a:ext cx="35475" cy="34100"/>
            </a:xfrm>
            <a:custGeom>
              <a:rect l="l" t="t" r="r" b="b"/>
              <a:pathLst>
                <a:path w="1419" h="1364" extrusionOk="0">
                  <a:moveTo>
                    <a:pt x="363" y="1"/>
                  </a:moveTo>
                  <a:cubicBezTo>
                    <a:pt x="276" y="1"/>
                    <a:pt x="190" y="24"/>
                    <a:pt x="127" y="72"/>
                  </a:cubicBezTo>
                  <a:cubicBezTo>
                    <a:pt x="1" y="198"/>
                    <a:pt x="1" y="450"/>
                    <a:pt x="127" y="544"/>
                  </a:cubicBezTo>
                  <a:lnTo>
                    <a:pt x="820" y="1269"/>
                  </a:lnTo>
                  <a:cubicBezTo>
                    <a:pt x="883" y="1332"/>
                    <a:pt x="977" y="1363"/>
                    <a:pt x="1072" y="1363"/>
                  </a:cubicBezTo>
                  <a:cubicBezTo>
                    <a:pt x="1166" y="1363"/>
                    <a:pt x="1261" y="1332"/>
                    <a:pt x="1324" y="1269"/>
                  </a:cubicBezTo>
                  <a:cubicBezTo>
                    <a:pt x="1418" y="1143"/>
                    <a:pt x="1418" y="922"/>
                    <a:pt x="1324" y="796"/>
                  </a:cubicBezTo>
                  <a:lnTo>
                    <a:pt x="599" y="72"/>
                  </a:lnTo>
                  <a:cubicBezTo>
                    <a:pt x="536" y="24"/>
                    <a:pt x="450" y="1"/>
                    <a:pt x="363" y="1"/>
                  </a:cubicBezTo>
                  <a:close/>
                </a:path>
              </a:pathLst>
            </a:custGeom>
            <a:grpFill/>
            <a:ln>
              <a:noFill/>
            </a:ln>
          </p:spPr>
          <p:txBody>
            <a:bodyPr spcFirstLastPara="1" wrap="square" lIns="91417" tIns="91417" rIns="91417" bIns="91417" anchor="ctr" anchorCtr="0">
              <a:noAutofit/>
            </a:bodyPr>
            <a:lstStyle/>
            <a:p>
              <a:endParaRPr sz="1400"/>
            </a:p>
          </p:txBody>
        </p:sp>
        <p:sp>
          <p:nvSpPr>
            <p:cNvPr id="631" name="Google Shape;10418;p74"/>
            <p:cNvSpPr/>
            <p:nvPr/>
          </p:nvSpPr>
          <p:spPr>
            <a:xfrm>
              <a:off x="5380500" y="3287775"/>
              <a:ext cx="37050" cy="25975"/>
            </a:xfrm>
            <a:custGeom>
              <a:rect l="l" t="t" r="r" b="b"/>
              <a:pathLst>
                <a:path w="1482" h="1039" extrusionOk="0">
                  <a:moveTo>
                    <a:pt x="396" y="0"/>
                  </a:moveTo>
                  <a:cubicBezTo>
                    <a:pt x="267" y="0"/>
                    <a:pt x="132" y="81"/>
                    <a:pt x="64" y="195"/>
                  </a:cubicBezTo>
                  <a:cubicBezTo>
                    <a:pt x="1" y="353"/>
                    <a:pt x="64" y="573"/>
                    <a:pt x="221" y="668"/>
                  </a:cubicBezTo>
                  <a:lnTo>
                    <a:pt x="946" y="1015"/>
                  </a:lnTo>
                  <a:cubicBezTo>
                    <a:pt x="987" y="1031"/>
                    <a:pt x="1032" y="1039"/>
                    <a:pt x="1077" y="1039"/>
                  </a:cubicBezTo>
                  <a:cubicBezTo>
                    <a:pt x="1209" y="1039"/>
                    <a:pt x="1349" y="974"/>
                    <a:pt x="1419" y="857"/>
                  </a:cubicBezTo>
                  <a:cubicBezTo>
                    <a:pt x="1482" y="699"/>
                    <a:pt x="1419" y="447"/>
                    <a:pt x="1261" y="384"/>
                  </a:cubicBezTo>
                  <a:lnTo>
                    <a:pt x="536" y="38"/>
                  </a:lnTo>
                  <a:cubicBezTo>
                    <a:pt x="493" y="12"/>
                    <a:pt x="445" y="0"/>
                    <a:pt x="396" y="0"/>
                  </a:cubicBezTo>
                  <a:close/>
                </a:path>
              </a:pathLst>
            </a:custGeom>
            <a:grpFill/>
            <a:ln>
              <a:noFill/>
            </a:ln>
          </p:spPr>
          <p:txBody>
            <a:bodyPr spcFirstLastPara="1" wrap="square" lIns="91417" tIns="91417" rIns="91417" bIns="91417" anchor="ctr" anchorCtr="0">
              <a:noAutofit/>
            </a:bodyPr>
            <a:lstStyle/>
            <a:p>
              <a:endParaRPr sz="1400"/>
            </a:p>
          </p:txBody>
        </p:sp>
        <p:sp>
          <p:nvSpPr>
            <p:cNvPr id="632" name="Google Shape;10419;p74"/>
            <p:cNvSpPr/>
            <p:nvPr/>
          </p:nvSpPr>
          <p:spPr>
            <a:xfrm>
              <a:off x="5588450" y="3288075"/>
              <a:ext cx="37025" cy="26800"/>
            </a:xfrm>
            <a:custGeom>
              <a:rect l="l" t="t" r="r" b="b"/>
              <a:pathLst>
                <a:path w="1481" h="1072" extrusionOk="0">
                  <a:moveTo>
                    <a:pt x="1110" y="0"/>
                  </a:moveTo>
                  <a:cubicBezTo>
                    <a:pt x="1049" y="0"/>
                    <a:pt x="983" y="18"/>
                    <a:pt x="914" y="57"/>
                  </a:cubicBezTo>
                  <a:lnTo>
                    <a:pt x="221" y="404"/>
                  </a:lnTo>
                  <a:cubicBezTo>
                    <a:pt x="63" y="498"/>
                    <a:pt x="0" y="687"/>
                    <a:pt x="63" y="877"/>
                  </a:cubicBezTo>
                  <a:cubicBezTo>
                    <a:pt x="132" y="991"/>
                    <a:pt x="250" y="1072"/>
                    <a:pt x="382" y="1072"/>
                  </a:cubicBezTo>
                  <a:cubicBezTo>
                    <a:pt x="432" y="1072"/>
                    <a:pt x="484" y="1060"/>
                    <a:pt x="536" y="1034"/>
                  </a:cubicBezTo>
                  <a:lnTo>
                    <a:pt x="1260" y="687"/>
                  </a:lnTo>
                  <a:cubicBezTo>
                    <a:pt x="1418" y="593"/>
                    <a:pt x="1481" y="404"/>
                    <a:pt x="1418" y="215"/>
                  </a:cubicBezTo>
                  <a:cubicBezTo>
                    <a:pt x="1353" y="85"/>
                    <a:pt x="1244" y="0"/>
                    <a:pt x="1110" y="0"/>
                  </a:cubicBezTo>
                  <a:close/>
                </a:path>
              </a:pathLst>
            </a:custGeom>
            <a:grpFill/>
            <a:ln>
              <a:noFill/>
            </a:ln>
          </p:spPr>
          <p:txBody>
            <a:bodyPr spcFirstLastPara="1" wrap="square" lIns="91417" tIns="91417" rIns="91417" bIns="91417" anchor="ctr" anchorCtr="0">
              <a:noAutofit/>
            </a:bodyPr>
            <a:lstStyle/>
            <a:p>
              <a:endParaRPr sz="1400"/>
            </a:p>
          </p:txBody>
        </p:sp>
        <p:sp>
          <p:nvSpPr>
            <p:cNvPr id="633" name="Google Shape;10420;p74"/>
            <p:cNvSpPr/>
            <p:nvPr/>
          </p:nvSpPr>
          <p:spPr>
            <a:xfrm>
              <a:off x="5412025" y="3286350"/>
              <a:ext cx="177225" cy="243750"/>
            </a:xfrm>
            <a:custGeom>
              <a:rect l="l" t="t" r="r" b="b"/>
              <a:pathLst>
                <a:path w="7089" h="9750" extrusionOk="0">
                  <a:moveTo>
                    <a:pt x="3529" y="0"/>
                  </a:moveTo>
                  <a:cubicBezTo>
                    <a:pt x="3151" y="0"/>
                    <a:pt x="2836" y="315"/>
                    <a:pt x="2836" y="725"/>
                  </a:cubicBezTo>
                  <a:lnTo>
                    <a:pt x="2836" y="1418"/>
                  </a:lnTo>
                  <a:cubicBezTo>
                    <a:pt x="2836" y="1040"/>
                    <a:pt x="2520" y="725"/>
                    <a:pt x="2111" y="725"/>
                  </a:cubicBezTo>
                  <a:cubicBezTo>
                    <a:pt x="1733" y="725"/>
                    <a:pt x="1418" y="1040"/>
                    <a:pt x="1418" y="1418"/>
                  </a:cubicBezTo>
                  <a:lnTo>
                    <a:pt x="1418" y="2143"/>
                  </a:lnTo>
                  <a:cubicBezTo>
                    <a:pt x="1544" y="2143"/>
                    <a:pt x="1638" y="2080"/>
                    <a:pt x="1764" y="2080"/>
                  </a:cubicBezTo>
                  <a:lnTo>
                    <a:pt x="3497" y="2080"/>
                  </a:lnTo>
                  <a:cubicBezTo>
                    <a:pt x="4253" y="2080"/>
                    <a:pt x="4883" y="2710"/>
                    <a:pt x="4883" y="3466"/>
                  </a:cubicBezTo>
                  <a:cubicBezTo>
                    <a:pt x="4883" y="4096"/>
                    <a:pt x="4474" y="4600"/>
                    <a:pt x="3907" y="4758"/>
                  </a:cubicBezTo>
                  <a:cubicBezTo>
                    <a:pt x="4064" y="5073"/>
                    <a:pt x="4159" y="5482"/>
                    <a:pt x="4159" y="5860"/>
                  </a:cubicBezTo>
                  <a:cubicBezTo>
                    <a:pt x="4159" y="6081"/>
                    <a:pt x="4001" y="6238"/>
                    <a:pt x="3812" y="6238"/>
                  </a:cubicBezTo>
                  <a:cubicBezTo>
                    <a:pt x="3623" y="6238"/>
                    <a:pt x="3466" y="6081"/>
                    <a:pt x="3466" y="5860"/>
                  </a:cubicBezTo>
                  <a:cubicBezTo>
                    <a:pt x="3466" y="4915"/>
                    <a:pt x="2678" y="4128"/>
                    <a:pt x="1733" y="4128"/>
                  </a:cubicBezTo>
                  <a:lnTo>
                    <a:pt x="3466" y="4128"/>
                  </a:lnTo>
                  <a:cubicBezTo>
                    <a:pt x="3844" y="4128"/>
                    <a:pt x="4159" y="3812"/>
                    <a:pt x="4159" y="3434"/>
                  </a:cubicBezTo>
                  <a:cubicBezTo>
                    <a:pt x="4159" y="3025"/>
                    <a:pt x="3844" y="2710"/>
                    <a:pt x="3466" y="2710"/>
                  </a:cubicBezTo>
                  <a:lnTo>
                    <a:pt x="1733" y="2710"/>
                  </a:lnTo>
                  <a:cubicBezTo>
                    <a:pt x="788" y="2710"/>
                    <a:pt x="0" y="3497"/>
                    <a:pt x="0" y="4443"/>
                  </a:cubicBezTo>
                  <a:lnTo>
                    <a:pt x="0" y="5167"/>
                  </a:lnTo>
                  <a:cubicBezTo>
                    <a:pt x="0" y="6112"/>
                    <a:pt x="536" y="6963"/>
                    <a:pt x="1386" y="7372"/>
                  </a:cubicBezTo>
                  <a:lnTo>
                    <a:pt x="1386" y="8318"/>
                  </a:lnTo>
                  <a:cubicBezTo>
                    <a:pt x="977" y="8318"/>
                    <a:pt x="662" y="8633"/>
                    <a:pt x="662" y="9011"/>
                  </a:cubicBezTo>
                  <a:lnTo>
                    <a:pt x="662" y="9389"/>
                  </a:lnTo>
                  <a:cubicBezTo>
                    <a:pt x="662" y="9578"/>
                    <a:pt x="819" y="9735"/>
                    <a:pt x="1008" y="9735"/>
                  </a:cubicBezTo>
                  <a:lnTo>
                    <a:pt x="5860" y="9735"/>
                  </a:lnTo>
                  <a:cubicBezTo>
                    <a:pt x="5923" y="9745"/>
                    <a:pt x="5979" y="9749"/>
                    <a:pt x="6029" y="9749"/>
                  </a:cubicBezTo>
                  <a:cubicBezTo>
                    <a:pt x="6305" y="9749"/>
                    <a:pt x="6396" y="9612"/>
                    <a:pt x="6396" y="9452"/>
                  </a:cubicBezTo>
                  <a:lnTo>
                    <a:pt x="6396" y="9105"/>
                  </a:lnTo>
                  <a:cubicBezTo>
                    <a:pt x="6396" y="8696"/>
                    <a:pt x="6112" y="8381"/>
                    <a:pt x="5702" y="8381"/>
                  </a:cubicBezTo>
                  <a:lnTo>
                    <a:pt x="5702" y="7436"/>
                  </a:lnTo>
                  <a:cubicBezTo>
                    <a:pt x="6522" y="7057"/>
                    <a:pt x="7089" y="6175"/>
                    <a:pt x="7089" y="5230"/>
                  </a:cubicBezTo>
                  <a:lnTo>
                    <a:pt x="7089" y="2143"/>
                  </a:lnTo>
                  <a:cubicBezTo>
                    <a:pt x="7089" y="1733"/>
                    <a:pt x="6774" y="1418"/>
                    <a:pt x="6364" y="1418"/>
                  </a:cubicBezTo>
                  <a:cubicBezTo>
                    <a:pt x="5986" y="1418"/>
                    <a:pt x="5671" y="1733"/>
                    <a:pt x="5671" y="2143"/>
                  </a:cubicBezTo>
                  <a:lnTo>
                    <a:pt x="5671" y="1418"/>
                  </a:lnTo>
                  <a:cubicBezTo>
                    <a:pt x="5671" y="1040"/>
                    <a:pt x="5356" y="725"/>
                    <a:pt x="4946" y="725"/>
                  </a:cubicBezTo>
                  <a:cubicBezTo>
                    <a:pt x="4568" y="725"/>
                    <a:pt x="4253" y="1040"/>
                    <a:pt x="4253" y="1418"/>
                  </a:cubicBezTo>
                  <a:lnTo>
                    <a:pt x="4253" y="725"/>
                  </a:lnTo>
                  <a:cubicBezTo>
                    <a:pt x="4253" y="315"/>
                    <a:pt x="3938" y="0"/>
                    <a:pt x="3529" y="0"/>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642" name="Google Shape;10478;p74"/>
          <p:cNvGrpSpPr/>
          <p:nvPr/>
        </p:nvGrpSpPr>
        <p:grpSpPr>
          <a:xfrm>
            <a:off x="8602249" y="2653724"/>
            <a:ext cx="638679" cy="668195"/>
            <a:chOff x="5716825" y="3235950"/>
            <a:chExt cx="300900" cy="295375"/>
          </a:xfrm>
          <a:solidFill>
            <a:srgbClr val="00677F"/>
          </a:solidFill>
        </p:grpSpPr>
        <p:sp>
          <p:nvSpPr>
            <p:cNvPr id="643" name="Google Shape;10479;p74"/>
            <p:cNvSpPr/>
            <p:nvPr/>
          </p:nvSpPr>
          <p:spPr>
            <a:xfrm>
              <a:off x="5716825" y="3309975"/>
              <a:ext cx="137075" cy="146525"/>
            </a:xfrm>
            <a:custGeom>
              <a:rect l="l" t="t" r="r" b="b"/>
              <a:pathLst>
                <a:path w="5483" h="5861" extrusionOk="0">
                  <a:moveTo>
                    <a:pt x="2584" y="1"/>
                  </a:moveTo>
                  <a:lnTo>
                    <a:pt x="410" y="2206"/>
                  </a:lnTo>
                  <a:cubicBezTo>
                    <a:pt x="1" y="2615"/>
                    <a:pt x="1" y="3277"/>
                    <a:pt x="410" y="3655"/>
                  </a:cubicBezTo>
                  <a:lnTo>
                    <a:pt x="2584" y="5860"/>
                  </a:lnTo>
                  <a:lnTo>
                    <a:pt x="3781" y="4632"/>
                  </a:lnTo>
                  <a:cubicBezTo>
                    <a:pt x="3844" y="4584"/>
                    <a:pt x="3939" y="4561"/>
                    <a:pt x="4029" y="4561"/>
                  </a:cubicBezTo>
                  <a:cubicBezTo>
                    <a:pt x="4120" y="4561"/>
                    <a:pt x="4206" y="4584"/>
                    <a:pt x="4254" y="4632"/>
                  </a:cubicBezTo>
                  <a:lnTo>
                    <a:pt x="4726" y="5104"/>
                  </a:lnTo>
                  <a:cubicBezTo>
                    <a:pt x="4789" y="5167"/>
                    <a:pt x="4884" y="5199"/>
                    <a:pt x="4974" y="5199"/>
                  </a:cubicBezTo>
                  <a:cubicBezTo>
                    <a:pt x="5065" y="5199"/>
                    <a:pt x="5152" y="5167"/>
                    <a:pt x="5199" y="5104"/>
                  </a:cubicBezTo>
                  <a:cubicBezTo>
                    <a:pt x="5325" y="5010"/>
                    <a:pt x="5325" y="4758"/>
                    <a:pt x="5199" y="4632"/>
                  </a:cubicBezTo>
                  <a:lnTo>
                    <a:pt x="4726" y="4159"/>
                  </a:lnTo>
                  <a:cubicBezTo>
                    <a:pt x="4632" y="4065"/>
                    <a:pt x="4632" y="3813"/>
                    <a:pt x="4726" y="3687"/>
                  </a:cubicBezTo>
                  <a:lnTo>
                    <a:pt x="5482" y="2962"/>
                  </a:lnTo>
                  <a:lnTo>
                    <a:pt x="5010" y="2489"/>
                  </a:lnTo>
                  <a:lnTo>
                    <a:pt x="4789" y="2710"/>
                  </a:lnTo>
                  <a:cubicBezTo>
                    <a:pt x="4584" y="2915"/>
                    <a:pt x="4317" y="3017"/>
                    <a:pt x="4049" y="3017"/>
                  </a:cubicBezTo>
                  <a:cubicBezTo>
                    <a:pt x="3781" y="3017"/>
                    <a:pt x="3513" y="2915"/>
                    <a:pt x="3309" y="2710"/>
                  </a:cubicBezTo>
                  <a:cubicBezTo>
                    <a:pt x="2930" y="2332"/>
                    <a:pt x="2930" y="1670"/>
                    <a:pt x="3309" y="1261"/>
                  </a:cubicBezTo>
                  <a:lnTo>
                    <a:pt x="3561" y="1040"/>
                  </a:lnTo>
                  <a:lnTo>
                    <a:pt x="2584" y="1"/>
                  </a:lnTo>
                  <a:close/>
                </a:path>
              </a:pathLst>
            </a:custGeom>
            <a:grpFill/>
            <a:ln>
              <a:noFill/>
            </a:ln>
          </p:spPr>
          <p:txBody>
            <a:bodyPr spcFirstLastPara="1" wrap="square" lIns="91417" tIns="91417" rIns="91417" bIns="91417" anchor="ctr" anchorCtr="0">
              <a:noAutofit/>
            </a:bodyPr>
            <a:lstStyle/>
            <a:p>
              <a:endParaRPr sz="1400"/>
            </a:p>
          </p:txBody>
        </p:sp>
        <p:sp>
          <p:nvSpPr>
            <p:cNvPr id="644" name="Google Shape;10480;p74"/>
            <p:cNvSpPr/>
            <p:nvPr/>
          </p:nvSpPr>
          <p:spPr>
            <a:xfrm>
              <a:off x="5794025" y="3235950"/>
              <a:ext cx="145725" cy="133900"/>
            </a:xfrm>
            <a:custGeom>
              <a:rect l="l" t="t" r="r" b="b"/>
              <a:pathLst>
                <a:path w="5829" h="5356" extrusionOk="0">
                  <a:moveTo>
                    <a:pt x="2926" y="0"/>
                  </a:moveTo>
                  <a:cubicBezTo>
                    <a:pt x="2662" y="0"/>
                    <a:pt x="2394" y="95"/>
                    <a:pt x="2205" y="284"/>
                  </a:cubicBezTo>
                  <a:lnTo>
                    <a:pt x="0" y="2457"/>
                  </a:lnTo>
                  <a:lnTo>
                    <a:pt x="1229" y="3686"/>
                  </a:lnTo>
                  <a:cubicBezTo>
                    <a:pt x="1323" y="3781"/>
                    <a:pt x="1323" y="4033"/>
                    <a:pt x="1229" y="4127"/>
                  </a:cubicBezTo>
                  <a:lnTo>
                    <a:pt x="725" y="4600"/>
                  </a:lnTo>
                  <a:cubicBezTo>
                    <a:pt x="630" y="4726"/>
                    <a:pt x="630" y="4978"/>
                    <a:pt x="725" y="5072"/>
                  </a:cubicBezTo>
                  <a:cubicBezTo>
                    <a:pt x="788" y="5135"/>
                    <a:pt x="882" y="5167"/>
                    <a:pt x="977" y="5167"/>
                  </a:cubicBezTo>
                  <a:cubicBezTo>
                    <a:pt x="1071" y="5167"/>
                    <a:pt x="1166" y="5135"/>
                    <a:pt x="1229" y="5072"/>
                  </a:cubicBezTo>
                  <a:lnTo>
                    <a:pt x="1701" y="4600"/>
                  </a:lnTo>
                  <a:cubicBezTo>
                    <a:pt x="1749" y="4553"/>
                    <a:pt x="1835" y="4529"/>
                    <a:pt x="1926" y="4529"/>
                  </a:cubicBezTo>
                  <a:cubicBezTo>
                    <a:pt x="2016" y="4529"/>
                    <a:pt x="2111" y="4553"/>
                    <a:pt x="2174" y="4600"/>
                  </a:cubicBezTo>
                  <a:lnTo>
                    <a:pt x="2898" y="5356"/>
                  </a:lnTo>
                  <a:lnTo>
                    <a:pt x="3371" y="4883"/>
                  </a:lnTo>
                  <a:lnTo>
                    <a:pt x="3151" y="4663"/>
                  </a:lnTo>
                  <a:cubicBezTo>
                    <a:pt x="2741" y="4253"/>
                    <a:pt x="2741" y="3592"/>
                    <a:pt x="3151" y="3214"/>
                  </a:cubicBezTo>
                  <a:cubicBezTo>
                    <a:pt x="3340" y="3009"/>
                    <a:pt x="3607" y="2906"/>
                    <a:pt x="3875" y="2906"/>
                  </a:cubicBezTo>
                  <a:cubicBezTo>
                    <a:pt x="4143" y="2906"/>
                    <a:pt x="4411" y="3009"/>
                    <a:pt x="4600" y="3214"/>
                  </a:cubicBezTo>
                  <a:lnTo>
                    <a:pt x="4852" y="3434"/>
                  </a:lnTo>
                  <a:lnTo>
                    <a:pt x="5828" y="2457"/>
                  </a:lnTo>
                  <a:lnTo>
                    <a:pt x="3623" y="284"/>
                  </a:lnTo>
                  <a:cubicBezTo>
                    <a:pt x="3450" y="95"/>
                    <a:pt x="3190" y="0"/>
                    <a:pt x="2926" y="0"/>
                  </a:cubicBezTo>
                  <a:close/>
                </a:path>
              </a:pathLst>
            </a:custGeom>
            <a:grpFill/>
            <a:ln>
              <a:noFill/>
            </a:ln>
          </p:spPr>
          <p:txBody>
            <a:bodyPr spcFirstLastPara="1" wrap="square" lIns="91417" tIns="91417" rIns="91417" bIns="91417" anchor="ctr" anchorCtr="0">
              <a:noAutofit/>
            </a:bodyPr>
            <a:lstStyle/>
            <a:p>
              <a:endParaRPr sz="1400"/>
            </a:p>
          </p:txBody>
        </p:sp>
        <p:sp>
          <p:nvSpPr>
            <p:cNvPr id="645" name="Google Shape;10481;p74"/>
            <p:cNvSpPr/>
            <p:nvPr/>
          </p:nvSpPr>
          <p:spPr>
            <a:xfrm>
              <a:off x="5880650" y="3309975"/>
              <a:ext cx="137075" cy="145725"/>
            </a:xfrm>
            <a:custGeom>
              <a:rect l="l" t="t" r="r" b="b"/>
              <a:pathLst>
                <a:path w="5483" h="5829" extrusionOk="0">
                  <a:moveTo>
                    <a:pt x="2899" y="1"/>
                  </a:moveTo>
                  <a:lnTo>
                    <a:pt x="1702" y="1229"/>
                  </a:lnTo>
                  <a:cubicBezTo>
                    <a:pt x="1639" y="1292"/>
                    <a:pt x="1544" y="1324"/>
                    <a:pt x="1450" y="1324"/>
                  </a:cubicBezTo>
                  <a:cubicBezTo>
                    <a:pt x="1355" y="1324"/>
                    <a:pt x="1261" y="1292"/>
                    <a:pt x="1198" y="1229"/>
                  </a:cubicBezTo>
                  <a:lnTo>
                    <a:pt x="725" y="757"/>
                  </a:lnTo>
                  <a:cubicBezTo>
                    <a:pt x="678" y="694"/>
                    <a:pt x="591" y="662"/>
                    <a:pt x="501" y="662"/>
                  </a:cubicBezTo>
                  <a:cubicBezTo>
                    <a:pt x="410" y="662"/>
                    <a:pt x="316" y="694"/>
                    <a:pt x="253" y="757"/>
                  </a:cubicBezTo>
                  <a:cubicBezTo>
                    <a:pt x="158" y="883"/>
                    <a:pt x="158" y="1103"/>
                    <a:pt x="253" y="1229"/>
                  </a:cubicBezTo>
                  <a:lnTo>
                    <a:pt x="725" y="1702"/>
                  </a:lnTo>
                  <a:cubicBezTo>
                    <a:pt x="851" y="1828"/>
                    <a:pt x="851" y="2048"/>
                    <a:pt x="725" y="2174"/>
                  </a:cubicBezTo>
                  <a:lnTo>
                    <a:pt x="1" y="2899"/>
                  </a:lnTo>
                  <a:lnTo>
                    <a:pt x="473" y="3372"/>
                  </a:lnTo>
                  <a:lnTo>
                    <a:pt x="694" y="3151"/>
                  </a:lnTo>
                  <a:cubicBezTo>
                    <a:pt x="898" y="2946"/>
                    <a:pt x="1166" y="2844"/>
                    <a:pt x="1434" y="2844"/>
                  </a:cubicBezTo>
                  <a:cubicBezTo>
                    <a:pt x="1702" y="2844"/>
                    <a:pt x="1970" y="2946"/>
                    <a:pt x="2174" y="3151"/>
                  </a:cubicBezTo>
                  <a:cubicBezTo>
                    <a:pt x="2552" y="3529"/>
                    <a:pt x="2552" y="4222"/>
                    <a:pt x="2174" y="4600"/>
                  </a:cubicBezTo>
                  <a:lnTo>
                    <a:pt x="1922" y="4852"/>
                  </a:lnTo>
                  <a:lnTo>
                    <a:pt x="2899" y="5829"/>
                  </a:lnTo>
                  <a:lnTo>
                    <a:pt x="5073" y="3655"/>
                  </a:lnTo>
                  <a:cubicBezTo>
                    <a:pt x="5482" y="3277"/>
                    <a:pt x="5482" y="2615"/>
                    <a:pt x="5073" y="2206"/>
                  </a:cubicBezTo>
                  <a:lnTo>
                    <a:pt x="2899" y="1"/>
                  </a:lnTo>
                  <a:close/>
                </a:path>
              </a:pathLst>
            </a:custGeom>
            <a:grpFill/>
            <a:ln>
              <a:noFill/>
            </a:ln>
          </p:spPr>
          <p:txBody>
            <a:bodyPr spcFirstLastPara="1" wrap="square" lIns="91417" tIns="91417" rIns="91417" bIns="91417" anchor="ctr" anchorCtr="0">
              <a:noAutofit/>
            </a:bodyPr>
            <a:lstStyle/>
            <a:p>
              <a:endParaRPr sz="1400"/>
            </a:p>
          </p:txBody>
        </p:sp>
        <p:sp>
          <p:nvSpPr>
            <p:cNvPr id="646" name="Google Shape;10482;p74"/>
            <p:cNvSpPr/>
            <p:nvPr/>
          </p:nvSpPr>
          <p:spPr>
            <a:xfrm>
              <a:off x="5794025" y="3396625"/>
              <a:ext cx="147300" cy="134700"/>
            </a:xfrm>
            <a:custGeom>
              <a:rect l="l" t="t" r="r" b="b"/>
              <a:pathLst>
                <a:path w="5892" h="5388" extrusionOk="0">
                  <a:moveTo>
                    <a:pt x="2993" y="0"/>
                  </a:moveTo>
                  <a:lnTo>
                    <a:pt x="2520" y="473"/>
                  </a:lnTo>
                  <a:lnTo>
                    <a:pt x="2741" y="725"/>
                  </a:lnTo>
                  <a:cubicBezTo>
                    <a:pt x="3151" y="1103"/>
                    <a:pt x="3151" y="1764"/>
                    <a:pt x="2741" y="2174"/>
                  </a:cubicBezTo>
                  <a:cubicBezTo>
                    <a:pt x="2505" y="2363"/>
                    <a:pt x="2221" y="2457"/>
                    <a:pt x="1949" y="2457"/>
                  </a:cubicBezTo>
                  <a:cubicBezTo>
                    <a:pt x="1678" y="2457"/>
                    <a:pt x="1418" y="2363"/>
                    <a:pt x="1229" y="2174"/>
                  </a:cubicBezTo>
                  <a:lnTo>
                    <a:pt x="977" y="1922"/>
                  </a:lnTo>
                  <a:lnTo>
                    <a:pt x="0" y="2930"/>
                  </a:lnTo>
                  <a:lnTo>
                    <a:pt x="2205" y="5072"/>
                  </a:lnTo>
                  <a:cubicBezTo>
                    <a:pt x="2394" y="5293"/>
                    <a:pt x="2678" y="5387"/>
                    <a:pt x="2930" y="5387"/>
                  </a:cubicBezTo>
                  <a:cubicBezTo>
                    <a:pt x="3214" y="5387"/>
                    <a:pt x="3497" y="5293"/>
                    <a:pt x="3686" y="5072"/>
                  </a:cubicBezTo>
                  <a:lnTo>
                    <a:pt x="5891" y="2930"/>
                  </a:lnTo>
                  <a:lnTo>
                    <a:pt x="4663" y="1701"/>
                  </a:lnTo>
                  <a:cubicBezTo>
                    <a:pt x="4568" y="1575"/>
                    <a:pt x="4568" y="1355"/>
                    <a:pt x="4663" y="1229"/>
                  </a:cubicBezTo>
                  <a:lnTo>
                    <a:pt x="5167" y="756"/>
                  </a:lnTo>
                  <a:cubicBezTo>
                    <a:pt x="5261" y="630"/>
                    <a:pt x="5261" y="410"/>
                    <a:pt x="5167" y="284"/>
                  </a:cubicBezTo>
                  <a:cubicBezTo>
                    <a:pt x="5104" y="221"/>
                    <a:pt x="5009" y="189"/>
                    <a:pt x="4915" y="189"/>
                  </a:cubicBezTo>
                  <a:cubicBezTo>
                    <a:pt x="4820" y="189"/>
                    <a:pt x="4726" y="221"/>
                    <a:pt x="4663" y="284"/>
                  </a:cubicBezTo>
                  <a:lnTo>
                    <a:pt x="4190" y="756"/>
                  </a:lnTo>
                  <a:cubicBezTo>
                    <a:pt x="4143" y="819"/>
                    <a:pt x="4056" y="851"/>
                    <a:pt x="3966" y="851"/>
                  </a:cubicBezTo>
                  <a:cubicBezTo>
                    <a:pt x="3875" y="851"/>
                    <a:pt x="3781" y="819"/>
                    <a:pt x="3718" y="756"/>
                  </a:cubicBezTo>
                  <a:lnTo>
                    <a:pt x="2993" y="0"/>
                  </a:lnTo>
                  <a:close/>
                </a:path>
              </a:pathLst>
            </a:custGeom>
            <a:grpFill/>
            <a:ln>
              <a:noFill/>
            </a:ln>
          </p:spPr>
          <p:txBody>
            <a:bodyPr spcFirstLastPara="1" wrap="square" lIns="91417" tIns="91417" rIns="91417" bIns="91417" anchor="ctr" anchorCtr="0">
              <a:noAutofit/>
            </a:bodyPr>
            <a:lstStyle/>
            <a:p>
              <a:endParaRPr sz="1400"/>
            </a:p>
          </p:txBody>
        </p:sp>
      </p:grpSp>
      <p:grpSp>
        <p:nvGrpSpPr>
          <p:cNvPr id="647" name="Google Shape;10101;p74"/>
          <p:cNvGrpSpPr/>
          <p:nvPr/>
        </p:nvGrpSpPr>
        <p:grpSpPr>
          <a:xfrm>
            <a:off x="11384134" y="5555163"/>
            <a:ext cx="437202" cy="432171"/>
            <a:chOff x="-62511899" y="4129100"/>
            <a:chExt cx="304050" cy="282000"/>
          </a:xfrm>
          <a:solidFill>
            <a:srgbClr val="00677F"/>
          </a:solidFill>
        </p:grpSpPr>
        <p:sp>
          <p:nvSpPr>
            <p:cNvPr id="648" name="Google Shape;10102;p74"/>
            <p:cNvSpPr/>
            <p:nvPr/>
          </p:nvSpPr>
          <p:spPr>
            <a:xfrm>
              <a:off x="-62414224" y="4203925"/>
              <a:ext cx="206375" cy="207175"/>
            </a:xfrm>
            <a:custGeom>
              <a:rect l="l" t="t" r="r" b="b"/>
              <a:pathLst>
                <a:path w="8255" h="8287" extrusionOk="0">
                  <a:moveTo>
                    <a:pt x="4128" y="1229"/>
                  </a:moveTo>
                  <a:cubicBezTo>
                    <a:pt x="4348" y="1229"/>
                    <a:pt x="4506" y="1418"/>
                    <a:pt x="4506" y="1670"/>
                  </a:cubicBezTo>
                  <a:lnTo>
                    <a:pt x="4506" y="1922"/>
                  </a:lnTo>
                  <a:cubicBezTo>
                    <a:pt x="4978" y="2080"/>
                    <a:pt x="5356" y="2552"/>
                    <a:pt x="5356" y="3119"/>
                  </a:cubicBezTo>
                  <a:cubicBezTo>
                    <a:pt x="5356" y="3340"/>
                    <a:pt x="5136" y="3498"/>
                    <a:pt x="4947" y="3498"/>
                  </a:cubicBezTo>
                  <a:cubicBezTo>
                    <a:pt x="4726" y="3498"/>
                    <a:pt x="4506" y="3308"/>
                    <a:pt x="4506" y="3119"/>
                  </a:cubicBezTo>
                  <a:cubicBezTo>
                    <a:pt x="4506" y="2867"/>
                    <a:pt x="4317" y="2710"/>
                    <a:pt x="4128" y="2710"/>
                  </a:cubicBezTo>
                  <a:cubicBezTo>
                    <a:pt x="3939" y="2710"/>
                    <a:pt x="3687" y="2930"/>
                    <a:pt x="3687" y="3119"/>
                  </a:cubicBezTo>
                  <a:cubicBezTo>
                    <a:pt x="3718" y="3340"/>
                    <a:pt x="4033" y="3592"/>
                    <a:pt x="4411" y="3813"/>
                  </a:cubicBezTo>
                  <a:cubicBezTo>
                    <a:pt x="4821" y="4128"/>
                    <a:pt x="5388" y="4537"/>
                    <a:pt x="5388" y="5199"/>
                  </a:cubicBezTo>
                  <a:cubicBezTo>
                    <a:pt x="5388" y="5766"/>
                    <a:pt x="5041" y="6175"/>
                    <a:pt x="4569" y="6396"/>
                  </a:cubicBezTo>
                  <a:lnTo>
                    <a:pt x="4569" y="6648"/>
                  </a:lnTo>
                  <a:cubicBezTo>
                    <a:pt x="4569" y="6900"/>
                    <a:pt x="4348" y="7089"/>
                    <a:pt x="4159" y="7089"/>
                  </a:cubicBezTo>
                  <a:cubicBezTo>
                    <a:pt x="3970" y="7089"/>
                    <a:pt x="3718" y="6900"/>
                    <a:pt x="3718" y="6648"/>
                  </a:cubicBezTo>
                  <a:lnTo>
                    <a:pt x="3718" y="6396"/>
                  </a:lnTo>
                  <a:cubicBezTo>
                    <a:pt x="3245" y="6238"/>
                    <a:pt x="2899" y="5766"/>
                    <a:pt x="2899" y="5199"/>
                  </a:cubicBezTo>
                  <a:cubicBezTo>
                    <a:pt x="2899" y="4978"/>
                    <a:pt x="3088" y="4821"/>
                    <a:pt x="3308" y="4821"/>
                  </a:cubicBezTo>
                  <a:cubicBezTo>
                    <a:pt x="3498" y="4821"/>
                    <a:pt x="3687" y="5010"/>
                    <a:pt x="3687" y="5199"/>
                  </a:cubicBezTo>
                  <a:cubicBezTo>
                    <a:pt x="3687" y="5451"/>
                    <a:pt x="3876" y="5608"/>
                    <a:pt x="4128" y="5608"/>
                  </a:cubicBezTo>
                  <a:cubicBezTo>
                    <a:pt x="4348" y="5608"/>
                    <a:pt x="4506" y="5388"/>
                    <a:pt x="4506" y="5199"/>
                  </a:cubicBezTo>
                  <a:cubicBezTo>
                    <a:pt x="4506" y="4978"/>
                    <a:pt x="4191" y="4726"/>
                    <a:pt x="3844" y="4506"/>
                  </a:cubicBezTo>
                  <a:cubicBezTo>
                    <a:pt x="3403" y="4191"/>
                    <a:pt x="2867" y="3781"/>
                    <a:pt x="2867" y="3119"/>
                  </a:cubicBezTo>
                  <a:cubicBezTo>
                    <a:pt x="2867" y="2552"/>
                    <a:pt x="3214" y="2143"/>
                    <a:pt x="3687" y="1922"/>
                  </a:cubicBezTo>
                  <a:lnTo>
                    <a:pt x="3687" y="1670"/>
                  </a:lnTo>
                  <a:cubicBezTo>
                    <a:pt x="3687" y="1418"/>
                    <a:pt x="3876" y="1229"/>
                    <a:pt x="4128" y="1229"/>
                  </a:cubicBezTo>
                  <a:close/>
                  <a:moveTo>
                    <a:pt x="4128" y="0"/>
                  </a:moveTo>
                  <a:cubicBezTo>
                    <a:pt x="1828" y="0"/>
                    <a:pt x="0" y="1859"/>
                    <a:pt x="0" y="4128"/>
                  </a:cubicBezTo>
                  <a:cubicBezTo>
                    <a:pt x="0" y="6427"/>
                    <a:pt x="1828" y="8286"/>
                    <a:pt x="4128" y="8286"/>
                  </a:cubicBezTo>
                  <a:cubicBezTo>
                    <a:pt x="6396" y="8286"/>
                    <a:pt x="8255" y="6427"/>
                    <a:pt x="8255" y="4128"/>
                  </a:cubicBezTo>
                  <a:cubicBezTo>
                    <a:pt x="8255" y="1859"/>
                    <a:pt x="6396" y="0"/>
                    <a:pt x="4128" y="0"/>
                  </a:cubicBezTo>
                  <a:close/>
                </a:path>
              </a:pathLst>
            </a:custGeom>
            <a:grpFill/>
            <a:ln>
              <a:noFill/>
            </a:ln>
          </p:spPr>
          <p:txBody>
            <a:bodyPr spcFirstLastPara="1" wrap="square" lIns="91417" tIns="91417" rIns="91417" bIns="91417" anchor="ctr" anchorCtr="0">
              <a:noAutofit/>
            </a:bodyPr>
            <a:lstStyle/>
            <a:p>
              <a:endParaRPr sz="1400"/>
            </a:p>
          </p:txBody>
        </p:sp>
        <p:sp>
          <p:nvSpPr>
            <p:cNvPr id="649" name="Google Shape;10103;p74"/>
            <p:cNvSpPr/>
            <p:nvPr/>
          </p:nvSpPr>
          <p:spPr>
            <a:xfrm>
              <a:off x="-62511099" y="4129100"/>
              <a:ext cx="159900" cy="74850"/>
            </a:xfrm>
            <a:custGeom>
              <a:rect l="l" t="t" r="r" b="b"/>
              <a:pathLst>
                <a:path w="6396" h="2994" extrusionOk="0">
                  <a:moveTo>
                    <a:pt x="3214" y="1"/>
                  </a:moveTo>
                  <a:cubicBezTo>
                    <a:pt x="1450" y="1"/>
                    <a:pt x="0" y="662"/>
                    <a:pt x="0" y="1513"/>
                  </a:cubicBezTo>
                  <a:cubicBezTo>
                    <a:pt x="0" y="2332"/>
                    <a:pt x="1450" y="2993"/>
                    <a:pt x="3214" y="2993"/>
                  </a:cubicBezTo>
                  <a:cubicBezTo>
                    <a:pt x="4947" y="2993"/>
                    <a:pt x="6396" y="2332"/>
                    <a:pt x="6396" y="1513"/>
                  </a:cubicBezTo>
                  <a:cubicBezTo>
                    <a:pt x="6396" y="662"/>
                    <a:pt x="4947" y="1"/>
                    <a:pt x="3214" y="1"/>
                  </a:cubicBezTo>
                  <a:close/>
                </a:path>
              </a:pathLst>
            </a:custGeom>
            <a:grpFill/>
            <a:ln>
              <a:noFill/>
            </a:ln>
          </p:spPr>
          <p:txBody>
            <a:bodyPr spcFirstLastPara="1" wrap="square" lIns="91417" tIns="91417" rIns="91417" bIns="91417" anchor="ctr" anchorCtr="0">
              <a:noAutofit/>
            </a:bodyPr>
            <a:lstStyle/>
            <a:p>
              <a:endParaRPr sz="1400"/>
            </a:p>
          </p:txBody>
        </p:sp>
        <p:sp>
          <p:nvSpPr>
            <p:cNvPr id="650" name="Google Shape;10104;p74"/>
            <p:cNvSpPr/>
            <p:nvPr/>
          </p:nvSpPr>
          <p:spPr>
            <a:xfrm>
              <a:off x="-62511099" y="4207075"/>
              <a:ext cx="110275" cy="59875"/>
            </a:xfrm>
            <a:custGeom>
              <a:rect l="l" t="t" r="r" b="b"/>
              <a:pathLst>
                <a:path w="4411" h="2395" extrusionOk="0">
                  <a:moveTo>
                    <a:pt x="0" y="0"/>
                  </a:moveTo>
                  <a:lnTo>
                    <a:pt x="0" y="1135"/>
                  </a:lnTo>
                  <a:cubicBezTo>
                    <a:pt x="0" y="1450"/>
                    <a:pt x="347" y="1765"/>
                    <a:pt x="882" y="2017"/>
                  </a:cubicBezTo>
                  <a:cubicBezTo>
                    <a:pt x="1355" y="2237"/>
                    <a:pt x="2332" y="2395"/>
                    <a:pt x="3151" y="2395"/>
                  </a:cubicBezTo>
                  <a:lnTo>
                    <a:pt x="3308" y="2395"/>
                  </a:lnTo>
                  <a:cubicBezTo>
                    <a:pt x="3560" y="1733"/>
                    <a:pt x="3907" y="1135"/>
                    <a:pt x="4411" y="631"/>
                  </a:cubicBezTo>
                  <a:lnTo>
                    <a:pt x="4411" y="631"/>
                  </a:lnTo>
                  <a:cubicBezTo>
                    <a:pt x="4033" y="694"/>
                    <a:pt x="3623" y="757"/>
                    <a:pt x="3182" y="757"/>
                  </a:cubicBezTo>
                  <a:cubicBezTo>
                    <a:pt x="2363" y="757"/>
                    <a:pt x="1261" y="599"/>
                    <a:pt x="567" y="316"/>
                  </a:cubicBezTo>
                  <a:cubicBezTo>
                    <a:pt x="347" y="221"/>
                    <a:pt x="158" y="127"/>
                    <a:pt x="0" y="0"/>
                  </a:cubicBezTo>
                  <a:close/>
                </a:path>
              </a:pathLst>
            </a:custGeom>
            <a:grpFill/>
            <a:ln>
              <a:noFill/>
            </a:ln>
          </p:spPr>
          <p:txBody>
            <a:bodyPr spcFirstLastPara="1" wrap="square" lIns="91417" tIns="91417" rIns="91417" bIns="91417" anchor="ctr" anchorCtr="0">
              <a:noAutofit/>
            </a:bodyPr>
            <a:lstStyle/>
            <a:p>
              <a:endParaRPr sz="1400"/>
            </a:p>
          </p:txBody>
        </p:sp>
        <p:sp>
          <p:nvSpPr>
            <p:cNvPr id="651" name="Google Shape;10105;p74"/>
            <p:cNvSpPr/>
            <p:nvPr/>
          </p:nvSpPr>
          <p:spPr>
            <a:xfrm>
              <a:off x="-62511099" y="4329950"/>
              <a:ext cx="106350" cy="59875"/>
            </a:xfrm>
            <a:custGeom>
              <a:rect l="l" t="t" r="r" b="b"/>
              <a:pathLst>
                <a:path w="4254" h="2395" extrusionOk="0">
                  <a:moveTo>
                    <a:pt x="0" y="0"/>
                  </a:moveTo>
                  <a:lnTo>
                    <a:pt x="0" y="1197"/>
                  </a:lnTo>
                  <a:cubicBezTo>
                    <a:pt x="0" y="1701"/>
                    <a:pt x="1355" y="2395"/>
                    <a:pt x="3182" y="2395"/>
                  </a:cubicBezTo>
                  <a:cubicBezTo>
                    <a:pt x="3560" y="2395"/>
                    <a:pt x="3907" y="2363"/>
                    <a:pt x="4254" y="2332"/>
                  </a:cubicBezTo>
                  <a:cubicBezTo>
                    <a:pt x="3875" y="1859"/>
                    <a:pt x="3560" y="1355"/>
                    <a:pt x="3340" y="756"/>
                  </a:cubicBezTo>
                  <a:lnTo>
                    <a:pt x="3182" y="756"/>
                  </a:lnTo>
                  <a:cubicBezTo>
                    <a:pt x="2363" y="756"/>
                    <a:pt x="1261" y="599"/>
                    <a:pt x="567" y="315"/>
                  </a:cubicBezTo>
                  <a:cubicBezTo>
                    <a:pt x="347" y="252"/>
                    <a:pt x="158" y="126"/>
                    <a:pt x="0" y="0"/>
                  </a:cubicBezTo>
                  <a:close/>
                </a:path>
              </a:pathLst>
            </a:custGeom>
            <a:grpFill/>
            <a:ln>
              <a:noFill/>
            </a:ln>
          </p:spPr>
          <p:txBody>
            <a:bodyPr spcFirstLastPara="1" wrap="square" lIns="91417" tIns="91417" rIns="91417" bIns="91417" anchor="ctr" anchorCtr="0">
              <a:noAutofit/>
            </a:bodyPr>
            <a:lstStyle/>
            <a:p>
              <a:endParaRPr sz="1400"/>
            </a:p>
          </p:txBody>
        </p:sp>
        <p:sp>
          <p:nvSpPr>
            <p:cNvPr id="652" name="Google Shape;10106;p74"/>
            <p:cNvSpPr/>
            <p:nvPr/>
          </p:nvSpPr>
          <p:spPr>
            <a:xfrm>
              <a:off x="-62511899" y="4268500"/>
              <a:ext cx="78000" cy="60675"/>
            </a:xfrm>
            <a:custGeom>
              <a:rect l="l" t="t" r="r" b="b"/>
              <a:pathLst>
                <a:path w="3120" h="2427" extrusionOk="0">
                  <a:moveTo>
                    <a:pt x="1" y="1"/>
                  </a:moveTo>
                  <a:lnTo>
                    <a:pt x="1" y="1167"/>
                  </a:lnTo>
                  <a:lnTo>
                    <a:pt x="32" y="1167"/>
                  </a:lnTo>
                  <a:cubicBezTo>
                    <a:pt x="32" y="1482"/>
                    <a:pt x="379" y="1797"/>
                    <a:pt x="914" y="2017"/>
                  </a:cubicBezTo>
                  <a:cubicBezTo>
                    <a:pt x="1387" y="2238"/>
                    <a:pt x="2332" y="2395"/>
                    <a:pt x="3120" y="2427"/>
                  </a:cubicBezTo>
                  <a:cubicBezTo>
                    <a:pt x="3057" y="2143"/>
                    <a:pt x="3025" y="1860"/>
                    <a:pt x="3025" y="1608"/>
                  </a:cubicBezTo>
                  <a:cubicBezTo>
                    <a:pt x="3025" y="1324"/>
                    <a:pt x="3088" y="1041"/>
                    <a:pt x="3120" y="757"/>
                  </a:cubicBezTo>
                  <a:cubicBezTo>
                    <a:pt x="2332" y="757"/>
                    <a:pt x="1230" y="599"/>
                    <a:pt x="536" y="316"/>
                  </a:cubicBezTo>
                  <a:cubicBezTo>
                    <a:pt x="347" y="253"/>
                    <a:pt x="158" y="127"/>
                    <a:pt x="1" y="1"/>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657" name="Google Shape;10125;p74"/>
          <p:cNvGrpSpPr/>
          <p:nvPr/>
        </p:nvGrpSpPr>
        <p:grpSpPr>
          <a:xfrm>
            <a:off x="10413012" y="1752330"/>
            <a:ext cx="593961" cy="634638"/>
            <a:chOff x="-64044599" y="3360375"/>
            <a:chExt cx="315850" cy="316650"/>
          </a:xfrm>
          <a:solidFill>
            <a:srgbClr val="00677F"/>
          </a:solidFill>
        </p:grpSpPr>
        <p:sp>
          <p:nvSpPr>
            <p:cNvPr id="658" name="Google Shape;10126;p74"/>
            <p:cNvSpPr/>
            <p:nvPr/>
          </p:nvSpPr>
          <p:spPr>
            <a:xfrm>
              <a:off x="-63980027" y="3532875"/>
              <a:ext cx="185900" cy="144150"/>
            </a:xfrm>
            <a:custGeom>
              <a:rect l="l" t="t" r="r" b="b"/>
              <a:pathLst>
                <a:path w="7436" h="5766" extrusionOk="0">
                  <a:moveTo>
                    <a:pt x="410" y="0"/>
                  </a:moveTo>
                  <a:cubicBezTo>
                    <a:pt x="158" y="0"/>
                    <a:pt x="1" y="189"/>
                    <a:pt x="1" y="410"/>
                  </a:cubicBezTo>
                  <a:cubicBezTo>
                    <a:pt x="1" y="662"/>
                    <a:pt x="190" y="820"/>
                    <a:pt x="410" y="820"/>
                  </a:cubicBezTo>
                  <a:lnTo>
                    <a:pt x="883" y="820"/>
                  </a:lnTo>
                  <a:lnTo>
                    <a:pt x="1670" y="5419"/>
                  </a:lnTo>
                  <a:cubicBezTo>
                    <a:pt x="1702" y="5608"/>
                    <a:pt x="1859" y="5766"/>
                    <a:pt x="2048" y="5766"/>
                  </a:cubicBezTo>
                  <a:lnTo>
                    <a:pt x="5356" y="5766"/>
                  </a:lnTo>
                  <a:cubicBezTo>
                    <a:pt x="5545" y="5766"/>
                    <a:pt x="5766" y="5608"/>
                    <a:pt x="5766" y="5419"/>
                  </a:cubicBezTo>
                  <a:lnTo>
                    <a:pt x="6554" y="820"/>
                  </a:lnTo>
                  <a:lnTo>
                    <a:pt x="7026" y="820"/>
                  </a:lnTo>
                  <a:cubicBezTo>
                    <a:pt x="7247" y="820"/>
                    <a:pt x="7404" y="630"/>
                    <a:pt x="7404" y="410"/>
                  </a:cubicBezTo>
                  <a:cubicBezTo>
                    <a:pt x="7436" y="189"/>
                    <a:pt x="7247" y="0"/>
                    <a:pt x="7026" y="0"/>
                  </a:cubicBezTo>
                  <a:close/>
                </a:path>
              </a:pathLst>
            </a:custGeom>
            <a:grpFill/>
            <a:ln>
              <a:noFill/>
            </a:ln>
          </p:spPr>
          <p:txBody>
            <a:bodyPr spcFirstLastPara="1" wrap="square" lIns="91417" tIns="91417" rIns="91417" bIns="91417" anchor="ctr" anchorCtr="0">
              <a:noAutofit/>
            </a:bodyPr>
            <a:lstStyle/>
            <a:p>
              <a:endParaRPr sz="1400"/>
            </a:p>
          </p:txBody>
        </p:sp>
        <p:sp>
          <p:nvSpPr>
            <p:cNvPr id="659" name="Google Shape;10127;p74"/>
            <p:cNvSpPr/>
            <p:nvPr/>
          </p:nvSpPr>
          <p:spPr>
            <a:xfrm>
              <a:off x="-64044599" y="3360375"/>
              <a:ext cx="315850" cy="152825"/>
            </a:xfrm>
            <a:custGeom>
              <a:rect l="l" t="t" r="r" b="b"/>
              <a:pathLst>
                <a:path w="12634" h="6113" extrusionOk="0">
                  <a:moveTo>
                    <a:pt x="378" y="1"/>
                  </a:moveTo>
                  <a:cubicBezTo>
                    <a:pt x="158" y="1"/>
                    <a:pt x="0" y="190"/>
                    <a:pt x="0" y="442"/>
                  </a:cubicBezTo>
                  <a:lnTo>
                    <a:pt x="0" y="5672"/>
                  </a:lnTo>
                  <a:cubicBezTo>
                    <a:pt x="0" y="5892"/>
                    <a:pt x="189" y="6113"/>
                    <a:pt x="378" y="6113"/>
                  </a:cubicBezTo>
                  <a:lnTo>
                    <a:pt x="3088" y="6113"/>
                  </a:lnTo>
                  <a:cubicBezTo>
                    <a:pt x="3245" y="5514"/>
                    <a:pt x="3560" y="4947"/>
                    <a:pt x="4001" y="4569"/>
                  </a:cubicBezTo>
                  <a:cubicBezTo>
                    <a:pt x="3875" y="4285"/>
                    <a:pt x="3812" y="3970"/>
                    <a:pt x="3812" y="3624"/>
                  </a:cubicBezTo>
                  <a:cubicBezTo>
                    <a:pt x="3812" y="2238"/>
                    <a:pt x="4915" y="1135"/>
                    <a:pt x="6301" y="1135"/>
                  </a:cubicBezTo>
                  <a:cubicBezTo>
                    <a:pt x="7656" y="1135"/>
                    <a:pt x="8759" y="2238"/>
                    <a:pt x="8759" y="3624"/>
                  </a:cubicBezTo>
                  <a:cubicBezTo>
                    <a:pt x="8759" y="3939"/>
                    <a:pt x="8696" y="4254"/>
                    <a:pt x="8570" y="4569"/>
                  </a:cubicBezTo>
                  <a:cubicBezTo>
                    <a:pt x="9011" y="5010"/>
                    <a:pt x="9326" y="5514"/>
                    <a:pt x="9483" y="6113"/>
                  </a:cubicBezTo>
                  <a:lnTo>
                    <a:pt x="12193" y="6113"/>
                  </a:lnTo>
                  <a:cubicBezTo>
                    <a:pt x="12445" y="6113"/>
                    <a:pt x="12602" y="5892"/>
                    <a:pt x="12602" y="5672"/>
                  </a:cubicBezTo>
                  <a:lnTo>
                    <a:pt x="12602" y="442"/>
                  </a:lnTo>
                  <a:cubicBezTo>
                    <a:pt x="12634" y="190"/>
                    <a:pt x="12445" y="1"/>
                    <a:pt x="12224" y="1"/>
                  </a:cubicBezTo>
                  <a:close/>
                </a:path>
              </a:pathLst>
            </a:custGeom>
            <a:grpFill/>
            <a:ln>
              <a:noFill/>
            </a:ln>
          </p:spPr>
          <p:txBody>
            <a:bodyPr spcFirstLastPara="1" wrap="square" lIns="91417" tIns="91417" rIns="91417" bIns="91417" anchor="ctr" anchorCtr="0">
              <a:noAutofit/>
            </a:bodyPr>
            <a:lstStyle/>
            <a:p>
              <a:endParaRPr sz="1400"/>
            </a:p>
          </p:txBody>
        </p:sp>
        <p:sp>
          <p:nvSpPr>
            <p:cNvPr id="660" name="Google Shape;10128;p74"/>
            <p:cNvSpPr/>
            <p:nvPr/>
          </p:nvSpPr>
          <p:spPr>
            <a:xfrm>
              <a:off x="-63945374" y="3408425"/>
              <a:ext cx="117375" cy="103200"/>
            </a:xfrm>
            <a:custGeom>
              <a:rect l="l" t="t" r="r" b="b"/>
              <a:pathLst>
                <a:path w="4695" h="4128" extrusionOk="0">
                  <a:moveTo>
                    <a:pt x="2364" y="1"/>
                  </a:moveTo>
                  <a:cubicBezTo>
                    <a:pt x="1450" y="1"/>
                    <a:pt x="694" y="757"/>
                    <a:pt x="694" y="1670"/>
                  </a:cubicBezTo>
                  <a:cubicBezTo>
                    <a:pt x="694" y="2080"/>
                    <a:pt x="851" y="2489"/>
                    <a:pt x="1167" y="2805"/>
                  </a:cubicBezTo>
                  <a:cubicBezTo>
                    <a:pt x="599" y="3120"/>
                    <a:pt x="190" y="3592"/>
                    <a:pt x="1" y="4128"/>
                  </a:cubicBezTo>
                  <a:lnTo>
                    <a:pt x="4695" y="4128"/>
                  </a:lnTo>
                  <a:cubicBezTo>
                    <a:pt x="4475" y="3561"/>
                    <a:pt x="4065" y="3088"/>
                    <a:pt x="3529" y="2805"/>
                  </a:cubicBezTo>
                  <a:cubicBezTo>
                    <a:pt x="3813" y="2489"/>
                    <a:pt x="4002" y="2080"/>
                    <a:pt x="4002" y="1670"/>
                  </a:cubicBezTo>
                  <a:cubicBezTo>
                    <a:pt x="4002" y="757"/>
                    <a:pt x="3277" y="1"/>
                    <a:pt x="2364" y="1"/>
                  </a:cubicBezTo>
                  <a:close/>
                </a:path>
              </a:pathLst>
            </a:custGeom>
            <a:grpFill/>
            <a:ln>
              <a:noFill/>
            </a:ln>
          </p:spPr>
          <p:txBody>
            <a:bodyPr spcFirstLastPara="1" wrap="square" lIns="91417" tIns="91417" rIns="91417" bIns="91417" anchor="ctr" anchorCtr="0">
              <a:noAutofit/>
            </a:bodyPr>
            <a:lstStyle/>
            <a:p>
              <a:endParaRPr sz="1400"/>
            </a:p>
          </p:txBody>
        </p:sp>
      </p:grpSp>
    </p:spTree>
    <p:extLst>
      <p:ext uri="{BB962C8B-B14F-4D97-AF65-F5344CB8AC3E}">
        <p14:creationId xmlns:p14="http://schemas.microsoft.com/office/powerpoint/2010/main" val="1915539153"/>
      </p:ext>
    </p:extLst>
  </p:cSld>
  <p:clrMapOvr>
    <a:masterClrMapping/>
  </p:clrMapOvr>
  <p:transition/>
  <p:timing/>
</p:sld>
</file>

<file path=ppt/slides/slide23.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ext Placeholder 1"/>
          <p:cNvSpPr>
            <a:spLocks noGrp="1"/>
          </p:cNvSpPr>
          <p:nvPr>
            <p:ph type="body" sz="quarter" idx="10"/>
          </p:nvPr>
        </p:nvSpPr>
        <p:spPr>
          <a:xfrm>
            <a:off x="307687" y="166557"/>
            <a:ext cx="11572193" cy="724184"/>
          </a:xfrm>
        </p:spPr>
        <p:txBody>
          <a:bodyPr>
            <a:normAutofit lnSpcReduction="10000"/>
          </a:bodyPr>
          <a:lstStyle/>
          <a:p>
            <a:r>
              <a:rPr lang="en-US" sz="4800">
                <a:latin typeface="+mn-lt"/>
              </a:rPr>
              <a:t>Fully Editable Icon Sets: C</a:t>
            </a:r>
          </a:p>
        </p:txBody>
      </p:sp>
      <p:sp>
        <p:nvSpPr>
          <p:cNvPr id="54" name="Isosceles Triangle 68">
            <a:extLst>
              <a:ext uri="{FF2B5EF4-FFF2-40B4-BE49-F238E27FC236}">
                <a16:creationId xmlns:a16="http://schemas.microsoft.com/office/drawing/2014/main" id="{870C564B-4826-4504-AD55-BCA183FFA29B}"/>
              </a:ext>
            </a:extLst>
          </p:cNvPr>
          <p:cNvSpPr/>
          <p:nvPr/>
        </p:nvSpPr>
        <p:spPr>
          <a:xfrm rot="10800000">
            <a:off x="8393814" y="4492603"/>
            <a:ext cx="249687" cy="777571"/>
          </a:xfrm>
          <a:custGeom>
            <a:rect l="l" t="t" r="r" b="b"/>
            <a:pathLst>
              <a:path w="1040400" h="3240000">
                <a:moveTo>
                  <a:pt x="41345" y="940666"/>
                </a:moveTo>
                <a:lnTo>
                  <a:pt x="1242" y="653403"/>
                </a:lnTo>
                <a:lnTo>
                  <a:pt x="0" y="653403"/>
                </a:lnTo>
                <a:lnTo>
                  <a:pt x="1057" y="652077"/>
                </a:lnTo>
                <a:lnTo>
                  <a:pt x="447" y="647712"/>
                </a:lnTo>
                <a:lnTo>
                  <a:pt x="4531" y="647712"/>
                </a:lnTo>
                <a:lnTo>
                  <a:pt x="520200" y="0"/>
                </a:lnTo>
                <a:lnTo>
                  <a:pt x="659109" y="174478"/>
                </a:lnTo>
                <a:close/>
                <a:moveTo>
                  <a:pt x="101622" y="1372451"/>
                </a:moveTo>
                <a:lnTo>
                  <a:pt x="61820" y="1087335"/>
                </a:lnTo>
                <a:lnTo>
                  <a:pt x="728036" y="261055"/>
                </a:lnTo>
                <a:lnTo>
                  <a:pt x="870500" y="439998"/>
                </a:lnTo>
                <a:lnTo>
                  <a:pt x="860164" y="431664"/>
                </a:lnTo>
                <a:close/>
                <a:moveTo>
                  <a:pt x="161365" y="1800403"/>
                </a:moveTo>
                <a:lnTo>
                  <a:pt x="122098" y="1519120"/>
                </a:lnTo>
                <a:lnTo>
                  <a:pt x="930953" y="515931"/>
                </a:lnTo>
                <a:lnTo>
                  <a:pt x="1035869" y="647712"/>
                </a:lnTo>
                <a:lnTo>
                  <a:pt x="1039954" y="647712"/>
                </a:lnTo>
                <a:lnTo>
                  <a:pt x="1039345" y="652078"/>
                </a:lnTo>
                <a:lnTo>
                  <a:pt x="1040400" y="653403"/>
                </a:lnTo>
                <a:lnTo>
                  <a:pt x="1039160" y="653403"/>
                </a:lnTo>
                <a:lnTo>
                  <a:pt x="1029316" y="723920"/>
                </a:lnTo>
                <a:close/>
                <a:moveTo>
                  <a:pt x="217894" y="2205330"/>
                </a:moveTo>
                <a:lnTo>
                  <a:pt x="181840" y="1947070"/>
                </a:lnTo>
                <a:lnTo>
                  <a:pt x="1000266" y="932012"/>
                </a:lnTo>
                <a:lnTo>
                  <a:pt x="949113" y="1298429"/>
                </a:lnTo>
                <a:close/>
                <a:moveTo>
                  <a:pt x="330192" y="2564220"/>
                </a:moveTo>
                <a:lnTo>
                  <a:pt x="267995" y="2564220"/>
                </a:lnTo>
                <a:lnTo>
                  <a:pt x="237100" y="2342912"/>
                </a:lnTo>
                <a:lnTo>
                  <a:pt x="242309" y="2347112"/>
                </a:lnTo>
                <a:lnTo>
                  <a:pt x="920063" y="1506522"/>
                </a:lnTo>
                <a:lnTo>
                  <a:pt x="865005" y="1900914"/>
                </a:lnTo>
                <a:close/>
                <a:moveTo>
                  <a:pt x="772406" y="2564220"/>
                </a:moveTo>
                <a:lnTo>
                  <a:pt x="468924" y="2564220"/>
                </a:lnTo>
                <a:lnTo>
                  <a:pt x="835955" y="2109008"/>
                </a:lnTo>
                <a:close/>
                <a:moveTo>
                  <a:pt x="892044" y="3240000"/>
                </a:moveTo>
                <a:lnTo>
                  <a:pt x="148356" y="3240000"/>
                </a:lnTo>
                <a:lnTo>
                  <a:pt x="276144" y="2663936"/>
                </a:lnTo>
                <a:lnTo>
                  <a:pt x="764256" y="2663936"/>
                </a:ln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a:endParaRPr lang="ko-KR" altLang="en-US" sz="1400"/>
          </a:p>
        </p:txBody>
      </p:sp>
      <p:sp>
        <p:nvSpPr>
          <p:cNvPr id="55" name="Rectangle 9">
            <a:extLst>
              <a:ext uri="{FF2B5EF4-FFF2-40B4-BE49-F238E27FC236}">
                <a16:creationId xmlns:a16="http://schemas.microsoft.com/office/drawing/2014/main" id="{F4DF7C3C-D955-465B-A7ED-DA6CEFF74209}"/>
              </a:ext>
            </a:extLst>
          </p:cNvPr>
          <p:cNvSpPr/>
          <p:nvPr/>
        </p:nvSpPr>
        <p:spPr>
          <a:xfrm>
            <a:off x="9031439" y="4582372"/>
            <a:ext cx="598999" cy="598025"/>
          </a:xfrm>
          <a:custGeom>
            <a:rect l="l" t="t" r="r" b="b"/>
            <a:pathLst>
              <a:path w="3228210" h="3222968">
                <a:moveTo>
                  <a:pt x="1619999" y="642446"/>
                </a:moveTo>
                <a:lnTo>
                  <a:pt x="2664115" y="1686562"/>
                </a:lnTo>
                <a:lnTo>
                  <a:pt x="2664116" y="1686562"/>
                </a:lnTo>
                <a:lnTo>
                  <a:pt x="2664116" y="3222968"/>
                </a:lnTo>
                <a:lnTo>
                  <a:pt x="2015013" y="3222968"/>
                </a:lnTo>
                <a:lnTo>
                  <a:pt x="2015013" y="2511495"/>
                </a:lnTo>
                <a:cubicBezTo>
                  <a:pt x="2015013" y="2399422"/>
                  <a:pt x="1924159" y="2308568"/>
                  <a:pt x="1812086" y="2308568"/>
                </a:cubicBezTo>
                <a:lnTo>
                  <a:pt x="1427912" y="2308568"/>
                </a:lnTo>
                <a:cubicBezTo>
                  <a:pt x="1315839" y="2308568"/>
                  <a:pt x="1224985" y="2399422"/>
                  <a:pt x="1224985" y="2511495"/>
                </a:cubicBezTo>
                <a:lnTo>
                  <a:pt x="1224985" y="3222968"/>
                </a:lnTo>
                <a:lnTo>
                  <a:pt x="575882" y="3222968"/>
                </a:lnTo>
                <a:lnTo>
                  <a:pt x="575882" y="1686562"/>
                </a:lnTo>
                <a:lnTo>
                  <a:pt x="575884" y="1686562"/>
                </a:lnTo>
                <a:close/>
                <a:moveTo>
                  <a:pt x="509997" y="122689"/>
                </a:moveTo>
                <a:lnTo>
                  <a:pt x="942045" y="122689"/>
                </a:lnTo>
                <a:lnTo>
                  <a:pt x="942045" y="542556"/>
                </a:lnTo>
                <a:lnTo>
                  <a:pt x="509997" y="974604"/>
                </a:lnTo>
                <a:close/>
                <a:moveTo>
                  <a:pt x="1620001" y="7099"/>
                </a:moveTo>
                <a:lnTo>
                  <a:pt x="3228210" y="1686560"/>
                </a:lnTo>
                <a:lnTo>
                  <a:pt x="2900441" y="1686560"/>
                </a:lnTo>
                <a:lnTo>
                  <a:pt x="1620001" y="349390"/>
                </a:lnTo>
                <a:close/>
                <a:moveTo>
                  <a:pt x="1619999" y="0"/>
                </a:moveTo>
                <a:lnTo>
                  <a:pt x="1619999" y="342291"/>
                </a:lnTo>
                <a:lnTo>
                  <a:pt x="330172" y="1679462"/>
                </a:lnTo>
                <a:lnTo>
                  <a:pt x="0" y="1679462"/>
                </a:ln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a:endParaRPr lang="ko-KR" altLang="en-US" sz="1400"/>
          </a:p>
        </p:txBody>
      </p:sp>
      <p:sp>
        <p:nvSpPr>
          <p:cNvPr id="58" name="Freeform 18">
            <a:extLst>
              <a:ext uri="{FF2B5EF4-FFF2-40B4-BE49-F238E27FC236}">
                <a16:creationId xmlns:a16="http://schemas.microsoft.com/office/drawing/2014/main" id="{F57ADD61-A5C9-4BA6-A485-F46349246C4A}"/>
              </a:ext>
            </a:extLst>
          </p:cNvPr>
          <p:cNvSpPr/>
          <p:nvPr/>
        </p:nvSpPr>
        <p:spPr>
          <a:xfrm>
            <a:off x="10920075" y="4647955"/>
            <a:ext cx="578477" cy="466873"/>
          </a:xfrm>
          <a:custGeom>
            <a:rect l="l" t="t" r="r" b="b"/>
            <a:pathLst>
              <a:path w="3307788" h="2669631">
                <a:moveTo>
                  <a:pt x="2793832" y="1478391"/>
                </a:moveTo>
                <a:cubicBezTo>
                  <a:pt x="2772990" y="1635402"/>
                  <a:pt x="2717678" y="1784517"/>
                  <a:pt x="2633007" y="1915952"/>
                </a:cubicBezTo>
                <a:cubicBezTo>
                  <a:pt x="2695386" y="1951862"/>
                  <a:pt x="2772768" y="1955673"/>
                  <a:pt x="2841607" y="1924185"/>
                </a:cubicBezTo>
                <a:cubicBezTo>
                  <a:pt x="2943442" y="1877605"/>
                  <a:pt x="2999062" y="1766364"/>
                  <a:pt x="2975226" y="1656948"/>
                </a:cubicBezTo>
                <a:cubicBezTo>
                  <a:pt x="2955176" y="1564911"/>
                  <a:pt x="2883463" y="1495086"/>
                  <a:pt x="2793832" y="1478391"/>
                </a:cubicBezTo>
                <a:close/>
                <a:moveTo>
                  <a:pt x="2807611" y="1247700"/>
                </a:moveTo>
                <a:lnTo>
                  <a:pt x="2807472" y="1256060"/>
                </a:lnTo>
                <a:cubicBezTo>
                  <a:pt x="2994195" y="1281771"/>
                  <a:pt x="3148201" y="1421768"/>
                  <a:pt x="3189276" y="1610317"/>
                </a:cubicBezTo>
                <a:cubicBezTo>
                  <a:pt x="3235041" y="1820393"/>
                  <a:pt x="3128252" y="2033972"/>
                  <a:pt x="2932732" y="2123406"/>
                </a:cubicBezTo>
                <a:cubicBezTo>
                  <a:pt x="2789297" y="2189015"/>
                  <a:pt x="2626543" y="2174805"/>
                  <a:pt x="2499470" y="2094044"/>
                </a:cubicBezTo>
                <a:cubicBezTo>
                  <a:pt x="2427194" y="2172627"/>
                  <a:pt x="2343030" y="2241391"/>
                  <a:pt x="2248861" y="2297980"/>
                </a:cubicBezTo>
                <a:cubicBezTo>
                  <a:pt x="2178351" y="2340352"/>
                  <a:pt x="2104446" y="2374567"/>
                  <a:pt x="2027600" y="2398134"/>
                </a:cubicBezTo>
                <a:lnTo>
                  <a:pt x="3307788" y="2397615"/>
                </a:lnTo>
                <a:cubicBezTo>
                  <a:pt x="3265361" y="2549905"/>
                  <a:pt x="2537441" y="2669620"/>
                  <a:pt x="1653814" y="2669631"/>
                </a:cubicBezTo>
                <a:cubicBezTo>
                  <a:pt x="773102" y="2669642"/>
                  <a:pt x="46417" y="2550707"/>
                  <a:pt x="0" y="2398955"/>
                </a:cubicBezTo>
                <a:lnTo>
                  <a:pt x="1280678" y="2398436"/>
                </a:lnTo>
                <a:cubicBezTo>
                  <a:pt x="1203764" y="2374915"/>
                  <a:pt x="1129786" y="2340732"/>
                  <a:pt x="1059201" y="2298380"/>
                </a:cubicBezTo>
                <a:cubicBezTo>
                  <a:pt x="693039" y="2078675"/>
                  <a:pt x="477900" y="1674935"/>
                  <a:pt x="499745" y="1248476"/>
                </a:cubicBezTo>
                <a:close/>
                <a:moveTo>
                  <a:pt x="1331611" y="201752"/>
                </a:moveTo>
                <a:cubicBezTo>
                  <a:pt x="1206335" y="290902"/>
                  <a:pt x="1124761" y="308382"/>
                  <a:pt x="1132336" y="435988"/>
                </a:cubicBezTo>
                <a:cubicBezTo>
                  <a:pt x="1160888" y="640507"/>
                  <a:pt x="1527973" y="617783"/>
                  <a:pt x="1498839" y="840365"/>
                </a:cubicBezTo>
                <a:cubicBezTo>
                  <a:pt x="1455138" y="960979"/>
                  <a:pt x="1395705" y="987199"/>
                  <a:pt x="1213910" y="1052459"/>
                </a:cubicBezTo>
                <a:cubicBezTo>
                  <a:pt x="1331028" y="972050"/>
                  <a:pt x="1364241" y="921357"/>
                  <a:pt x="1360745" y="809484"/>
                </a:cubicBezTo>
                <a:cubicBezTo>
                  <a:pt x="1360746" y="646916"/>
                  <a:pt x="1111360" y="626523"/>
                  <a:pt x="1020462" y="495421"/>
                </a:cubicBezTo>
                <a:cubicBezTo>
                  <a:pt x="941218" y="374224"/>
                  <a:pt x="1061250" y="280996"/>
                  <a:pt x="1331611" y="201752"/>
                </a:cubicBezTo>
                <a:close/>
                <a:moveTo>
                  <a:pt x="2164365" y="80223"/>
                </a:moveTo>
                <a:cubicBezTo>
                  <a:pt x="2021192" y="182108"/>
                  <a:pt x="1927964" y="202086"/>
                  <a:pt x="1936621" y="347922"/>
                </a:cubicBezTo>
                <a:cubicBezTo>
                  <a:pt x="1969252" y="581657"/>
                  <a:pt x="2388778" y="555687"/>
                  <a:pt x="2355482" y="810066"/>
                </a:cubicBezTo>
                <a:cubicBezTo>
                  <a:pt x="2305538" y="947910"/>
                  <a:pt x="2237615" y="977876"/>
                  <a:pt x="2029849" y="1052459"/>
                </a:cubicBezTo>
                <a:cubicBezTo>
                  <a:pt x="2163698" y="960563"/>
                  <a:pt x="2201656" y="902628"/>
                  <a:pt x="2197660" y="774773"/>
                </a:cubicBezTo>
                <a:cubicBezTo>
                  <a:pt x="2197661" y="588982"/>
                  <a:pt x="1912649" y="565676"/>
                  <a:pt x="1808765" y="415844"/>
                </a:cubicBezTo>
                <a:cubicBezTo>
                  <a:pt x="1718201" y="277334"/>
                  <a:pt x="1855380" y="170787"/>
                  <a:pt x="2164365" y="80223"/>
                </a:cubicBezTo>
                <a:close/>
                <a:moveTo>
                  <a:pt x="1754169" y="0"/>
                </a:moveTo>
                <a:cubicBezTo>
                  <a:pt x="1583512" y="121444"/>
                  <a:pt x="1472387" y="145257"/>
                  <a:pt x="1482706" y="319088"/>
                </a:cubicBezTo>
                <a:cubicBezTo>
                  <a:pt x="1521601" y="597693"/>
                  <a:pt x="2021663" y="566738"/>
                  <a:pt x="1981975" y="869950"/>
                </a:cubicBezTo>
                <a:cubicBezTo>
                  <a:pt x="1922443" y="1034256"/>
                  <a:pt x="1841481" y="1069974"/>
                  <a:pt x="1593831" y="1158875"/>
                </a:cubicBezTo>
                <a:cubicBezTo>
                  <a:pt x="1753374" y="1049338"/>
                  <a:pt x="1798619" y="980281"/>
                  <a:pt x="1793856" y="827882"/>
                </a:cubicBezTo>
                <a:cubicBezTo>
                  <a:pt x="1793857" y="606424"/>
                  <a:pt x="1454132" y="578644"/>
                  <a:pt x="1330306" y="400050"/>
                </a:cubicBezTo>
                <a:cubicBezTo>
                  <a:pt x="1222356" y="234950"/>
                  <a:pt x="1385869" y="107950"/>
                  <a:pt x="1754169" y="0"/>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a:endParaRPr lang="ko-KR" altLang="en-US" sz="1400"/>
          </a:p>
        </p:txBody>
      </p:sp>
      <p:sp>
        <p:nvSpPr>
          <p:cNvPr id="61" name="Rounded Rectangle 25">
            <a:extLst>
              <a:ext uri="{FF2B5EF4-FFF2-40B4-BE49-F238E27FC236}">
                <a16:creationId xmlns:a16="http://schemas.microsoft.com/office/drawing/2014/main" id="{52251A18-A73B-4A26-9FEC-6B831E23205B}"/>
              </a:ext>
            </a:extLst>
          </p:cNvPr>
          <p:cNvSpPr/>
          <p:nvPr/>
        </p:nvSpPr>
        <p:spPr>
          <a:xfrm>
            <a:off x="10978630" y="5849272"/>
            <a:ext cx="664065" cy="486657"/>
          </a:xfrm>
          <a:custGeom>
            <a:rect l="l" t="t" r="r" b="b"/>
            <a:pathLst>
              <a:path w="3248842" h="2380886">
                <a:moveTo>
                  <a:pt x="1194785" y="1472263"/>
                </a:moveTo>
                <a:cubicBezTo>
                  <a:pt x="1150014" y="1472263"/>
                  <a:pt x="1113720" y="1508557"/>
                  <a:pt x="1113720" y="1553328"/>
                </a:cubicBezTo>
                <a:lnTo>
                  <a:pt x="1113720" y="1600880"/>
                </a:lnTo>
                <a:cubicBezTo>
                  <a:pt x="1113720" y="1645651"/>
                  <a:pt x="1150014" y="1681945"/>
                  <a:pt x="1194785" y="1681945"/>
                </a:cubicBezTo>
                <a:lnTo>
                  <a:pt x="2067186" y="1681945"/>
                </a:lnTo>
                <a:cubicBezTo>
                  <a:pt x="2111957" y="1681945"/>
                  <a:pt x="2148251" y="1645651"/>
                  <a:pt x="2148251" y="1600880"/>
                </a:cubicBezTo>
                <a:lnTo>
                  <a:pt x="2148251" y="1553328"/>
                </a:lnTo>
                <a:cubicBezTo>
                  <a:pt x="2148251" y="1508557"/>
                  <a:pt x="2111957" y="1472263"/>
                  <a:pt x="2067186" y="1472263"/>
                </a:cubicBezTo>
                <a:close/>
                <a:moveTo>
                  <a:pt x="2582402" y="986449"/>
                </a:moveTo>
                <a:cubicBezTo>
                  <a:pt x="2477247" y="986449"/>
                  <a:pt x="2392002" y="1071694"/>
                  <a:pt x="2392002" y="1176848"/>
                </a:cubicBezTo>
                <a:cubicBezTo>
                  <a:pt x="2392002" y="1282003"/>
                  <a:pt x="2477247" y="1367248"/>
                  <a:pt x="2582402" y="1367248"/>
                </a:cubicBezTo>
                <a:cubicBezTo>
                  <a:pt x="2687557" y="1367248"/>
                  <a:pt x="2772801" y="1282003"/>
                  <a:pt x="2772801" y="1176848"/>
                </a:cubicBezTo>
                <a:cubicBezTo>
                  <a:pt x="2772801" y="1071694"/>
                  <a:pt x="2687557" y="986449"/>
                  <a:pt x="2582402" y="986449"/>
                </a:cubicBezTo>
                <a:close/>
                <a:moveTo>
                  <a:pt x="679570" y="986449"/>
                </a:moveTo>
                <a:cubicBezTo>
                  <a:pt x="574415" y="986449"/>
                  <a:pt x="489171" y="1071694"/>
                  <a:pt x="489171" y="1176848"/>
                </a:cubicBezTo>
                <a:cubicBezTo>
                  <a:pt x="489171" y="1282003"/>
                  <a:pt x="574415" y="1367248"/>
                  <a:pt x="679570" y="1367248"/>
                </a:cubicBezTo>
                <a:cubicBezTo>
                  <a:pt x="784725" y="1367248"/>
                  <a:pt x="869970" y="1282003"/>
                  <a:pt x="869970" y="1176848"/>
                </a:cubicBezTo>
                <a:cubicBezTo>
                  <a:pt x="869970" y="1071694"/>
                  <a:pt x="784725" y="986449"/>
                  <a:pt x="679570" y="986449"/>
                </a:cubicBezTo>
                <a:close/>
                <a:moveTo>
                  <a:pt x="867954" y="155801"/>
                </a:moveTo>
                <a:lnTo>
                  <a:pt x="726849" y="858549"/>
                </a:lnTo>
                <a:lnTo>
                  <a:pt x="2535122" y="858549"/>
                </a:lnTo>
                <a:lnTo>
                  <a:pt x="2394017" y="155801"/>
                </a:lnTo>
                <a:close/>
                <a:moveTo>
                  <a:pt x="677268" y="0"/>
                </a:moveTo>
                <a:lnTo>
                  <a:pt x="2584703" y="0"/>
                </a:lnTo>
                <a:lnTo>
                  <a:pt x="2736658" y="607820"/>
                </a:lnTo>
                <a:cubicBezTo>
                  <a:pt x="2766265" y="579906"/>
                  <a:pt x="2806392" y="564164"/>
                  <a:pt x="2850195" y="564164"/>
                </a:cubicBezTo>
                <a:lnTo>
                  <a:pt x="3069929" y="564164"/>
                </a:lnTo>
                <a:cubicBezTo>
                  <a:pt x="3168740" y="564164"/>
                  <a:pt x="3248842" y="644266"/>
                  <a:pt x="3248842" y="743077"/>
                </a:cubicBezTo>
                <a:lnTo>
                  <a:pt x="3248842" y="792706"/>
                </a:lnTo>
                <a:cubicBezTo>
                  <a:pt x="3248842" y="891517"/>
                  <a:pt x="3168740" y="971619"/>
                  <a:pt x="3069929" y="971619"/>
                </a:cubicBezTo>
                <a:lnTo>
                  <a:pt x="3054536" y="971619"/>
                </a:lnTo>
                <a:cubicBezTo>
                  <a:pt x="3060628" y="989042"/>
                  <a:pt x="3063411" y="1007758"/>
                  <a:pt x="3063411" y="1027125"/>
                </a:cubicBezTo>
                <a:lnTo>
                  <a:pt x="3063411" y="2015961"/>
                </a:lnTo>
                <a:lnTo>
                  <a:pt x="2889080" y="2015961"/>
                </a:lnTo>
                <a:lnTo>
                  <a:pt x="2889080" y="2260325"/>
                </a:lnTo>
                <a:cubicBezTo>
                  <a:pt x="2889080" y="2326909"/>
                  <a:pt x="2835102" y="2380886"/>
                  <a:pt x="2768518" y="2380886"/>
                </a:cubicBezTo>
                <a:lnTo>
                  <a:pt x="2286284" y="2380886"/>
                </a:lnTo>
                <a:cubicBezTo>
                  <a:pt x="2219700" y="2380886"/>
                  <a:pt x="2165723" y="2326909"/>
                  <a:pt x="2165723" y="2260325"/>
                </a:cubicBezTo>
                <a:lnTo>
                  <a:pt x="2165723" y="2015961"/>
                </a:lnTo>
                <a:lnTo>
                  <a:pt x="1096248" y="2015961"/>
                </a:lnTo>
                <a:lnTo>
                  <a:pt x="1096248" y="2260325"/>
                </a:lnTo>
                <a:cubicBezTo>
                  <a:pt x="1096248" y="2326909"/>
                  <a:pt x="1042270" y="2380886"/>
                  <a:pt x="975686" y="2380886"/>
                </a:cubicBezTo>
                <a:lnTo>
                  <a:pt x="493453" y="2380886"/>
                </a:lnTo>
                <a:cubicBezTo>
                  <a:pt x="426869" y="2380886"/>
                  <a:pt x="372891" y="2326909"/>
                  <a:pt x="372891" y="2260325"/>
                </a:cubicBezTo>
                <a:lnTo>
                  <a:pt x="372891" y="2015961"/>
                </a:lnTo>
                <a:lnTo>
                  <a:pt x="198560" y="2015961"/>
                </a:lnTo>
                <a:lnTo>
                  <a:pt x="198560" y="1027125"/>
                </a:lnTo>
                <a:cubicBezTo>
                  <a:pt x="198560" y="1007758"/>
                  <a:pt x="201343" y="989042"/>
                  <a:pt x="207435" y="971619"/>
                </a:cubicBezTo>
                <a:lnTo>
                  <a:pt x="178913" y="971619"/>
                </a:lnTo>
                <a:cubicBezTo>
                  <a:pt x="80102" y="971619"/>
                  <a:pt x="0" y="891517"/>
                  <a:pt x="0" y="792706"/>
                </a:cubicBezTo>
                <a:lnTo>
                  <a:pt x="0" y="743077"/>
                </a:lnTo>
                <a:cubicBezTo>
                  <a:pt x="0" y="644266"/>
                  <a:pt x="80102" y="564164"/>
                  <a:pt x="178913" y="564164"/>
                </a:cubicBezTo>
                <a:lnTo>
                  <a:pt x="398647" y="564164"/>
                </a:lnTo>
                <a:cubicBezTo>
                  <a:pt x="447310" y="564164"/>
                  <a:pt x="491436" y="583593"/>
                  <a:pt x="523419" y="615395"/>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a:endParaRPr lang="ko-KR" altLang="en-US" sz="1400"/>
          </a:p>
        </p:txBody>
      </p:sp>
      <p:sp>
        <p:nvSpPr>
          <p:cNvPr id="64" name="Donut 39">
            <a:extLst>
              <a:ext uri="{FF2B5EF4-FFF2-40B4-BE49-F238E27FC236}">
                <a16:creationId xmlns:a16="http://schemas.microsoft.com/office/drawing/2014/main" id="{439297A1-2150-467C-8B3E-08A8C9E0E56F}"/>
              </a:ext>
            </a:extLst>
          </p:cNvPr>
          <p:cNvSpPr/>
          <p:nvPr/>
        </p:nvSpPr>
        <p:spPr>
          <a:xfrm>
            <a:off x="4185471" y="4555827"/>
            <a:ext cx="651119" cy="651119"/>
          </a:xfrm>
          <a:custGeom>
            <a:rect l="l" t="t" r="r" b="b"/>
            <a:pathLst>
              <a:path w="3240000" h="3240000">
                <a:moveTo>
                  <a:pt x="1152300" y="922782"/>
                </a:moveTo>
                <a:lnTo>
                  <a:pt x="2354400" y="1620000"/>
                </a:lnTo>
                <a:lnTo>
                  <a:pt x="1152300" y="2317218"/>
                </a:lnTo>
                <a:close/>
                <a:moveTo>
                  <a:pt x="1620000" y="342403"/>
                </a:moveTo>
                <a:cubicBezTo>
                  <a:pt x="914403" y="342403"/>
                  <a:pt x="342403" y="914403"/>
                  <a:pt x="342403" y="1620000"/>
                </a:cubicBezTo>
                <a:cubicBezTo>
                  <a:pt x="342403" y="2325597"/>
                  <a:pt x="914403" y="2897597"/>
                  <a:pt x="1620000" y="2897597"/>
                </a:cubicBezTo>
                <a:cubicBezTo>
                  <a:pt x="2325597" y="2897597"/>
                  <a:pt x="2897597" y="2325597"/>
                  <a:pt x="2897597" y="1620000"/>
                </a:cubicBezTo>
                <a:cubicBezTo>
                  <a:pt x="2897597" y="914403"/>
                  <a:pt x="2325597" y="342403"/>
                  <a:pt x="1620000" y="342403"/>
                </a:cubicBezTo>
                <a:close/>
                <a:moveTo>
                  <a:pt x="1620000" y="0"/>
                </a:moveTo>
                <a:cubicBezTo>
                  <a:pt x="2514701" y="0"/>
                  <a:pt x="3240000" y="725299"/>
                  <a:pt x="3240000" y="1620000"/>
                </a:cubicBezTo>
                <a:cubicBezTo>
                  <a:pt x="3240000" y="2514701"/>
                  <a:pt x="2514701" y="3240000"/>
                  <a:pt x="1620000" y="3240000"/>
                </a:cubicBezTo>
                <a:cubicBezTo>
                  <a:pt x="725299" y="3240000"/>
                  <a:pt x="0" y="2514701"/>
                  <a:pt x="0" y="1620000"/>
                </a:cubicBezTo>
                <a:cubicBezTo>
                  <a:pt x="0" y="725299"/>
                  <a:pt x="725299" y="0"/>
                  <a:pt x="1620000" y="0"/>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a:endParaRPr lang="ko-KR" altLang="en-US" sz="1400">
              <a:solidFill>
                <a:schemeClr val="tx1"/>
              </a:solidFill>
            </a:endParaRPr>
          </a:p>
        </p:txBody>
      </p:sp>
      <p:sp>
        <p:nvSpPr>
          <p:cNvPr id="77" name="Chord 38">
            <a:extLst>
              <a:ext uri="{FF2B5EF4-FFF2-40B4-BE49-F238E27FC236}">
                <a16:creationId xmlns:a16="http://schemas.microsoft.com/office/drawing/2014/main" id="{284AD387-FD7A-4FAE-86E7-99768FD2F34F}"/>
              </a:ext>
            </a:extLst>
          </p:cNvPr>
          <p:cNvSpPr/>
          <p:nvPr/>
        </p:nvSpPr>
        <p:spPr>
          <a:xfrm>
            <a:off x="6671156" y="5636282"/>
            <a:ext cx="548611" cy="705482"/>
          </a:xfrm>
          <a:custGeom>
            <a:rect l="l" t="t" r="r" b="b"/>
            <a:pathLst>
              <a:path w="2519554" h="3240000">
                <a:moveTo>
                  <a:pt x="1259778" y="0"/>
                </a:moveTo>
                <a:cubicBezTo>
                  <a:pt x="1299543" y="0"/>
                  <a:pt x="1331778" y="32235"/>
                  <a:pt x="1331778" y="72000"/>
                </a:cubicBezTo>
                <a:lnTo>
                  <a:pt x="1331778" y="292696"/>
                </a:lnTo>
                <a:cubicBezTo>
                  <a:pt x="1526887" y="301316"/>
                  <a:pt x="1719796" y="357828"/>
                  <a:pt x="1894309" y="459601"/>
                </a:cubicBezTo>
                <a:cubicBezTo>
                  <a:pt x="2284331" y="687055"/>
                  <a:pt x="2522839" y="1105809"/>
                  <a:pt x="2519520" y="1557297"/>
                </a:cubicBezTo>
                <a:lnTo>
                  <a:pt x="2509882" y="1557270"/>
                </a:lnTo>
                <a:cubicBezTo>
                  <a:pt x="2413806" y="1435449"/>
                  <a:pt x="2264527" y="1358626"/>
                  <a:pt x="2097304" y="1358626"/>
                </a:cubicBezTo>
                <a:cubicBezTo>
                  <a:pt x="1931567" y="1358626"/>
                  <a:pt x="1783455" y="1434091"/>
                  <a:pt x="1688484" y="1554913"/>
                </a:cubicBezTo>
                <a:lnTo>
                  <a:pt x="1657888" y="1554825"/>
                </a:lnTo>
                <a:cubicBezTo>
                  <a:pt x="1579123" y="1454657"/>
                  <a:pt x="1463823" y="1385682"/>
                  <a:pt x="1331778" y="1368008"/>
                </a:cubicBezTo>
                <a:lnTo>
                  <a:pt x="1331778" y="2507895"/>
                </a:lnTo>
                <a:lnTo>
                  <a:pt x="1356113" y="2507895"/>
                </a:lnTo>
                <a:lnTo>
                  <a:pt x="1356113" y="2868215"/>
                </a:lnTo>
                <a:lnTo>
                  <a:pt x="1353558" y="2868215"/>
                </a:lnTo>
                <a:cubicBezTo>
                  <a:pt x="1347515" y="3074779"/>
                  <a:pt x="1177830" y="3240000"/>
                  <a:pt x="969556" y="3240000"/>
                </a:cubicBezTo>
                <a:cubicBezTo>
                  <a:pt x="759529" y="3240000"/>
                  <a:pt x="588743" y="3071985"/>
                  <a:pt x="585029" y="2863014"/>
                </a:cubicBezTo>
                <a:cubicBezTo>
                  <a:pt x="584214" y="2861474"/>
                  <a:pt x="584183" y="2859896"/>
                  <a:pt x="584183" y="2858310"/>
                </a:cubicBezTo>
                <a:lnTo>
                  <a:pt x="584422" y="2856985"/>
                </a:lnTo>
                <a:cubicBezTo>
                  <a:pt x="584186" y="2856201"/>
                  <a:pt x="584184" y="2855415"/>
                  <a:pt x="584184" y="2854628"/>
                </a:cubicBezTo>
                <a:lnTo>
                  <a:pt x="584846" y="2854628"/>
                </a:lnTo>
                <a:cubicBezTo>
                  <a:pt x="585977" y="2797047"/>
                  <a:pt x="628115" y="2750982"/>
                  <a:pt x="679843" y="2750982"/>
                </a:cubicBezTo>
                <a:cubicBezTo>
                  <a:pt x="731571" y="2750982"/>
                  <a:pt x="773709" y="2797047"/>
                  <a:pt x="774841" y="2854628"/>
                </a:cubicBezTo>
                <a:lnTo>
                  <a:pt x="776870" y="2854628"/>
                </a:lnTo>
                <a:cubicBezTo>
                  <a:pt x="776870" y="2961046"/>
                  <a:pt x="863138" y="3047314"/>
                  <a:pt x="969556" y="3047314"/>
                </a:cubicBezTo>
                <a:cubicBezTo>
                  <a:pt x="1075974" y="3047314"/>
                  <a:pt x="1162242" y="2961046"/>
                  <a:pt x="1162242" y="2854628"/>
                </a:cubicBezTo>
                <a:lnTo>
                  <a:pt x="1163439" y="2854628"/>
                </a:lnTo>
                <a:lnTo>
                  <a:pt x="1163439" y="2507895"/>
                </a:lnTo>
                <a:lnTo>
                  <a:pt x="1187778" y="2507895"/>
                </a:lnTo>
                <a:lnTo>
                  <a:pt x="1187778" y="1365548"/>
                </a:lnTo>
                <a:cubicBezTo>
                  <a:pt x="1048083" y="1378241"/>
                  <a:pt x="925400" y="1448176"/>
                  <a:pt x="842602" y="1552487"/>
                </a:cubicBezTo>
                <a:lnTo>
                  <a:pt x="807450" y="1552386"/>
                </a:lnTo>
                <a:cubicBezTo>
                  <a:pt x="712615" y="1432960"/>
                  <a:pt x="565486" y="1358626"/>
                  <a:pt x="400996" y="1358626"/>
                </a:cubicBezTo>
                <a:cubicBezTo>
                  <a:pt x="240343" y="1358626"/>
                  <a:pt x="96251" y="1429532"/>
                  <a:pt x="0" y="1543232"/>
                </a:cubicBezTo>
                <a:cubicBezTo>
                  <a:pt x="1264" y="1094357"/>
                  <a:pt x="241710" y="680052"/>
                  <a:pt x="631054" y="455977"/>
                </a:cubicBezTo>
                <a:cubicBezTo>
                  <a:pt x="804121" y="356374"/>
                  <a:pt x="994908" y="301092"/>
                  <a:pt x="1187778" y="292721"/>
                </a:cubicBezTo>
                <a:lnTo>
                  <a:pt x="1187778" y="72000"/>
                </a:lnTo>
                <a:cubicBezTo>
                  <a:pt x="1187778" y="32235"/>
                  <a:pt x="1220013" y="0"/>
                  <a:pt x="1259778" y="0"/>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p>
        </p:txBody>
      </p:sp>
      <p:sp>
        <p:nvSpPr>
          <p:cNvPr id="90" name="Oval 6">
            <a:extLst>
              <a:ext uri="{FF2B5EF4-FFF2-40B4-BE49-F238E27FC236}">
                <a16:creationId xmlns:a16="http://schemas.microsoft.com/office/drawing/2014/main" id="{319E467E-1F19-4CBB-A070-3B6CE4078D17}"/>
              </a:ext>
            </a:extLst>
          </p:cNvPr>
          <p:cNvSpPr/>
          <p:nvPr/>
        </p:nvSpPr>
        <p:spPr>
          <a:xfrm>
            <a:off x="7508523" y="5806632"/>
            <a:ext cx="574669" cy="568649"/>
          </a:xfrm>
          <a:custGeom>
            <a:rect l="l" t="t" r="r" b="b"/>
            <a:pathLst>
              <a:path w="3220460" h="3186731">
                <a:moveTo>
                  <a:pt x="1762834" y="1282034"/>
                </a:moveTo>
                <a:lnTo>
                  <a:pt x="273698" y="2771171"/>
                </a:lnTo>
                <a:cubicBezTo>
                  <a:pt x="253145" y="2791724"/>
                  <a:pt x="253145" y="2825048"/>
                  <a:pt x="273698" y="2845601"/>
                </a:cubicBezTo>
                <a:cubicBezTo>
                  <a:pt x="294251" y="2866154"/>
                  <a:pt x="327575" y="2866154"/>
                  <a:pt x="348128" y="2845601"/>
                </a:cubicBezTo>
                <a:lnTo>
                  <a:pt x="1830131" y="1363598"/>
                </a:lnTo>
                <a:close/>
                <a:moveTo>
                  <a:pt x="2703218" y="237332"/>
                </a:moveTo>
                <a:cubicBezTo>
                  <a:pt x="2623680" y="237332"/>
                  <a:pt x="2559202" y="301810"/>
                  <a:pt x="2559202" y="381348"/>
                </a:cubicBezTo>
                <a:cubicBezTo>
                  <a:pt x="2559202" y="460886"/>
                  <a:pt x="2623680" y="525364"/>
                  <a:pt x="2703218" y="525364"/>
                </a:cubicBezTo>
                <a:cubicBezTo>
                  <a:pt x="2782756" y="525364"/>
                  <a:pt x="2847234" y="460886"/>
                  <a:pt x="2847234" y="381348"/>
                </a:cubicBezTo>
                <a:cubicBezTo>
                  <a:pt x="2847234" y="301810"/>
                  <a:pt x="2782756" y="237332"/>
                  <a:pt x="2703218" y="237332"/>
                </a:cubicBezTo>
                <a:close/>
                <a:moveTo>
                  <a:pt x="2413103" y="0"/>
                </a:moveTo>
                <a:cubicBezTo>
                  <a:pt x="2858994" y="0"/>
                  <a:pt x="3220460" y="361466"/>
                  <a:pt x="3220460" y="807357"/>
                </a:cubicBezTo>
                <a:cubicBezTo>
                  <a:pt x="3220460" y="1253248"/>
                  <a:pt x="2858994" y="1614714"/>
                  <a:pt x="2413103" y="1614714"/>
                </a:cubicBezTo>
                <a:cubicBezTo>
                  <a:pt x="2305542" y="1614714"/>
                  <a:pt x="2202893" y="1593680"/>
                  <a:pt x="2109223" y="1555067"/>
                </a:cubicBezTo>
                <a:lnTo>
                  <a:pt x="2191945" y="1637789"/>
                </a:lnTo>
                <a:cubicBezTo>
                  <a:pt x="2226856" y="1672699"/>
                  <a:pt x="2226855" y="1729300"/>
                  <a:pt x="2191945" y="1764210"/>
                </a:cubicBezTo>
                <a:lnTo>
                  <a:pt x="2045068" y="1911087"/>
                </a:lnTo>
                <a:cubicBezTo>
                  <a:pt x="2010158" y="1945998"/>
                  <a:pt x="1953557" y="1945998"/>
                  <a:pt x="1918647" y="1911087"/>
                </a:cubicBezTo>
                <a:lnTo>
                  <a:pt x="1799123" y="1791564"/>
                </a:lnTo>
                <a:lnTo>
                  <a:pt x="1749496" y="1841190"/>
                </a:lnTo>
                <a:lnTo>
                  <a:pt x="1832980" y="1924673"/>
                </a:lnTo>
                <a:lnTo>
                  <a:pt x="1761893" y="1995760"/>
                </a:lnTo>
                <a:lnTo>
                  <a:pt x="1678410" y="1912277"/>
                </a:lnTo>
                <a:lnTo>
                  <a:pt x="1650246" y="1940441"/>
                </a:lnTo>
                <a:lnTo>
                  <a:pt x="1735612" y="2025807"/>
                </a:lnTo>
                <a:lnTo>
                  <a:pt x="1573330" y="2188089"/>
                </a:lnTo>
                <a:lnTo>
                  <a:pt x="1487964" y="2102723"/>
                </a:lnTo>
                <a:lnTo>
                  <a:pt x="1451742" y="2138944"/>
                </a:lnTo>
                <a:lnTo>
                  <a:pt x="1537109" y="2224311"/>
                </a:lnTo>
                <a:lnTo>
                  <a:pt x="1374830" y="2386590"/>
                </a:lnTo>
                <a:lnTo>
                  <a:pt x="1289463" y="2301223"/>
                </a:lnTo>
                <a:lnTo>
                  <a:pt x="1225079" y="2365608"/>
                </a:lnTo>
                <a:lnTo>
                  <a:pt x="1310445" y="2450974"/>
                </a:lnTo>
                <a:lnTo>
                  <a:pt x="1239358" y="2522061"/>
                </a:lnTo>
                <a:lnTo>
                  <a:pt x="1153992" y="2436695"/>
                </a:lnTo>
                <a:lnTo>
                  <a:pt x="1104364" y="2486322"/>
                </a:lnTo>
                <a:lnTo>
                  <a:pt x="1189730" y="2571689"/>
                </a:lnTo>
                <a:lnTo>
                  <a:pt x="1034153" y="2727266"/>
                </a:lnTo>
                <a:lnTo>
                  <a:pt x="948787" y="2641900"/>
                </a:lnTo>
                <a:lnTo>
                  <a:pt x="905863" y="2684824"/>
                </a:lnTo>
                <a:lnTo>
                  <a:pt x="991230" y="2770191"/>
                </a:lnTo>
                <a:lnTo>
                  <a:pt x="842353" y="2919067"/>
                </a:lnTo>
                <a:lnTo>
                  <a:pt x="756986" y="2833700"/>
                </a:lnTo>
                <a:lnTo>
                  <a:pt x="692119" y="2898567"/>
                </a:lnTo>
                <a:lnTo>
                  <a:pt x="777486" y="2983934"/>
                </a:lnTo>
                <a:lnTo>
                  <a:pt x="628610" y="3132811"/>
                </a:lnTo>
                <a:lnTo>
                  <a:pt x="618557" y="3122757"/>
                </a:lnTo>
                <a:lnTo>
                  <a:pt x="622830" y="3134825"/>
                </a:lnTo>
                <a:lnTo>
                  <a:pt x="346551" y="3150831"/>
                </a:lnTo>
                <a:lnTo>
                  <a:pt x="0" y="3186731"/>
                </a:lnTo>
                <a:lnTo>
                  <a:pt x="51749" y="2750557"/>
                </a:lnTo>
                <a:lnTo>
                  <a:pt x="48979" y="2747788"/>
                </a:lnTo>
                <a:lnTo>
                  <a:pt x="52495" y="2744272"/>
                </a:lnTo>
                <a:lnTo>
                  <a:pt x="52938" y="2740533"/>
                </a:lnTo>
                <a:lnTo>
                  <a:pt x="54575" y="2742192"/>
                </a:lnTo>
                <a:lnTo>
                  <a:pt x="1671288" y="1125479"/>
                </a:lnTo>
                <a:cubicBezTo>
                  <a:pt x="1628971" y="1027979"/>
                  <a:pt x="1605746" y="920380"/>
                  <a:pt x="1605746" y="807357"/>
                </a:cubicBezTo>
                <a:cubicBezTo>
                  <a:pt x="1605746" y="361466"/>
                  <a:pt x="1967212" y="0"/>
                  <a:pt x="2413103" y="0"/>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p>
        </p:txBody>
      </p:sp>
      <p:sp>
        <p:nvSpPr>
          <p:cNvPr id="91" name="Block Arc 25">
            <a:extLst>
              <a:ext uri="{FF2B5EF4-FFF2-40B4-BE49-F238E27FC236}">
                <a16:creationId xmlns:a16="http://schemas.microsoft.com/office/drawing/2014/main" id="{5F7FD4D6-1C06-4ABB-98F4-AC79D3C6A6D8}"/>
              </a:ext>
            </a:extLst>
          </p:cNvPr>
          <p:cNvSpPr/>
          <p:nvPr/>
        </p:nvSpPr>
        <p:spPr>
          <a:xfrm>
            <a:off x="5130294" y="5700720"/>
            <a:ext cx="395369" cy="571189"/>
          </a:xfrm>
          <a:custGeom>
            <a:rect l="l" t="t" r="r" b="b"/>
            <a:pathLst>
              <a:path w="2215656" h="3200962">
                <a:moveTo>
                  <a:pt x="1107829" y="2097026"/>
                </a:moveTo>
                <a:cubicBezTo>
                  <a:pt x="1025315" y="2097026"/>
                  <a:pt x="958423" y="2163918"/>
                  <a:pt x="958423" y="2246432"/>
                </a:cubicBezTo>
                <a:cubicBezTo>
                  <a:pt x="958423" y="2302715"/>
                  <a:pt x="989546" y="2351730"/>
                  <a:pt x="1036590" y="2375275"/>
                </a:cubicBezTo>
                <a:lnTo>
                  <a:pt x="985422" y="2684898"/>
                </a:lnTo>
                <a:lnTo>
                  <a:pt x="1230236" y="2684898"/>
                </a:lnTo>
                <a:lnTo>
                  <a:pt x="1179068" y="2375275"/>
                </a:lnTo>
                <a:cubicBezTo>
                  <a:pt x="1226112" y="2351730"/>
                  <a:pt x="1257234" y="2302715"/>
                  <a:pt x="1257234" y="2246432"/>
                </a:cubicBezTo>
                <a:cubicBezTo>
                  <a:pt x="1257234" y="2163918"/>
                  <a:pt x="1190343" y="2097026"/>
                  <a:pt x="1107829" y="2097026"/>
                </a:cubicBezTo>
                <a:close/>
                <a:moveTo>
                  <a:pt x="1102513" y="266871"/>
                </a:moveTo>
                <a:cubicBezTo>
                  <a:pt x="874876" y="269781"/>
                  <a:pt x="691868" y="455143"/>
                  <a:pt x="691868" y="682798"/>
                </a:cubicBezTo>
                <a:lnTo>
                  <a:pt x="690469" y="682798"/>
                </a:lnTo>
                <a:lnTo>
                  <a:pt x="690469" y="1580962"/>
                </a:lnTo>
                <a:lnTo>
                  <a:pt x="1525188" y="1580962"/>
                </a:lnTo>
                <a:lnTo>
                  <a:pt x="1525188" y="672127"/>
                </a:lnTo>
                <a:lnTo>
                  <a:pt x="1523654" y="672166"/>
                </a:lnTo>
                <a:cubicBezTo>
                  <a:pt x="1517835" y="444585"/>
                  <a:pt x="1330149" y="263961"/>
                  <a:pt x="1102513" y="266871"/>
                </a:cubicBezTo>
                <a:close/>
                <a:moveTo>
                  <a:pt x="1099102" y="56"/>
                </a:moveTo>
                <a:cubicBezTo>
                  <a:pt x="1472767" y="-4720"/>
                  <a:pt x="1780852" y="291773"/>
                  <a:pt x="1790404" y="665346"/>
                </a:cubicBezTo>
                <a:lnTo>
                  <a:pt x="1742843" y="666562"/>
                </a:lnTo>
                <a:lnTo>
                  <a:pt x="1790627" y="666562"/>
                </a:lnTo>
                <a:lnTo>
                  <a:pt x="1790627" y="1580962"/>
                </a:lnTo>
                <a:lnTo>
                  <a:pt x="2041344" y="1580962"/>
                </a:lnTo>
                <a:cubicBezTo>
                  <a:pt x="2137614" y="1580962"/>
                  <a:pt x="2215656" y="1659004"/>
                  <a:pt x="2215656" y="1755274"/>
                </a:cubicBezTo>
                <a:lnTo>
                  <a:pt x="2215656" y="3026650"/>
                </a:lnTo>
                <a:cubicBezTo>
                  <a:pt x="2215656" y="3122920"/>
                  <a:pt x="2137614" y="3200962"/>
                  <a:pt x="2041344" y="3200962"/>
                </a:cubicBezTo>
                <a:lnTo>
                  <a:pt x="174312" y="3200962"/>
                </a:lnTo>
                <a:cubicBezTo>
                  <a:pt x="78042" y="3200962"/>
                  <a:pt x="0" y="3122920"/>
                  <a:pt x="0" y="3026650"/>
                </a:cubicBezTo>
                <a:lnTo>
                  <a:pt x="0" y="1755274"/>
                </a:lnTo>
                <a:cubicBezTo>
                  <a:pt x="0" y="1659004"/>
                  <a:pt x="78042" y="1580962"/>
                  <a:pt x="174312" y="1580962"/>
                </a:cubicBezTo>
                <a:lnTo>
                  <a:pt x="425030" y="1580962"/>
                </a:lnTo>
                <a:lnTo>
                  <a:pt x="425030" y="676764"/>
                </a:lnTo>
                <a:lnTo>
                  <a:pt x="425634" y="676764"/>
                </a:lnTo>
                <a:cubicBezTo>
                  <a:pt x="428273" y="305830"/>
                  <a:pt x="727452" y="4806"/>
                  <a:pt x="1099102" y="56"/>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tx1"/>
              </a:solidFill>
            </a:endParaRPr>
          </a:p>
        </p:txBody>
      </p:sp>
      <p:sp>
        <p:nvSpPr>
          <p:cNvPr id="92" name="Block Arc 31">
            <a:extLst>
              <a:ext uri="{FF2B5EF4-FFF2-40B4-BE49-F238E27FC236}">
                <a16:creationId xmlns:a16="http://schemas.microsoft.com/office/drawing/2014/main" id="{7D9DF903-DA8F-4191-AEDF-7DDF26A64847}"/>
              </a:ext>
            </a:extLst>
          </p:cNvPr>
          <p:cNvSpPr/>
          <p:nvPr/>
        </p:nvSpPr>
        <p:spPr>
          <a:xfrm>
            <a:off x="8354466" y="5742985"/>
            <a:ext cx="515838" cy="571189"/>
          </a:xfrm>
          <a:custGeom>
            <a:rect l="l" t="t" r="r" b="b"/>
            <a:pathLst>
              <a:path w="2890784" h="3200962">
                <a:moveTo>
                  <a:pt x="1107828" y="2097026"/>
                </a:moveTo>
                <a:cubicBezTo>
                  <a:pt x="1025313" y="2097026"/>
                  <a:pt x="958422" y="2163918"/>
                  <a:pt x="958422" y="2246432"/>
                </a:cubicBezTo>
                <a:cubicBezTo>
                  <a:pt x="958422" y="2302715"/>
                  <a:pt x="989545" y="2351730"/>
                  <a:pt x="1036589" y="2375275"/>
                </a:cubicBezTo>
                <a:lnTo>
                  <a:pt x="985421" y="2684898"/>
                </a:lnTo>
                <a:lnTo>
                  <a:pt x="1230235" y="2684898"/>
                </a:lnTo>
                <a:lnTo>
                  <a:pt x="1179067" y="2375275"/>
                </a:lnTo>
                <a:cubicBezTo>
                  <a:pt x="1226111" y="2351730"/>
                  <a:pt x="1257233" y="2302715"/>
                  <a:pt x="1257233" y="2246432"/>
                </a:cubicBezTo>
                <a:cubicBezTo>
                  <a:pt x="1257233" y="2163918"/>
                  <a:pt x="1190342" y="2097026"/>
                  <a:pt x="1107828" y="2097026"/>
                </a:cubicBezTo>
                <a:close/>
                <a:moveTo>
                  <a:pt x="2199259" y="56"/>
                </a:moveTo>
                <a:cubicBezTo>
                  <a:pt x="2572924" y="-4720"/>
                  <a:pt x="2881009" y="291773"/>
                  <a:pt x="2890561" y="665346"/>
                </a:cubicBezTo>
                <a:lnTo>
                  <a:pt x="2843000" y="666562"/>
                </a:lnTo>
                <a:lnTo>
                  <a:pt x="2890784" y="666562"/>
                </a:lnTo>
                <a:lnTo>
                  <a:pt x="2890784" y="1580962"/>
                </a:lnTo>
                <a:lnTo>
                  <a:pt x="2625345" y="1580962"/>
                </a:lnTo>
                <a:lnTo>
                  <a:pt x="2625345" y="672127"/>
                </a:lnTo>
                <a:lnTo>
                  <a:pt x="2623811" y="672166"/>
                </a:lnTo>
                <a:cubicBezTo>
                  <a:pt x="2617992" y="444585"/>
                  <a:pt x="2430306" y="263961"/>
                  <a:pt x="2202670" y="266871"/>
                </a:cubicBezTo>
                <a:cubicBezTo>
                  <a:pt x="1975033" y="269781"/>
                  <a:pt x="1792025" y="455143"/>
                  <a:pt x="1792025" y="682798"/>
                </a:cubicBezTo>
                <a:lnTo>
                  <a:pt x="1790626" y="682798"/>
                </a:lnTo>
                <a:lnTo>
                  <a:pt x="1790626" y="1580962"/>
                </a:lnTo>
                <a:lnTo>
                  <a:pt x="2041344" y="1580962"/>
                </a:lnTo>
                <a:cubicBezTo>
                  <a:pt x="2137614" y="1580962"/>
                  <a:pt x="2215656" y="1659004"/>
                  <a:pt x="2215656" y="1755274"/>
                </a:cubicBezTo>
                <a:lnTo>
                  <a:pt x="2215656" y="3026650"/>
                </a:lnTo>
                <a:cubicBezTo>
                  <a:pt x="2215656" y="3122920"/>
                  <a:pt x="2137614" y="3200962"/>
                  <a:pt x="2041344" y="3200962"/>
                </a:cubicBezTo>
                <a:lnTo>
                  <a:pt x="174312" y="3200962"/>
                </a:lnTo>
                <a:cubicBezTo>
                  <a:pt x="78042" y="3200962"/>
                  <a:pt x="0" y="3122920"/>
                  <a:pt x="0" y="3026650"/>
                </a:cubicBezTo>
                <a:lnTo>
                  <a:pt x="0" y="1755274"/>
                </a:lnTo>
                <a:cubicBezTo>
                  <a:pt x="0" y="1659004"/>
                  <a:pt x="78042" y="1580962"/>
                  <a:pt x="174312" y="1580962"/>
                </a:cubicBezTo>
                <a:lnTo>
                  <a:pt x="1525187" y="1580962"/>
                </a:lnTo>
                <a:lnTo>
                  <a:pt x="1525187" y="676764"/>
                </a:lnTo>
                <a:lnTo>
                  <a:pt x="1525791" y="676764"/>
                </a:lnTo>
                <a:cubicBezTo>
                  <a:pt x="1528430" y="305830"/>
                  <a:pt x="1827609" y="4806"/>
                  <a:pt x="2199259" y="56"/>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tx1"/>
              </a:solidFill>
            </a:endParaRPr>
          </a:p>
        </p:txBody>
      </p:sp>
      <p:sp>
        <p:nvSpPr>
          <p:cNvPr id="93" name="Freeform 53">
            <a:extLst>
              <a:ext uri="{FF2B5EF4-FFF2-40B4-BE49-F238E27FC236}">
                <a16:creationId xmlns:a16="http://schemas.microsoft.com/office/drawing/2014/main" id="{D57F2C4B-7240-41A7-B169-E1E9E5390396}"/>
              </a:ext>
            </a:extLst>
          </p:cNvPr>
          <p:cNvSpPr/>
          <p:nvPr/>
        </p:nvSpPr>
        <p:spPr>
          <a:xfrm>
            <a:off x="10081185" y="5778080"/>
            <a:ext cx="565283" cy="579589"/>
          </a:xfrm>
          <a:custGeom>
            <a:gdLst>
              <a:gd name="connsiteX0" fmla="*/ 2279640 w 2296406"/>
              <a:gd name="connsiteY0" fmla="*/ 1747818 h 2354521"/>
              <a:gd name="connsiteX1" fmla="*/ 1827546 w 2296406"/>
              <a:gd name="connsiteY1" fmla="*/ 1826304 h 2354521"/>
              <a:gd name="connsiteX2" fmla="*/ 1955104 w 2296406"/>
              <a:gd name="connsiteY2" fmla="*/ 2095900 h 2354521"/>
              <a:gd name="connsiteX3" fmla="*/ 1682537 w 2296406"/>
              <a:gd name="connsiteY3" fmla="*/ 1962549 h 2354521"/>
              <a:gd name="connsiteX4" fmla="*/ 1528613 w 2296406"/>
              <a:gd name="connsiteY4" fmla="*/ 2354521 h 2354521"/>
              <a:gd name="connsiteX5" fmla="*/ 1380482 w 2296406"/>
              <a:gd name="connsiteY5" fmla="*/ 2120816 h 2354521"/>
              <a:gd name="connsiteX6" fmla="*/ 1495542 w 2296406"/>
              <a:gd name="connsiteY6" fmla="*/ 1788127 h 2354521"/>
              <a:gd name="connsiteX7" fmla="*/ 909489 w 2296406"/>
              <a:gd name="connsiteY7" fmla="*/ 1225390 h 2354521"/>
              <a:gd name="connsiteX8" fmla="*/ 414951 w 2296406"/>
              <a:gd name="connsiteY8" fmla="*/ 2322212 h 2354521"/>
              <a:gd name="connsiteX9" fmla="*/ 293184 w 2296406"/>
              <a:gd name="connsiteY9" fmla="*/ 2052845 h 2354521"/>
              <a:gd name="connsiteX10" fmla="*/ 520411 w 2296406"/>
              <a:gd name="connsiteY10" fmla="*/ 767428 h 2354521"/>
              <a:gd name="connsiteX11" fmla="*/ 11167 w 2296406"/>
              <a:gd name="connsiteY11" fmla="*/ 5505 h 2354521"/>
              <a:gd name="connsiteX12" fmla="*/ 771719 w 2296406"/>
              <a:gd name="connsiteY12" fmla="*/ 578452 h 2354521"/>
              <a:gd name="connsiteX13" fmla="*/ 2041440 w 2296406"/>
              <a:gd name="connsiteY13" fmla="*/ 514597 h 2354521"/>
              <a:gd name="connsiteX14" fmla="*/ 2296406 w 2296406"/>
              <a:gd name="connsiteY14" fmla="*/ 662729 h 2354521"/>
              <a:gd name="connsiteX15" fmla="*/ 1124906 w 2296406"/>
              <a:gd name="connsiteY15" fmla="*/ 1004182 h 2354521"/>
              <a:gd name="connsiteX16" fmla="*/ 1676517 w 2296406"/>
              <a:gd name="connsiteY16" fmla="*/ 1608523 h 2354521"/>
              <a:gd name="connsiteX17" fmla="*/ 2094931 w 2296406"/>
              <a:gd name="connsiteY17" fmla="*/ 1557316 h 2354521"/>
              <a:gd name="connsiteX18" fmla="*/ 11167 w 2305244"/>
              <a:gd name="connsiteY18" fmla="*/ 5505 h 236915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6406" h="2354521">
                <a:moveTo>
                  <a:pt x="2279640" y="1747818"/>
                </a:moveTo>
                <a:lnTo>
                  <a:pt x="1827546" y="1826304"/>
                </a:lnTo>
                <a:cubicBezTo>
                  <a:pt x="1873723" y="1907635"/>
                  <a:pt x="1985737" y="2047488"/>
                  <a:pt x="1955104" y="2095900"/>
                </a:cubicBezTo>
                <a:cubicBezTo>
                  <a:pt x="1897166" y="2139232"/>
                  <a:pt x="1773393" y="2006999"/>
                  <a:pt x="1682537" y="1962549"/>
                </a:cubicBezTo>
                <a:lnTo>
                  <a:pt x="1528613" y="2354521"/>
                </a:lnTo>
                <a:lnTo>
                  <a:pt x="1380482" y="2120816"/>
                </a:lnTo>
                <a:lnTo>
                  <a:pt x="1495542" y="1788127"/>
                </a:lnTo>
                <a:lnTo>
                  <a:pt x="909489" y="1225390"/>
                </a:lnTo>
                <a:lnTo>
                  <a:pt x="414951" y="2322212"/>
                </a:lnTo>
                <a:lnTo>
                  <a:pt x="293184" y="2052845"/>
                </a:lnTo>
                <a:lnTo>
                  <a:pt x="520411" y="767428"/>
                </a:lnTo>
                <a:cubicBezTo>
                  <a:pt x="325060" y="542715"/>
                  <a:pt x="-71458" y="102202"/>
                  <a:pt x="11167" y="5505"/>
                </a:cubicBezTo>
                <a:cubicBezTo>
                  <a:pt x="111065" y="-52229"/>
                  <a:pt x="554777" y="358209"/>
                  <a:pt x="771719" y="578452"/>
                </a:cubicBezTo>
                <a:lnTo>
                  <a:pt x="2041440" y="514597"/>
                </a:lnTo>
                <a:lnTo>
                  <a:pt x="2296406" y="662729"/>
                </a:lnTo>
                <a:lnTo>
                  <a:pt x="1124906" y="1004182"/>
                </a:lnTo>
                <a:lnTo>
                  <a:pt x="1676517" y="1608523"/>
                </a:lnTo>
                <a:cubicBezTo>
                  <a:pt x="1795262" y="1589016"/>
                  <a:pt x="2094931" y="1557316"/>
                  <a:pt x="2094931" y="1557316"/>
                </a:cubicBezTo>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p>
        </p:txBody>
      </p:sp>
      <p:sp>
        <p:nvSpPr>
          <p:cNvPr id="94" name="Block Arc 10">
            <a:extLst>
              <a:ext uri="{FF2B5EF4-FFF2-40B4-BE49-F238E27FC236}">
                <a16:creationId xmlns:a16="http://schemas.microsoft.com/office/drawing/2014/main" id="{75C14C12-5F78-4BDD-B8A3-69BB465A2216}"/>
              </a:ext>
            </a:extLst>
          </p:cNvPr>
          <p:cNvSpPr/>
          <p:nvPr/>
        </p:nvSpPr>
        <p:spPr>
          <a:xfrm>
            <a:off x="4995671" y="4686338"/>
            <a:ext cx="695227" cy="470910"/>
          </a:xfrm>
          <a:custGeom>
            <a:rect l="l" t="t" r="r" b="b"/>
            <a:pathLst>
              <a:path w="3219104" h="2180445">
                <a:moveTo>
                  <a:pt x="631935" y="660566"/>
                </a:moveTo>
                <a:cubicBezTo>
                  <a:pt x="582229" y="660566"/>
                  <a:pt x="541935" y="700860"/>
                  <a:pt x="541935" y="750566"/>
                </a:cubicBezTo>
                <a:cubicBezTo>
                  <a:pt x="541935" y="800272"/>
                  <a:pt x="582229" y="840566"/>
                  <a:pt x="631935" y="840566"/>
                </a:cubicBezTo>
                <a:cubicBezTo>
                  <a:pt x="681641" y="840566"/>
                  <a:pt x="721935" y="800272"/>
                  <a:pt x="721935" y="750566"/>
                </a:cubicBezTo>
                <a:cubicBezTo>
                  <a:pt x="721935" y="700860"/>
                  <a:pt x="681641" y="660566"/>
                  <a:pt x="631935" y="660566"/>
                </a:cubicBezTo>
                <a:close/>
                <a:moveTo>
                  <a:pt x="2920524" y="132986"/>
                </a:moveTo>
                <a:cubicBezTo>
                  <a:pt x="2884582" y="132986"/>
                  <a:pt x="2855445" y="171564"/>
                  <a:pt x="2855445" y="219152"/>
                </a:cubicBezTo>
                <a:cubicBezTo>
                  <a:pt x="2855445" y="266740"/>
                  <a:pt x="2884582" y="305318"/>
                  <a:pt x="2920524" y="305318"/>
                </a:cubicBezTo>
                <a:cubicBezTo>
                  <a:pt x="2956466" y="305318"/>
                  <a:pt x="2985603" y="266740"/>
                  <a:pt x="2985603" y="219152"/>
                </a:cubicBezTo>
                <a:cubicBezTo>
                  <a:pt x="2985603" y="171564"/>
                  <a:pt x="2956466" y="132986"/>
                  <a:pt x="2920524" y="132986"/>
                </a:cubicBezTo>
                <a:close/>
                <a:moveTo>
                  <a:pt x="1840097" y="123357"/>
                </a:moveTo>
                <a:cubicBezTo>
                  <a:pt x="1690593" y="125267"/>
                  <a:pt x="1541569" y="163386"/>
                  <a:pt x="1407089" y="237534"/>
                </a:cubicBezTo>
                <a:lnTo>
                  <a:pt x="1442443" y="299445"/>
                </a:lnTo>
                <a:cubicBezTo>
                  <a:pt x="1690026" y="162934"/>
                  <a:pt x="1991162" y="159087"/>
                  <a:pt x="2242273" y="289227"/>
                </a:cubicBezTo>
                <a:lnTo>
                  <a:pt x="2275978" y="226435"/>
                </a:lnTo>
                <a:cubicBezTo>
                  <a:pt x="2139582" y="155746"/>
                  <a:pt x="1989600" y="121447"/>
                  <a:pt x="1840097" y="123357"/>
                </a:cubicBezTo>
                <a:close/>
                <a:moveTo>
                  <a:pt x="1808744" y="1233"/>
                </a:moveTo>
                <a:cubicBezTo>
                  <a:pt x="2156106" y="-14520"/>
                  <a:pt x="2554236" y="122009"/>
                  <a:pt x="2727916" y="332053"/>
                </a:cubicBezTo>
                <a:lnTo>
                  <a:pt x="2797407" y="426906"/>
                </a:lnTo>
                <a:cubicBezTo>
                  <a:pt x="2816730" y="407744"/>
                  <a:pt x="2822914" y="396798"/>
                  <a:pt x="2848347" y="374270"/>
                </a:cubicBezTo>
                <a:cubicBezTo>
                  <a:pt x="2789714" y="335227"/>
                  <a:pt x="2770554" y="301522"/>
                  <a:pt x="2770554" y="211287"/>
                </a:cubicBezTo>
                <a:cubicBezTo>
                  <a:pt x="2770554" y="109060"/>
                  <a:pt x="2826850" y="34523"/>
                  <a:pt x="2918697" y="33333"/>
                </a:cubicBezTo>
                <a:cubicBezTo>
                  <a:pt x="3010544" y="32143"/>
                  <a:pt x="3068737" y="122977"/>
                  <a:pt x="3064459" y="218431"/>
                </a:cubicBezTo>
                <a:cubicBezTo>
                  <a:pt x="3062319" y="266188"/>
                  <a:pt x="3063213" y="242475"/>
                  <a:pt x="3054577" y="285936"/>
                </a:cubicBezTo>
                <a:cubicBezTo>
                  <a:pt x="3088600" y="260795"/>
                  <a:pt x="3146396" y="297212"/>
                  <a:pt x="3198377" y="27802"/>
                </a:cubicBezTo>
                <a:cubicBezTo>
                  <a:pt x="3270974" y="270322"/>
                  <a:pt x="3142267" y="378871"/>
                  <a:pt x="2977023" y="405424"/>
                </a:cubicBezTo>
                <a:cubicBezTo>
                  <a:pt x="2937650" y="455263"/>
                  <a:pt x="2906651" y="507366"/>
                  <a:pt x="2854455" y="531728"/>
                </a:cubicBezTo>
                <a:cubicBezTo>
                  <a:pt x="2854593" y="531917"/>
                  <a:pt x="2854687" y="532126"/>
                  <a:pt x="2854781" y="532336"/>
                </a:cubicBezTo>
                <a:lnTo>
                  <a:pt x="2914835" y="719911"/>
                </a:lnTo>
                <a:cubicBezTo>
                  <a:pt x="2982387" y="1030651"/>
                  <a:pt x="2875068" y="1334999"/>
                  <a:pt x="2751965" y="1458417"/>
                </a:cubicBezTo>
                <a:cubicBezTo>
                  <a:pt x="2718119" y="1752479"/>
                  <a:pt x="2636178" y="1904762"/>
                  <a:pt x="2564924" y="2133185"/>
                </a:cubicBezTo>
                <a:cubicBezTo>
                  <a:pt x="2548001" y="2174319"/>
                  <a:pt x="2290597" y="2162941"/>
                  <a:pt x="2284362" y="2130560"/>
                </a:cubicBezTo>
                <a:cubicBezTo>
                  <a:pt x="2253189" y="1989654"/>
                  <a:pt x="2205984" y="1832997"/>
                  <a:pt x="2190842" y="1681589"/>
                </a:cubicBezTo>
                <a:cubicBezTo>
                  <a:pt x="1937891" y="1727975"/>
                  <a:pt x="1628829" y="1727099"/>
                  <a:pt x="1429318" y="1710471"/>
                </a:cubicBezTo>
                <a:cubicBezTo>
                  <a:pt x="1387456" y="1891634"/>
                  <a:pt x="1268107" y="2057044"/>
                  <a:pt x="1143413" y="2180445"/>
                </a:cubicBezTo>
                <a:lnTo>
                  <a:pt x="943012" y="2180445"/>
                </a:lnTo>
                <a:cubicBezTo>
                  <a:pt x="894916" y="2170818"/>
                  <a:pt x="902932" y="1825120"/>
                  <a:pt x="910948" y="1650083"/>
                </a:cubicBezTo>
                <a:cubicBezTo>
                  <a:pt x="600994" y="1508303"/>
                  <a:pt x="-80369" y="1319263"/>
                  <a:pt x="7807" y="838786"/>
                </a:cubicBezTo>
                <a:cubicBezTo>
                  <a:pt x="13151" y="796777"/>
                  <a:pt x="184160" y="802028"/>
                  <a:pt x="275009" y="799402"/>
                </a:cubicBezTo>
                <a:cubicBezTo>
                  <a:pt x="369419" y="659373"/>
                  <a:pt x="418407" y="582356"/>
                  <a:pt x="555570" y="465957"/>
                </a:cubicBezTo>
                <a:cubicBezTo>
                  <a:pt x="547554" y="374062"/>
                  <a:pt x="496786" y="206026"/>
                  <a:pt x="531522" y="190273"/>
                </a:cubicBezTo>
                <a:cubicBezTo>
                  <a:pt x="764877" y="64246"/>
                  <a:pt x="803177" y="250661"/>
                  <a:pt x="924308" y="355683"/>
                </a:cubicBezTo>
                <a:cubicBezTo>
                  <a:pt x="1130053" y="143013"/>
                  <a:pt x="1554903" y="11735"/>
                  <a:pt x="1808744" y="1233"/>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tx1"/>
              </a:solidFill>
            </a:endParaRPr>
          </a:p>
        </p:txBody>
      </p:sp>
      <p:sp>
        <p:nvSpPr>
          <p:cNvPr id="95" name="Freeform 55">
            <a:extLst>
              <a:ext uri="{FF2B5EF4-FFF2-40B4-BE49-F238E27FC236}">
                <a16:creationId xmlns:a16="http://schemas.microsoft.com/office/drawing/2014/main" id="{E1F21ECA-3730-4E2A-BB32-69C99B2546BB}"/>
              </a:ext>
            </a:extLst>
          </p:cNvPr>
          <p:cNvSpPr/>
          <p:nvPr/>
        </p:nvSpPr>
        <p:spPr>
          <a:xfrm>
            <a:off x="4385321" y="5548088"/>
            <a:ext cx="357682" cy="876444"/>
          </a:xfrm>
          <a:custGeom>
            <a:rect l="l" t="t" r="r" b="b"/>
            <a:pathLst>
              <a:path w="1060423" h="2598393">
                <a:moveTo>
                  <a:pt x="511607" y="1989888"/>
                </a:moveTo>
                <a:cubicBezTo>
                  <a:pt x="421916" y="2038892"/>
                  <a:pt x="392123" y="2248491"/>
                  <a:pt x="577615" y="2379095"/>
                </a:cubicBezTo>
                <a:cubicBezTo>
                  <a:pt x="531205" y="2257454"/>
                  <a:pt x="562054" y="2197447"/>
                  <a:pt x="592034" y="2136572"/>
                </a:cubicBezTo>
                <a:cubicBezTo>
                  <a:pt x="592534" y="2167519"/>
                  <a:pt x="560915" y="2234057"/>
                  <a:pt x="638675" y="2272816"/>
                </a:cubicBezTo>
                <a:cubicBezTo>
                  <a:pt x="602283" y="2156226"/>
                  <a:pt x="756001" y="2119500"/>
                  <a:pt x="594605" y="1990756"/>
                </a:cubicBezTo>
                <a:cubicBezTo>
                  <a:pt x="828052" y="2024484"/>
                  <a:pt x="759407" y="2143283"/>
                  <a:pt x="814896" y="2262952"/>
                </a:cubicBezTo>
                <a:cubicBezTo>
                  <a:pt x="774295" y="2270013"/>
                  <a:pt x="715464" y="2161619"/>
                  <a:pt x="728685" y="2212952"/>
                </a:cubicBezTo>
                <a:cubicBezTo>
                  <a:pt x="798068" y="2415798"/>
                  <a:pt x="590532" y="2421590"/>
                  <a:pt x="656442" y="2598393"/>
                </a:cubicBezTo>
                <a:cubicBezTo>
                  <a:pt x="451592" y="2586815"/>
                  <a:pt x="511509" y="2396411"/>
                  <a:pt x="415171" y="2350110"/>
                </a:cubicBezTo>
                <a:cubicBezTo>
                  <a:pt x="389023" y="2345435"/>
                  <a:pt x="357666" y="2366802"/>
                  <a:pt x="415723" y="2461957"/>
                </a:cubicBezTo>
                <a:cubicBezTo>
                  <a:pt x="77590" y="2209980"/>
                  <a:pt x="314998" y="2004011"/>
                  <a:pt x="511607" y="1989888"/>
                </a:cubicBezTo>
                <a:close/>
                <a:moveTo>
                  <a:pt x="344786" y="1884983"/>
                </a:moveTo>
                <a:lnTo>
                  <a:pt x="722598" y="1884983"/>
                </a:lnTo>
                <a:cubicBezTo>
                  <a:pt x="716460" y="1906965"/>
                  <a:pt x="711917" y="1928321"/>
                  <a:pt x="707988" y="1948728"/>
                </a:cubicBezTo>
                <a:lnTo>
                  <a:pt x="357819" y="1948059"/>
                </a:lnTo>
                <a:close/>
                <a:moveTo>
                  <a:pt x="530212" y="651224"/>
                </a:moveTo>
                <a:cubicBezTo>
                  <a:pt x="585486" y="651224"/>
                  <a:pt x="630294" y="696033"/>
                  <a:pt x="630294" y="751307"/>
                </a:cubicBezTo>
                <a:cubicBezTo>
                  <a:pt x="630294" y="806581"/>
                  <a:pt x="585486" y="851389"/>
                  <a:pt x="530212" y="851389"/>
                </a:cubicBezTo>
                <a:cubicBezTo>
                  <a:pt x="474938" y="851389"/>
                  <a:pt x="430129" y="806581"/>
                  <a:pt x="430129" y="751307"/>
                </a:cubicBezTo>
                <a:cubicBezTo>
                  <a:pt x="430129" y="696033"/>
                  <a:pt x="474938" y="651224"/>
                  <a:pt x="530212" y="651224"/>
                </a:cubicBezTo>
                <a:close/>
                <a:moveTo>
                  <a:pt x="530212" y="551141"/>
                </a:moveTo>
                <a:cubicBezTo>
                  <a:pt x="419664" y="551141"/>
                  <a:pt x="330046" y="640759"/>
                  <a:pt x="330046" y="751307"/>
                </a:cubicBezTo>
                <a:cubicBezTo>
                  <a:pt x="330046" y="861855"/>
                  <a:pt x="419664" y="951472"/>
                  <a:pt x="530212" y="951472"/>
                </a:cubicBezTo>
                <a:cubicBezTo>
                  <a:pt x="640760" y="951472"/>
                  <a:pt x="730377" y="861855"/>
                  <a:pt x="730377" y="751307"/>
                </a:cubicBezTo>
                <a:cubicBezTo>
                  <a:pt x="730377" y="640759"/>
                  <a:pt x="640760" y="551141"/>
                  <a:pt x="530212" y="551141"/>
                </a:cubicBezTo>
                <a:close/>
                <a:moveTo>
                  <a:pt x="286245" y="353827"/>
                </a:moveTo>
                <a:cubicBezTo>
                  <a:pt x="438132" y="439406"/>
                  <a:pt x="623290" y="440561"/>
                  <a:pt x="776100" y="356932"/>
                </a:cubicBezTo>
                <a:cubicBezTo>
                  <a:pt x="941305" y="720175"/>
                  <a:pt x="898096" y="1115325"/>
                  <a:pt x="825241" y="1447764"/>
                </a:cubicBezTo>
                <a:lnTo>
                  <a:pt x="1060423" y="1673413"/>
                </a:lnTo>
                <a:lnTo>
                  <a:pt x="1021935" y="1978110"/>
                </a:lnTo>
                <a:lnTo>
                  <a:pt x="745125" y="1786699"/>
                </a:lnTo>
                <a:lnTo>
                  <a:pt x="734250" y="1834148"/>
                </a:lnTo>
                <a:lnTo>
                  <a:pt x="332991" y="1834148"/>
                </a:lnTo>
                <a:cubicBezTo>
                  <a:pt x="330005" y="1820736"/>
                  <a:pt x="326662" y="1807037"/>
                  <a:pt x="323192" y="1793020"/>
                </a:cubicBezTo>
                <a:lnTo>
                  <a:pt x="38489" y="1989888"/>
                </a:lnTo>
                <a:lnTo>
                  <a:pt x="0" y="1685191"/>
                </a:lnTo>
                <a:lnTo>
                  <a:pt x="237343" y="1457469"/>
                </a:lnTo>
                <a:lnTo>
                  <a:pt x="238009" y="1459571"/>
                </a:lnTo>
                <a:lnTo>
                  <a:pt x="242012" y="1446515"/>
                </a:lnTo>
                <a:cubicBezTo>
                  <a:pt x="171205" y="1115067"/>
                  <a:pt x="127758" y="714059"/>
                  <a:pt x="286245" y="353827"/>
                </a:cubicBezTo>
                <a:close/>
                <a:moveTo>
                  <a:pt x="527942" y="0"/>
                </a:moveTo>
                <a:cubicBezTo>
                  <a:pt x="622760" y="95693"/>
                  <a:pt x="695048" y="196745"/>
                  <a:pt x="748164" y="301374"/>
                </a:cubicBezTo>
                <a:cubicBezTo>
                  <a:pt x="612692" y="376844"/>
                  <a:pt x="447588" y="375495"/>
                  <a:pt x="312997" y="298024"/>
                </a:cubicBezTo>
                <a:cubicBezTo>
                  <a:pt x="364591" y="193505"/>
                  <a:pt x="435080" y="93397"/>
                  <a:pt x="527942" y="0"/>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p>
        </p:txBody>
      </p:sp>
      <p:sp>
        <p:nvSpPr>
          <p:cNvPr id="96" name="Round Same Side Corner Rectangle 36">
            <a:extLst>
              <a:ext uri="{FF2B5EF4-FFF2-40B4-BE49-F238E27FC236}">
                <a16:creationId xmlns:a16="http://schemas.microsoft.com/office/drawing/2014/main" id="{E0C4F70F-DCCD-48F1-A750-DF4F32AC8F75}"/>
              </a:ext>
            </a:extLst>
          </p:cNvPr>
          <p:cNvSpPr/>
          <p:nvPr/>
        </p:nvSpPr>
        <p:spPr>
          <a:xfrm>
            <a:off x="9093644" y="5778078"/>
            <a:ext cx="655384" cy="518158"/>
          </a:xfrm>
          <a:custGeom>
            <a:rect l="l" t="t" r="r" b="b"/>
            <a:pathLst>
              <a:path w="3219104" h="2545072">
                <a:moveTo>
                  <a:pt x="2779672" y="457200"/>
                </a:moveTo>
                <a:lnTo>
                  <a:pt x="2975888" y="457200"/>
                </a:lnTo>
                <a:cubicBezTo>
                  <a:pt x="3110212" y="457200"/>
                  <a:pt x="3219104" y="566092"/>
                  <a:pt x="3219104" y="700416"/>
                </a:cubicBezTo>
                <a:lnTo>
                  <a:pt x="3219104" y="2301856"/>
                </a:lnTo>
                <a:cubicBezTo>
                  <a:pt x="3219104" y="2436180"/>
                  <a:pt x="3110212" y="2545072"/>
                  <a:pt x="2975888" y="2545072"/>
                </a:cubicBezTo>
                <a:lnTo>
                  <a:pt x="2779672" y="2545072"/>
                </a:lnTo>
                <a:close/>
                <a:moveTo>
                  <a:pt x="243216" y="457200"/>
                </a:moveTo>
                <a:lnTo>
                  <a:pt x="439432" y="457200"/>
                </a:lnTo>
                <a:lnTo>
                  <a:pt x="439432" y="2545072"/>
                </a:lnTo>
                <a:lnTo>
                  <a:pt x="243216" y="2545072"/>
                </a:lnTo>
                <a:cubicBezTo>
                  <a:pt x="108892" y="2545072"/>
                  <a:pt x="0" y="2436180"/>
                  <a:pt x="0" y="2301856"/>
                </a:cubicBezTo>
                <a:lnTo>
                  <a:pt x="0" y="700416"/>
                </a:lnTo>
                <a:cubicBezTo>
                  <a:pt x="0" y="566092"/>
                  <a:pt x="108892" y="457200"/>
                  <a:pt x="243216" y="457200"/>
                </a:cubicBezTo>
                <a:close/>
                <a:moveTo>
                  <a:pt x="1428476" y="174246"/>
                </a:moveTo>
                <a:cubicBezTo>
                  <a:pt x="1372210" y="174246"/>
                  <a:pt x="1326598" y="219858"/>
                  <a:pt x="1326598" y="276124"/>
                </a:cubicBezTo>
                <a:lnTo>
                  <a:pt x="1326598" y="457200"/>
                </a:lnTo>
                <a:lnTo>
                  <a:pt x="1892506" y="457200"/>
                </a:lnTo>
                <a:lnTo>
                  <a:pt x="1892506" y="276124"/>
                </a:lnTo>
                <a:cubicBezTo>
                  <a:pt x="1892506" y="219858"/>
                  <a:pt x="1846894" y="174246"/>
                  <a:pt x="1790628" y="174246"/>
                </a:cubicBezTo>
                <a:close/>
                <a:moveTo>
                  <a:pt x="1285704" y="0"/>
                </a:moveTo>
                <a:lnTo>
                  <a:pt x="1933400" y="0"/>
                </a:lnTo>
                <a:cubicBezTo>
                  <a:pt x="2007048" y="0"/>
                  <a:pt x="2066752" y="59704"/>
                  <a:pt x="2066752" y="133352"/>
                </a:cubicBezTo>
                <a:lnTo>
                  <a:pt x="2066752" y="457200"/>
                </a:lnTo>
                <a:lnTo>
                  <a:pt x="2599672" y="457200"/>
                </a:lnTo>
                <a:lnTo>
                  <a:pt x="2599672" y="2545072"/>
                </a:lnTo>
                <a:lnTo>
                  <a:pt x="619432" y="2545072"/>
                </a:lnTo>
                <a:lnTo>
                  <a:pt x="619432" y="457200"/>
                </a:lnTo>
                <a:lnTo>
                  <a:pt x="1152352" y="457200"/>
                </a:lnTo>
                <a:lnTo>
                  <a:pt x="1152352" y="133352"/>
                </a:lnTo>
                <a:cubicBezTo>
                  <a:pt x="1152352" y="59704"/>
                  <a:pt x="1212056" y="0"/>
                  <a:pt x="1285704" y="0"/>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p>
        </p:txBody>
      </p:sp>
      <p:sp>
        <p:nvSpPr>
          <p:cNvPr id="97" name="Oval 21">
            <a:extLst>
              <a:ext uri="{FF2B5EF4-FFF2-40B4-BE49-F238E27FC236}">
                <a16:creationId xmlns:a16="http://schemas.microsoft.com/office/drawing/2014/main" id="{B92F2676-D90E-40BF-8AC5-C623D6EC5932}"/>
              </a:ext>
            </a:extLst>
          </p:cNvPr>
          <p:cNvSpPr>
            <a:spLocks noChangeAspect="1"/>
          </p:cNvSpPr>
          <p:nvPr/>
        </p:nvSpPr>
        <p:spPr>
          <a:xfrm>
            <a:off x="5899135" y="5752166"/>
            <a:ext cx="539564" cy="544072"/>
          </a:xfrm>
          <a:custGeom>
            <a:rect l="l" t="t" r="r" b="b"/>
            <a:pathLst>
              <a:path w="1652142" h="1665940">
                <a:moveTo>
                  <a:pt x="898689" y="548008"/>
                </a:moveTo>
                <a:cubicBezTo>
                  <a:pt x="737950" y="504938"/>
                  <a:pt x="572731" y="600328"/>
                  <a:pt x="529661" y="761066"/>
                </a:cubicBezTo>
                <a:cubicBezTo>
                  <a:pt x="486591" y="921805"/>
                  <a:pt x="581980" y="1087025"/>
                  <a:pt x="742719" y="1130094"/>
                </a:cubicBezTo>
                <a:cubicBezTo>
                  <a:pt x="903458" y="1173164"/>
                  <a:pt x="1068677" y="1077775"/>
                  <a:pt x="1111747" y="917036"/>
                </a:cubicBezTo>
                <a:cubicBezTo>
                  <a:pt x="1154817" y="756297"/>
                  <a:pt x="1059428" y="591077"/>
                  <a:pt x="898689" y="548008"/>
                </a:cubicBezTo>
                <a:close/>
                <a:moveTo>
                  <a:pt x="952303" y="347916"/>
                </a:moveTo>
                <a:cubicBezTo>
                  <a:pt x="1223549" y="420596"/>
                  <a:pt x="1384519" y="699404"/>
                  <a:pt x="1311839" y="970650"/>
                </a:cubicBezTo>
                <a:cubicBezTo>
                  <a:pt x="1239159" y="1241896"/>
                  <a:pt x="960351" y="1402866"/>
                  <a:pt x="689105" y="1330186"/>
                </a:cubicBezTo>
                <a:cubicBezTo>
                  <a:pt x="417859" y="1257506"/>
                  <a:pt x="256889" y="978698"/>
                  <a:pt x="329569" y="707451"/>
                </a:cubicBezTo>
                <a:cubicBezTo>
                  <a:pt x="402249" y="436205"/>
                  <a:pt x="681057" y="275235"/>
                  <a:pt x="952303" y="347916"/>
                </a:cubicBezTo>
                <a:close/>
                <a:moveTo>
                  <a:pt x="971799" y="275155"/>
                </a:moveTo>
                <a:cubicBezTo>
                  <a:pt x="660368" y="191707"/>
                  <a:pt x="340256" y="376524"/>
                  <a:pt x="256808" y="687955"/>
                </a:cubicBezTo>
                <a:cubicBezTo>
                  <a:pt x="173361" y="999387"/>
                  <a:pt x="358178" y="1319499"/>
                  <a:pt x="669609" y="1402947"/>
                </a:cubicBezTo>
                <a:cubicBezTo>
                  <a:pt x="981040" y="1486395"/>
                  <a:pt x="1301152" y="1301577"/>
                  <a:pt x="1384600" y="990146"/>
                </a:cubicBezTo>
                <a:cubicBezTo>
                  <a:pt x="1468047" y="678715"/>
                  <a:pt x="1283230" y="358603"/>
                  <a:pt x="971799" y="275155"/>
                </a:cubicBezTo>
                <a:close/>
                <a:moveTo>
                  <a:pt x="1652142" y="394531"/>
                </a:moveTo>
                <a:lnTo>
                  <a:pt x="1649662" y="403784"/>
                </a:lnTo>
                <a:lnTo>
                  <a:pt x="1647140" y="399895"/>
                </a:lnTo>
                <a:close/>
                <a:moveTo>
                  <a:pt x="1158157" y="65026"/>
                </a:moveTo>
                <a:lnTo>
                  <a:pt x="1154679" y="271718"/>
                </a:lnTo>
                <a:lnTo>
                  <a:pt x="1148331" y="270017"/>
                </a:lnTo>
                <a:cubicBezTo>
                  <a:pt x="1200055" y="299127"/>
                  <a:pt x="1246804" y="334821"/>
                  <a:pt x="1286346" y="377149"/>
                </a:cubicBezTo>
                <a:lnTo>
                  <a:pt x="1470353" y="331395"/>
                </a:lnTo>
                <a:lnTo>
                  <a:pt x="1588305" y="553229"/>
                </a:lnTo>
                <a:lnTo>
                  <a:pt x="1457194" y="671432"/>
                </a:lnTo>
                <a:cubicBezTo>
                  <a:pt x="1473630" y="731297"/>
                  <a:pt x="1481376" y="793983"/>
                  <a:pt x="1478595" y="857704"/>
                </a:cubicBezTo>
                <a:lnTo>
                  <a:pt x="1642362" y="948616"/>
                </a:lnTo>
                <a:lnTo>
                  <a:pt x="1577335" y="1191298"/>
                </a:lnTo>
                <a:lnTo>
                  <a:pt x="1378614" y="1187955"/>
                </a:lnTo>
                <a:cubicBezTo>
                  <a:pt x="1353489" y="1229936"/>
                  <a:pt x="1323048" y="1267799"/>
                  <a:pt x="1288939" y="1301599"/>
                </a:cubicBezTo>
                <a:lnTo>
                  <a:pt x="1354201" y="1471932"/>
                </a:lnTo>
                <a:lnTo>
                  <a:pt x="1148396" y="1616039"/>
                </a:lnTo>
                <a:lnTo>
                  <a:pt x="992294" y="1480516"/>
                </a:lnTo>
                <a:lnTo>
                  <a:pt x="1011291" y="1467215"/>
                </a:lnTo>
                <a:cubicBezTo>
                  <a:pt x="951500" y="1486565"/>
                  <a:pt x="888271" y="1495869"/>
                  <a:pt x="823805" y="1495510"/>
                </a:cubicBezTo>
                <a:lnTo>
                  <a:pt x="729193" y="1665940"/>
                </a:lnTo>
                <a:lnTo>
                  <a:pt x="486511" y="1600914"/>
                </a:lnTo>
                <a:lnTo>
                  <a:pt x="489790" y="1406012"/>
                </a:lnTo>
                <a:cubicBezTo>
                  <a:pt x="438364" y="1376702"/>
                  <a:pt x="391917" y="1340859"/>
                  <a:pt x="352658" y="1298452"/>
                </a:cubicBezTo>
                <a:lnTo>
                  <a:pt x="355803" y="1305197"/>
                </a:lnTo>
                <a:lnTo>
                  <a:pt x="152856" y="1344512"/>
                </a:lnTo>
                <a:lnTo>
                  <a:pt x="46675" y="1116809"/>
                </a:lnTo>
                <a:lnTo>
                  <a:pt x="183929" y="1005520"/>
                </a:lnTo>
                <a:cubicBezTo>
                  <a:pt x="169279" y="951824"/>
                  <a:pt x="161626" y="895865"/>
                  <a:pt x="161615" y="838915"/>
                </a:cubicBezTo>
                <a:lnTo>
                  <a:pt x="0" y="749197"/>
                </a:lnTo>
                <a:lnTo>
                  <a:pt x="65026" y="506515"/>
                </a:lnTo>
                <a:lnTo>
                  <a:pt x="250227" y="509630"/>
                </a:lnTo>
                <a:cubicBezTo>
                  <a:pt x="275353" y="465291"/>
                  <a:pt x="305693" y="424864"/>
                  <a:pt x="340015" y="388679"/>
                </a:cubicBezTo>
                <a:lnTo>
                  <a:pt x="277984" y="197357"/>
                </a:lnTo>
                <a:lnTo>
                  <a:pt x="491050" y="64219"/>
                </a:lnTo>
                <a:lnTo>
                  <a:pt x="639843" y="207726"/>
                </a:lnTo>
                <a:lnTo>
                  <a:pt x="638348" y="208660"/>
                </a:lnTo>
                <a:cubicBezTo>
                  <a:pt x="696840" y="190256"/>
                  <a:pt x="758594" y="181748"/>
                  <a:pt x="821488" y="182440"/>
                </a:cubicBezTo>
                <a:lnTo>
                  <a:pt x="815140" y="180739"/>
                </a:lnTo>
                <a:lnTo>
                  <a:pt x="915476" y="0"/>
                </a:ln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a:endParaRPr lang="ko-KR" altLang="en-US" sz="1400"/>
          </a:p>
        </p:txBody>
      </p:sp>
      <p:sp>
        <p:nvSpPr>
          <p:cNvPr id="98" name="Oval 32">
            <a:extLst>
              <a:ext uri="{FF2B5EF4-FFF2-40B4-BE49-F238E27FC236}">
                <a16:creationId xmlns:a16="http://schemas.microsoft.com/office/drawing/2014/main" id="{06C7F06B-394E-4FE3-88AA-93210AFF9C00}"/>
              </a:ext>
            </a:extLst>
          </p:cNvPr>
          <p:cNvSpPr/>
          <p:nvPr/>
        </p:nvSpPr>
        <p:spPr>
          <a:xfrm>
            <a:off x="10018369" y="4572351"/>
            <a:ext cx="513767" cy="618071"/>
          </a:xfrm>
          <a:custGeom>
            <a:rect l="l" t="t" r="r" b="b"/>
            <a:pathLst>
              <a:path w="2671236" h="3213546">
                <a:moveTo>
                  <a:pt x="1336943" y="151152"/>
                </a:moveTo>
                <a:cubicBezTo>
                  <a:pt x="1223677" y="151152"/>
                  <a:pt x="1131857" y="242973"/>
                  <a:pt x="1131857" y="356239"/>
                </a:cubicBezTo>
                <a:cubicBezTo>
                  <a:pt x="1131857" y="469506"/>
                  <a:pt x="1223677" y="561326"/>
                  <a:pt x="1336943" y="561326"/>
                </a:cubicBezTo>
                <a:cubicBezTo>
                  <a:pt x="1450210" y="561326"/>
                  <a:pt x="1542030" y="469506"/>
                  <a:pt x="1542030" y="356239"/>
                </a:cubicBezTo>
                <a:cubicBezTo>
                  <a:pt x="1542030" y="242973"/>
                  <a:pt x="1450210" y="151152"/>
                  <a:pt x="1336943" y="151152"/>
                </a:cubicBezTo>
                <a:close/>
                <a:moveTo>
                  <a:pt x="1336943" y="0"/>
                </a:moveTo>
                <a:cubicBezTo>
                  <a:pt x="1533689" y="0"/>
                  <a:pt x="1693182" y="159493"/>
                  <a:pt x="1693182" y="356239"/>
                </a:cubicBezTo>
                <a:cubicBezTo>
                  <a:pt x="1693182" y="499348"/>
                  <a:pt x="1608797" y="622748"/>
                  <a:pt x="1486649" y="678491"/>
                </a:cubicBezTo>
                <a:lnTo>
                  <a:pt x="1504985" y="861628"/>
                </a:lnTo>
                <a:lnTo>
                  <a:pt x="2050955" y="861628"/>
                </a:lnTo>
                <a:cubicBezTo>
                  <a:pt x="2073924" y="808095"/>
                  <a:pt x="2127168" y="770742"/>
                  <a:pt x="2189136" y="770742"/>
                </a:cubicBezTo>
                <a:cubicBezTo>
                  <a:pt x="2272476" y="770742"/>
                  <a:pt x="2340037" y="838303"/>
                  <a:pt x="2340037" y="921643"/>
                </a:cubicBezTo>
                <a:cubicBezTo>
                  <a:pt x="2340037" y="1004983"/>
                  <a:pt x="2272476" y="1072544"/>
                  <a:pt x="2189136" y="1072544"/>
                </a:cubicBezTo>
                <a:cubicBezTo>
                  <a:pt x="2127168" y="1072544"/>
                  <a:pt x="2073924" y="1035191"/>
                  <a:pt x="2050955" y="981658"/>
                </a:cubicBezTo>
                <a:lnTo>
                  <a:pt x="1517002" y="981658"/>
                </a:lnTo>
                <a:lnTo>
                  <a:pt x="1678124" y="2590970"/>
                </a:lnTo>
                <a:cubicBezTo>
                  <a:pt x="2063444" y="2451708"/>
                  <a:pt x="2360829" y="2287813"/>
                  <a:pt x="2381761" y="1860600"/>
                </a:cubicBezTo>
                <a:cubicBezTo>
                  <a:pt x="2329006" y="1862811"/>
                  <a:pt x="2276981" y="1871755"/>
                  <a:pt x="2228094" y="1886075"/>
                </a:cubicBezTo>
                <a:cubicBezTo>
                  <a:pt x="2324645" y="1771974"/>
                  <a:pt x="2415523" y="1665436"/>
                  <a:pt x="2449665" y="1504055"/>
                </a:cubicBezTo>
                <a:cubicBezTo>
                  <a:pt x="2485699" y="1663545"/>
                  <a:pt x="2574685" y="1764408"/>
                  <a:pt x="2671236" y="1886075"/>
                </a:cubicBezTo>
                <a:cubicBezTo>
                  <a:pt x="2622475" y="1872164"/>
                  <a:pt x="2568855" y="1862858"/>
                  <a:pt x="2513341" y="1860541"/>
                </a:cubicBezTo>
                <a:cubicBezTo>
                  <a:pt x="2486075" y="2436981"/>
                  <a:pt x="2151724" y="2992040"/>
                  <a:pt x="1522375" y="3040581"/>
                </a:cubicBezTo>
                <a:cubicBezTo>
                  <a:pt x="1427529" y="3119259"/>
                  <a:pt x="1392747" y="3155891"/>
                  <a:pt x="1336943" y="3213546"/>
                </a:cubicBezTo>
                <a:cubicBezTo>
                  <a:pt x="1284048" y="3153728"/>
                  <a:pt x="1252174" y="3120936"/>
                  <a:pt x="1157234" y="3046101"/>
                </a:cubicBezTo>
                <a:cubicBezTo>
                  <a:pt x="592479" y="2980043"/>
                  <a:pt x="187829" y="2438320"/>
                  <a:pt x="160409" y="1860193"/>
                </a:cubicBezTo>
                <a:cubicBezTo>
                  <a:pt x="105366" y="1862056"/>
                  <a:pt x="50978" y="1871143"/>
                  <a:pt x="0" y="1886075"/>
                </a:cubicBezTo>
                <a:cubicBezTo>
                  <a:pt x="96552" y="1771974"/>
                  <a:pt x="187429" y="1665436"/>
                  <a:pt x="221571" y="1504055"/>
                </a:cubicBezTo>
                <a:cubicBezTo>
                  <a:pt x="257605" y="1663545"/>
                  <a:pt x="346591" y="1764408"/>
                  <a:pt x="443143" y="1886075"/>
                </a:cubicBezTo>
                <a:cubicBezTo>
                  <a:pt x="396276" y="1872705"/>
                  <a:pt x="344922" y="1863589"/>
                  <a:pt x="291687" y="1860996"/>
                </a:cubicBezTo>
                <a:cubicBezTo>
                  <a:pt x="313360" y="2289054"/>
                  <a:pt x="617325" y="2454996"/>
                  <a:pt x="1001768" y="2593980"/>
                </a:cubicBezTo>
                <a:lnTo>
                  <a:pt x="1157883" y="981658"/>
                </a:lnTo>
                <a:lnTo>
                  <a:pt x="666108" y="981658"/>
                </a:lnTo>
                <a:cubicBezTo>
                  <a:pt x="643139" y="1035191"/>
                  <a:pt x="589896" y="1072543"/>
                  <a:pt x="527928" y="1072543"/>
                </a:cubicBezTo>
                <a:cubicBezTo>
                  <a:pt x="444588" y="1072543"/>
                  <a:pt x="377027" y="1004982"/>
                  <a:pt x="377027" y="921642"/>
                </a:cubicBezTo>
                <a:cubicBezTo>
                  <a:pt x="377027" y="838302"/>
                  <a:pt x="444588" y="770741"/>
                  <a:pt x="527928" y="770741"/>
                </a:cubicBezTo>
                <a:cubicBezTo>
                  <a:pt x="589896" y="770741"/>
                  <a:pt x="643141" y="808095"/>
                  <a:pt x="666110" y="861628"/>
                </a:cubicBezTo>
                <a:lnTo>
                  <a:pt x="1169505" y="861628"/>
                </a:lnTo>
                <a:lnTo>
                  <a:pt x="1187237" y="678491"/>
                </a:lnTo>
                <a:cubicBezTo>
                  <a:pt x="1065090" y="622748"/>
                  <a:pt x="980704" y="499348"/>
                  <a:pt x="980704" y="356239"/>
                </a:cubicBezTo>
                <a:cubicBezTo>
                  <a:pt x="980704" y="159493"/>
                  <a:pt x="1140198" y="0"/>
                  <a:pt x="1336943" y="0"/>
                </a:cubicBezTo>
                <a:close/>
              </a:path>
            </a:pathLst>
          </a:cu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a:endParaRPr lang="ko-KR" altLang="en-US" sz="1400"/>
          </a:p>
        </p:txBody>
      </p:sp>
      <p:grpSp>
        <p:nvGrpSpPr>
          <p:cNvPr id="116" name="Google Shape;6783;p88"/>
          <p:cNvGrpSpPr/>
          <p:nvPr/>
        </p:nvGrpSpPr>
        <p:grpSpPr>
          <a:xfrm>
            <a:off x="10947648" y="1235504"/>
            <a:ext cx="566806" cy="566418"/>
            <a:chOff x="-34004625" y="3585850"/>
            <a:chExt cx="292225" cy="292025"/>
          </a:xfrm>
          <a:solidFill>
            <a:srgbClr val="00677F"/>
          </a:solidFill>
        </p:grpSpPr>
        <p:sp>
          <p:nvSpPr>
            <p:cNvPr id="117" name="Google Shape;6784;p88"/>
            <p:cNvSpPr/>
            <p:nvPr/>
          </p:nvSpPr>
          <p:spPr>
            <a:xfrm>
              <a:off x="-33832149" y="3585850"/>
              <a:ext cx="103200" cy="154200"/>
            </a:xfrm>
            <a:custGeom>
              <a:rect l="l" t="t" r="r" b="b"/>
              <a:pathLst>
                <a:path w="4128" h="6168" extrusionOk="0">
                  <a:moveTo>
                    <a:pt x="2426" y="1"/>
                  </a:moveTo>
                  <a:cubicBezTo>
                    <a:pt x="2286" y="1"/>
                    <a:pt x="2136" y="77"/>
                    <a:pt x="2112" y="244"/>
                  </a:cubicBezTo>
                  <a:lnTo>
                    <a:pt x="64" y="5064"/>
                  </a:lnTo>
                  <a:cubicBezTo>
                    <a:pt x="1" y="5222"/>
                    <a:pt x="64" y="5474"/>
                    <a:pt x="253" y="5506"/>
                  </a:cubicBezTo>
                  <a:cubicBezTo>
                    <a:pt x="295" y="5531"/>
                    <a:pt x="342" y="5543"/>
                    <a:pt x="389" y="5543"/>
                  </a:cubicBezTo>
                  <a:cubicBezTo>
                    <a:pt x="517" y="5543"/>
                    <a:pt x="648" y="5455"/>
                    <a:pt x="694" y="5317"/>
                  </a:cubicBezTo>
                  <a:lnTo>
                    <a:pt x="1261" y="4025"/>
                  </a:lnTo>
                  <a:cubicBezTo>
                    <a:pt x="1419" y="4088"/>
                    <a:pt x="1576" y="4119"/>
                    <a:pt x="1765" y="4119"/>
                  </a:cubicBezTo>
                  <a:cubicBezTo>
                    <a:pt x="1891" y="4119"/>
                    <a:pt x="1986" y="4088"/>
                    <a:pt x="2112" y="4056"/>
                  </a:cubicBezTo>
                  <a:lnTo>
                    <a:pt x="2112" y="4844"/>
                  </a:lnTo>
                  <a:cubicBezTo>
                    <a:pt x="1450" y="4970"/>
                    <a:pt x="946" y="5506"/>
                    <a:pt x="789" y="6167"/>
                  </a:cubicBezTo>
                  <a:lnTo>
                    <a:pt x="4128" y="6167"/>
                  </a:lnTo>
                  <a:cubicBezTo>
                    <a:pt x="4002" y="5506"/>
                    <a:pt x="3466" y="5001"/>
                    <a:pt x="2773" y="4844"/>
                  </a:cubicBezTo>
                  <a:lnTo>
                    <a:pt x="2773" y="3143"/>
                  </a:lnTo>
                  <a:cubicBezTo>
                    <a:pt x="2773" y="2670"/>
                    <a:pt x="2458" y="2324"/>
                    <a:pt x="2080" y="2166"/>
                  </a:cubicBezTo>
                  <a:lnTo>
                    <a:pt x="2773" y="496"/>
                  </a:lnTo>
                  <a:cubicBezTo>
                    <a:pt x="2773" y="307"/>
                    <a:pt x="2710" y="118"/>
                    <a:pt x="2553" y="24"/>
                  </a:cubicBezTo>
                  <a:cubicBezTo>
                    <a:pt x="2515" y="8"/>
                    <a:pt x="2471" y="1"/>
                    <a:pt x="2426" y="1"/>
                  </a:cubicBezTo>
                  <a:close/>
                </a:path>
              </a:pathLst>
            </a:custGeom>
            <a:grpFill/>
            <a:ln>
              <a:noFill/>
            </a:ln>
          </p:spPr>
          <p:txBody>
            <a:bodyPr spcFirstLastPara="1" wrap="square" lIns="91417" tIns="91417" rIns="91417" bIns="91417" anchor="ctr" anchorCtr="0">
              <a:noAutofit/>
            </a:bodyPr>
            <a:lstStyle/>
            <a:p>
              <a:endParaRPr sz="1400"/>
            </a:p>
          </p:txBody>
        </p:sp>
        <p:sp>
          <p:nvSpPr>
            <p:cNvPr id="118" name="Google Shape;6785;p88"/>
            <p:cNvSpPr/>
            <p:nvPr/>
          </p:nvSpPr>
          <p:spPr>
            <a:xfrm>
              <a:off x="-34004625" y="3690400"/>
              <a:ext cx="155175" cy="187475"/>
            </a:xfrm>
            <a:custGeom>
              <a:rect l="l" t="t" r="r" b="b"/>
              <a:pathLst>
                <a:path w="6207" h="7499" extrusionOk="0">
                  <a:moveTo>
                    <a:pt x="693" y="0"/>
                  </a:moveTo>
                  <a:cubicBezTo>
                    <a:pt x="315" y="0"/>
                    <a:pt x="0" y="315"/>
                    <a:pt x="0" y="662"/>
                  </a:cubicBezTo>
                  <a:lnTo>
                    <a:pt x="0" y="6490"/>
                  </a:lnTo>
                  <a:cubicBezTo>
                    <a:pt x="32" y="7026"/>
                    <a:pt x="504" y="7498"/>
                    <a:pt x="1103" y="7498"/>
                  </a:cubicBezTo>
                  <a:lnTo>
                    <a:pt x="6207" y="7498"/>
                  </a:lnTo>
                  <a:lnTo>
                    <a:pt x="6207" y="5797"/>
                  </a:lnTo>
                  <a:cubicBezTo>
                    <a:pt x="6207" y="5608"/>
                    <a:pt x="6049" y="5451"/>
                    <a:pt x="5860" y="5451"/>
                  </a:cubicBezTo>
                  <a:lnTo>
                    <a:pt x="1765" y="5451"/>
                  </a:lnTo>
                  <a:cubicBezTo>
                    <a:pt x="1576" y="5451"/>
                    <a:pt x="1418" y="5293"/>
                    <a:pt x="1418" y="5104"/>
                  </a:cubicBezTo>
                  <a:lnTo>
                    <a:pt x="1418" y="662"/>
                  </a:lnTo>
                  <a:cubicBezTo>
                    <a:pt x="1418" y="252"/>
                    <a:pt x="1103" y="0"/>
                    <a:pt x="693" y="0"/>
                  </a:cubicBezTo>
                  <a:close/>
                </a:path>
              </a:pathLst>
            </a:custGeom>
            <a:grpFill/>
            <a:ln>
              <a:noFill/>
            </a:ln>
          </p:spPr>
          <p:txBody>
            <a:bodyPr spcFirstLastPara="1" wrap="square" lIns="91417" tIns="91417" rIns="91417" bIns="91417" anchor="ctr" anchorCtr="0">
              <a:noAutofit/>
            </a:bodyPr>
            <a:lstStyle/>
            <a:p>
              <a:endParaRPr sz="1400"/>
            </a:p>
          </p:txBody>
        </p:sp>
        <p:sp>
          <p:nvSpPr>
            <p:cNvPr id="119" name="Google Shape;6786;p88"/>
            <p:cNvSpPr/>
            <p:nvPr/>
          </p:nvSpPr>
          <p:spPr>
            <a:xfrm>
              <a:off x="-33936099" y="3621075"/>
              <a:ext cx="51200" cy="51225"/>
            </a:xfrm>
            <a:custGeom>
              <a:rect l="l" t="t" r="r" b="b"/>
              <a:pathLst>
                <a:path w="2048" h="2049" extrusionOk="0">
                  <a:moveTo>
                    <a:pt x="1040" y="1"/>
                  </a:moveTo>
                  <a:cubicBezTo>
                    <a:pt x="473" y="1"/>
                    <a:pt x="0" y="473"/>
                    <a:pt x="0" y="1041"/>
                  </a:cubicBezTo>
                  <a:cubicBezTo>
                    <a:pt x="0" y="1576"/>
                    <a:pt x="473" y="2049"/>
                    <a:pt x="1040" y="2049"/>
                  </a:cubicBezTo>
                  <a:cubicBezTo>
                    <a:pt x="1576" y="2049"/>
                    <a:pt x="2048" y="1576"/>
                    <a:pt x="2048" y="1041"/>
                  </a:cubicBezTo>
                  <a:cubicBezTo>
                    <a:pt x="2048" y="473"/>
                    <a:pt x="1607" y="1"/>
                    <a:pt x="1040" y="1"/>
                  </a:cubicBezTo>
                  <a:close/>
                </a:path>
              </a:pathLst>
            </a:custGeom>
            <a:grpFill/>
            <a:ln>
              <a:noFill/>
            </a:ln>
          </p:spPr>
          <p:txBody>
            <a:bodyPr spcFirstLastPara="1" wrap="square" lIns="91417" tIns="91417" rIns="91417" bIns="91417" anchor="ctr" anchorCtr="0">
              <a:noAutofit/>
            </a:bodyPr>
            <a:lstStyle/>
            <a:p>
              <a:endParaRPr sz="1400"/>
            </a:p>
          </p:txBody>
        </p:sp>
        <p:sp>
          <p:nvSpPr>
            <p:cNvPr id="120" name="Google Shape;6787;p88"/>
            <p:cNvSpPr/>
            <p:nvPr/>
          </p:nvSpPr>
          <p:spPr>
            <a:xfrm>
              <a:off x="-33952650" y="3690125"/>
              <a:ext cx="155975" cy="186950"/>
            </a:xfrm>
            <a:custGeom>
              <a:rect l="l" t="t" r="r" b="b"/>
              <a:pathLst>
                <a:path w="6239" h="7478" extrusionOk="0">
                  <a:moveTo>
                    <a:pt x="1641" y="1"/>
                  </a:moveTo>
                  <a:cubicBezTo>
                    <a:pt x="1242" y="1"/>
                    <a:pt x="819" y="205"/>
                    <a:pt x="568" y="484"/>
                  </a:cubicBezTo>
                  <a:cubicBezTo>
                    <a:pt x="190" y="799"/>
                    <a:pt x="1" y="1209"/>
                    <a:pt x="1" y="1681"/>
                  </a:cubicBezTo>
                  <a:lnTo>
                    <a:pt x="1" y="4769"/>
                  </a:lnTo>
                  <a:lnTo>
                    <a:pt x="2679" y="4769"/>
                  </a:lnTo>
                  <a:cubicBezTo>
                    <a:pt x="2521" y="4359"/>
                    <a:pt x="2175" y="4107"/>
                    <a:pt x="1702" y="4107"/>
                  </a:cubicBezTo>
                  <a:lnTo>
                    <a:pt x="1040" y="4107"/>
                  </a:lnTo>
                  <a:cubicBezTo>
                    <a:pt x="820" y="4107"/>
                    <a:pt x="662" y="3949"/>
                    <a:pt x="662" y="3729"/>
                  </a:cubicBezTo>
                  <a:lnTo>
                    <a:pt x="662" y="2374"/>
                  </a:lnTo>
                  <a:cubicBezTo>
                    <a:pt x="662" y="2154"/>
                    <a:pt x="820" y="1996"/>
                    <a:pt x="1040" y="1996"/>
                  </a:cubicBezTo>
                  <a:cubicBezTo>
                    <a:pt x="1229" y="1996"/>
                    <a:pt x="1387" y="2154"/>
                    <a:pt x="1387" y="2374"/>
                  </a:cubicBezTo>
                  <a:lnTo>
                    <a:pt x="1387" y="3382"/>
                  </a:lnTo>
                  <a:lnTo>
                    <a:pt x="1733" y="3382"/>
                  </a:lnTo>
                  <a:cubicBezTo>
                    <a:pt x="2553" y="3382"/>
                    <a:pt x="3277" y="3981"/>
                    <a:pt x="3435" y="4769"/>
                  </a:cubicBezTo>
                  <a:lnTo>
                    <a:pt x="3813" y="4769"/>
                  </a:lnTo>
                  <a:cubicBezTo>
                    <a:pt x="4380" y="4769"/>
                    <a:pt x="4852" y="5241"/>
                    <a:pt x="4852" y="5777"/>
                  </a:cubicBezTo>
                  <a:lnTo>
                    <a:pt x="4852" y="7478"/>
                  </a:lnTo>
                  <a:lnTo>
                    <a:pt x="6239" y="7478"/>
                  </a:lnTo>
                  <a:lnTo>
                    <a:pt x="6239" y="5084"/>
                  </a:lnTo>
                  <a:cubicBezTo>
                    <a:pt x="6176" y="4580"/>
                    <a:pt x="5703" y="4107"/>
                    <a:pt x="5168" y="4107"/>
                  </a:cubicBezTo>
                  <a:lnTo>
                    <a:pt x="3781" y="4107"/>
                  </a:lnTo>
                  <a:cubicBezTo>
                    <a:pt x="3592" y="4107"/>
                    <a:pt x="3435" y="3949"/>
                    <a:pt x="3435" y="3729"/>
                  </a:cubicBezTo>
                  <a:lnTo>
                    <a:pt x="3435" y="1807"/>
                  </a:lnTo>
                  <a:cubicBezTo>
                    <a:pt x="3435" y="862"/>
                    <a:pt x="2710" y="43"/>
                    <a:pt x="1796" y="11"/>
                  </a:cubicBezTo>
                  <a:cubicBezTo>
                    <a:pt x="1745" y="4"/>
                    <a:pt x="1694" y="1"/>
                    <a:pt x="1641" y="1"/>
                  </a:cubicBezTo>
                  <a:close/>
                </a:path>
              </a:pathLst>
            </a:custGeom>
            <a:grpFill/>
            <a:ln>
              <a:noFill/>
            </a:ln>
          </p:spPr>
          <p:txBody>
            <a:bodyPr spcFirstLastPara="1" wrap="square" lIns="91417" tIns="91417" rIns="91417" bIns="91417" anchor="ctr" anchorCtr="0">
              <a:noAutofit/>
            </a:bodyPr>
            <a:lstStyle/>
            <a:p>
              <a:endParaRPr sz="1400"/>
            </a:p>
          </p:txBody>
        </p:sp>
        <p:sp>
          <p:nvSpPr>
            <p:cNvPr id="121" name="Google Shape;6788;p88"/>
            <p:cNvSpPr/>
            <p:nvPr/>
          </p:nvSpPr>
          <p:spPr>
            <a:xfrm>
              <a:off x="-33849475" y="3758125"/>
              <a:ext cx="137075" cy="33100"/>
            </a:xfrm>
            <a:custGeom>
              <a:rect l="l" t="t" r="r" b="b"/>
              <a:pathLst>
                <a:path w="5483" h="1324" extrusionOk="0">
                  <a:moveTo>
                    <a:pt x="1" y="1"/>
                  </a:moveTo>
                  <a:lnTo>
                    <a:pt x="1" y="662"/>
                  </a:lnTo>
                  <a:lnTo>
                    <a:pt x="1041" y="662"/>
                  </a:lnTo>
                  <a:cubicBezTo>
                    <a:pt x="1576" y="662"/>
                    <a:pt x="2080" y="946"/>
                    <a:pt x="2395" y="1324"/>
                  </a:cubicBezTo>
                  <a:lnTo>
                    <a:pt x="5136" y="1324"/>
                  </a:lnTo>
                  <a:cubicBezTo>
                    <a:pt x="5325" y="1324"/>
                    <a:pt x="5483" y="1166"/>
                    <a:pt x="5483" y="977"/>
                  </a:cubicBezTo>
                  <a:lnTo>
                    <a:pt x="5483" y="316"/>
                  </a:lnTo>
                  <a:cubicBezTo>
                    <a:pt x="5483" y="158"/>
                    <a:pt x="5325" y="1"/>
                    <a:pt x="5136" y="1"/>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133" name="Google Shape;6800;p88"/>
          <p:cNvGrpSpPr/>
          <p:nvPr/>
        </p:nvGrpSpPr>
        <p:grpSpPr>
          <a:xfrm>
            <a:off x="9993218" y="2304826"/>
            <a:ext cx="552039" cy="550573"/>
            <a:chOff x="-30345326" y="3184750"/>
            <a:chExt cx="292225" cy="291450"/>
          </a:xfrm>
          <a:solidFill>
            <a:srgbClr val="00677F"/>
          </a:solidFill>
        </p:grpSpPr>
        <p:sp>
          <p:nvSpPr>
            <p:cNvPr id="134" name="Google Shape;6801;p88"/>
            <p:cNvSpPr/>
            <p:nvPr/>
          </p:nvSpPr>
          <p:spPr>
            <a:xfrm>
              <a:off x="-30328000" y="3184750"/>
              <a:ext cx="258375" cy="120950"/>
            </a:xfrm>
            <a:custGeom>
              <a:rect l="l" t="t" r="r" b="b"/>
              <a:pathLst>
                <a:path w="10335" h="4838" extrusionOk="0">
                  <a:moveTo>
                    <a:pt x="1040" y="0"/>
                  </a:moveTo>
                  <a:cubicBezTo>
                    <a:pt x="473" y="0"/>
                    <a:pt x="1" y="473"/>
                    <a:pt x="1" y="1071"/>
                  </a:cubicBezTo>
                  <a:lnTo>
                    <a:pt x="1" y="2458"/>
                  </a:lnTo>
                  <a:cubicBezTo>
                    <a:pt x="1" y="2993"/>
                    <a:pt x="473" y="3466"/>
                    <a:pt x="1040" y="3466"/>
                  </a:cubicBezTo>
                  <a:lnTo>
                    <a:pt x="2048" y="3466"/>
                  </a:lnTo>
                  <a:lnTo>
                    <a:pt x="2048" y="4505"/>
                  </a:lnTo>
                  <a:cubicBezTo>
                    <a:pt x="2048" y="4663"/>
                    <a:pt x="2143" y="4757"/>
                    <a:pt x="2269" y="4820"/>
                  </a:cubicBezTo>
                  <a:cubicBezTo>
                    <a:pt x="2300" y="4831"/>
                    <a:pt x="2339" y="4838"/>
                    <a:pt x="2380" y="4838"/>
                  </a:cubicBezTo>
                  <a:cubicBezTo>
                    <a:pt x="2461" y="4838"/>
                    <a:pt x="2552" y="4810"/>
                    <a:pt x="2615" y="4726"/>
                  </a:cubicBezTo>
                  <a:lnTo>
                    <a:pt x="3876" y="3466"/>
                  </a:lnTo>
                  <a:lnTo>
                    <a:pt x="6365" y="3466"/>
                  </a:lnTo>
                  <a:lnTo>
                    <a:pt x="7625" y="4726"/>
                  </a:lnTo>
                  <a:cubicBezTo>
                    <a:pt x="7688" y="4810"/>
                    <a:pt x="7765" y="4838"/>
                    <a:pt x="7846" y="4838"/>
                  </a:cubicBezTo>
                  <a:cubicBezTo>
                    <a:pt x="7887" y="4838"/>
                    <a:pt x="7929" y="4831"/>
                    <a:pt x="7971" y="4820"/>
                  </a:cubicBezTo>
                  <a:cubicBezTo>
                    <a:pt x="8097" y="4789"/>
                    <a:pt x="8160" y="4631"/>
                    <a:pt x="8160" y="4505"/>
                  </a:cubicBezTo>
                  <a:lnTo>
                    <a:pt x="8160" y="3466"/>
                  </a:lnTo>
                  <a:lnTo>
                    <a:pt x="9231" y="3466"/>
                  </a:lnTo>
                  <a:cubicBezTo>
                    <a:pt x="9862" y="3466"/>
                    <a:pt x="10334" y="2993"/>
                    <a:pt x="10334" y="2458"/>
                  </a:cubicBezTo>
                  <a:lnTo>
                    <a:pt x="10334" y="1071"/>
                  </a:lnTo>
                  <a:cubicBezTo>
                    <a:pt x="10334" y="536"/>
                    <a:pt x="9862" y="0"/>
                    <a:pt x="9294" y="0"/>
                  </a:cubicBezTo>
                  <a:close/>
                </a:path>
              </a:pathLst>
            </a:custGeom>
            <a:grpFill/>
            <a:ln>
              <a:noFill/>
            </a:ln>
          </p:spPr>
          <p:txBody>
            <a:bodyPr spcFirstLastPara="1" wrap="square" lIns="91417" tIns="91417" rIns="91417" bIns="91417" anchor="ctr" anchorCtr="0">
              <a:noAutofit/>
            </a:bodyPr>
            <a:lstStyle/>
            <a:p>
              <a:endParaRPr sz="1400"/>
            </a:p>
          </p:txBody>
        </p:sp>
        <p:sp>
          <p:nvSpPr>
            <p:cNvPr id="135" name="Google Shape;6802;p88"/>
            <p:cNvSpPr/>
            <p:nvPr/>
          </p:nvSpPr>
          <p:spPr>
            <a:xfrm>
              <a:off x="-30310674" y="3322575"/>
              <a:ext cx="68550" cy="69350"/>
            </a:xfrm>
            <a:custGeom>
              <a:rect l="l" t="t" r="r" b="b"/>
              <a:pathLst>
                <a:path w="2742" h="2774" extrusionOk="0">
                  <a:moveTo>
                    <a:pt x="1387" y="1"/>
                  </a:moveTo>
                  <a:cubicBezTo>
                    <a:pt x="599" y="1"/>
                    <a:pt x="1" y="631"/>
                    <a:pt x="1" y="1387"/>
                  </a:cubicBezTo>
                  <a:cubicBezTo>
                    <a:pt x="1" y="2143"/>
                    <a:pt x="599" y="2773"/>
                    <a:pt x="1387" y="2773"/>
                  </a:cubicBezTo>
                  <a:cubicBezTo>
                    <a:pt x="2143" y="2773"/>
                    <a:pt x="2742" y="2143"/>
                    <a:pt x="2742" y="1387"/>
                  </a:cubicBezTo>
                  <a:cubicBezTo>
                    <a:pt x="2742" y="631"/>
                    <a:pt x="2143" y="1"/>
                    <a:pt x="1387" y="1"/>
                  </a:cubicBezTo>
                  <a:close/>
                </a:path>
              </a:pathLst>
            </a:custGeom>
            <a:grpFill/>
            <a:ln>
              <a:noFill/>
            </a:ln>
          </p:spPr>
          <p:txBody>
            <a:bodyPr spcFirstLastPara="1" wrap="square" lIns="91417" tIns="91417" rIns="91417" bIns="91417" anchor="ctr" anchorCtr="0">
              <a:noAutofit/>
            </a:bodyPr>
            <a:lstStyle/>
            <a:p>
              <a:endParaRPr sz="1400"/>
            </a:p>
          </p:txBody>
        </p:sp>
        <p:sp>
          <p:nvSpPr>
            <p:cNvPr id="136" name="Google Shape;6803;p88"/>
            <p:cNvSpPr/>
            <p:nvPr/>
          </p:nvSpPr>
          <p:spPr>
            <a:xfrm>
              <a:off x="-30345326" y="3408425"/>
              <a:ext cx="137075" cy="67775"/>
            </a:xfrm>
            <a:custGeom>
              <a:rect l="l" t="t" r="r" b="b"/>
              <a:pathLst>
                <a:path w="5483" h="2711" extrusionOk="0">
                  <a:moveTo>
                    <a:pt x="2741" y="1"/>
                  </a:moveTo>
                  <a:cubicBezTo>
                    <a:pt x="1387" y="1"/>
                    <a:pt x="221" y="1040"/>
                    <a:pt x="32" y="2332"/>
                  </a:cubicBezTo>
                  <a:cubicBezTo>
                    <a:pt x="0" y="2521"/>
                    <a:pt x="158" y="2710"/>
                    <a:pt x="378" y="2710"/>
                  </a:cubicBezTo>
                  <a:lnTo>
                    <a:pt x="5104" y="2710"/>
                  </a:lnTo>
                  <a:cubicBezTo>
                    <a:pt x="5325" y="2710"/>
                    <a:pt x="5482" y="2521"/>
                    <a:pt x="5482" y="2332"/>
                  </a:cubicBezTo>
                  <a:cubicBezTo>
                    <a:pt x="5262" y="977"/>
                    <a:pt x="4128" y="1"/>
                    <a:pt x="2741" y="1"/>
                  </a:cubicBezTo>
                  <a:close/>
                </a:path>
              </a:pathLst>
            </a:custGeom>
            <a:grpFill/>
            <a:ln>
              <a:noFill/>
            </a:ln>
          </p:spPr>
          <p:txBody>
            <a:bodyPr spcFirstLastPara="1" wrap="square" lIns="91417" tIns="91417" rIns="91417" bIns="91417" anchor="ctr" anchorCtr="0">
              <a:noAutofit/>
            </a:bodyPr>
            <a:lstStyle/>
            <a:p>
              <a:endParaRPr sz="1400"/>
            </a:p>
          </p:txBody>
        </p:sp>
        <p:sp>
          <p:nvSpPr>
            <p:cNvPr id="137" name="Google Shape;6804;p88"/>
            <p:cNvSpPr/>
            <p:nvPr/>
          </p:nvSpPr>
          <p:spPr>
            <a:xfrm>
              <a:off x="-30156299" y="3322575"/>
              <a:ext cx="68550" cy="69350"/>
            </a:xfrm>
            <a:custGeom>
              <a:rect l="l" t="t" r="r" b="b"/>
              <a:pathLst>
                <a:path w="2742" h="2774" extrusionOk="0">
                  <a:moveTo>
                    <a:pt x="1387" y="1"/>
                  </a:moveTo>
                  <a:cubicBezTo>
                    <a:pt x="631" y="1"/>
                    <a:pt x="1" y="631"/>
                    <a:pt x="1" y="1387"/>
                  </a:cubicBezTo>
                  <a:cubicBezTo>
                    <a:pt x="1" y="2143"/>
                    <a:pt x="631" y="2773"/>
                    <a:pt x="1387" y="2773"/>
                  </a:cubicBezTo>
                  <a:cubicBezTo>
                    <a:pt x="2111" y="2773"/>
                    <a:pt x="2742" y="2143"/>
                    <a:pt x="2742" y="1387"/>
                  </a:cubicBezTo>
                  <a:cubicBezTo>
                    <a:pt x="2742" y="631"/>
                    <a:pt x="2111" y="1"/>
                    <a:pt x="1387" y="1"/>
                  </a:cubicBezTo>
                  <a:close/>
                </a:path>
              </a:pathLst>
            </a:custGeom>
            <a:grpFill/>
            <a:ln>
              <a:noFill/>
            </a:ln>
          </p:spPr>
          <p:txBody>
            <a:bodyPr spcFirstLastPara="1" wrap="square" lIns="91417" tIns="91417" rIns="91417" bIns="91417" anchor="ctr" anchorCtr="0">
              <a:noAutofit/>
            </a:bodyPr>
            <a:lstStyle/>
            <a:p>
              <a:endParaRPr sz="1400"/>
            </a:p>
          </p:txBody>
        </p:sp>
        <p:sp>
          <p:nvSpPr>
            <p:cNvPr id="138" name="Google Shape;6805;p88"/>
            <p:cNvSpPr/>
            <p:nvPr/>
          </p:nvSpPr>
          <p:spPr>
            <a:xfrm>
              <a:off x="-30190951" y="3408425"/>
              <a:ext cx="137850" cy="67775"/>
            </a:xfrm>
            <a:custGeom>
              <a:rect l="l" t="t" r="r" b="b"/>
              <a:pathLst>
                <a:path w="5514" h="2711" extrusionOk="0">
                  <a:moveTo>
                    <a:pt x="2773" y="1"/>
                  </a:moveTo>
                  <a:cubicBezTo>
                    <a:pt x="1387" y="1"/>
                    <a:pt x="252" y="1040"/>
                    <a:pt x="32" y="2332"/>
                  </a:cubicBezTo>
                  <a:cubicBezTo>
                    <a:pt x="0" y="2521"/>
                    <a:pt x="158" y="2710"/>
                    <a:pt x="410" y="2710"/>
                  </a:cubicBezTo>
                  <a:lnTo>
                    <a:pt x="5167" y="2710"/>
                  </a:lnTo>
                  <a:cubicBezTo>
                    <a:pt x="5356" y="2710"/>
                    <a:pt x="5514" y="2521"/>
                    <a:pt x="5514" y="2332"/>
                  </a:cubicBezTo>
                  <a:cubicBezTo>
                    <a:pt x="5293" y="977"/>
                    <a:pt x="4128" y="1"/>
                    <a:pt x="2773" y="1"/>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199" name="Google Shape;6866;p88"/>
          <p:cNvGrpSpPr/>
          <p:nvPr/>
        </p:nvGrpSpPr>
        <p:grpSpPr>
          <a:xfrm>
            <a:off x="5913597" y="4643928"/>
            <a:ext cx="508811" cy="563018"/>
            <a:chOff x="-30354001" y="3569100"/>
            <a:chExt cx="292250" cy="292225"/>
          </a:xfrm>
          <a:solidFill>
            <a:srgbClr val="00677F"/>
          </a:solidFill>
        </p:grpSpPr>
        <p:sp>
          <p:nvSpPr>
            <p:cNvPr id="200" name="Google Shape;6867;p88"/>
            <p:cNvSpPr/>
            <p:nvPr/>
          </p:nvSpPr>
          <p:spPr>
            <a:xfrm>
              <a:off x="-30354001" y="3604550"/>
              <a:ext cx="137875" cy="256000"/>
            </a:xfrm>
            <a:custGeom>
              <a:rect l="l" t="t" r="r" b="b"/>
              <a:pathLst>
                <a:path w="5515" h="10240" extrusionOk="0">
                  <a:moveTo>
                    <a:pt x="662" y="0"/>
                  </a:moveTo>
                  <a:cubicBezTo>
                    <a:pt x="284" y="0"/>
                    <a:pt x="1" y="315"/>
                    <a:pt x="1" y="662"/>
                  </a:cubicBezTo>
                  <a:lnTo>
                    <a:pt x="1" y="4411"/>
                  </a:lnTo>
                  <a:cubicBezTo>
                    <a:pt x="1" y="4632"/>
                    <a:pt x="64" y="4884"/>
                    <a:pt x="190" y="5073"/>
                  </a:cubicBezTo>
                  <a:lnTo>
                    <a:pt x="1639" y="7467"/>
                  </a:lnTo>
                  <a:cubicBezTo>
                    <a:pt x="1891" y="7877"/>
                    <a:pt x="2049" y="8097"/>
                    <a:pt x="2049" y="8538"/>
                  </a:cubicBezTo>
                  <a:lnTo>
                    <a:pt x="2049" y="9861"/>
                  </a:lnTo>
                  <a:cubicBezTo>
                    <a:pt x="2049" y="10082"/>
                    <a:pt x="2206" y="10239"/>
                    <a:pt x="2395" y="10239"/>
                  </a:cubicBezTo>
                  <a:lnTo>
                    <a:pt x="5514" y="10239"/>
                  </a:lnTo>
                  <a:lnTo>
                    <a:pt x="5514" y="6364"/>
                  </a:lnTo>
                  <a:cubicBezTo>
                    <a:pt x="5514" y="5986"/>
                    <a:pt x="5357" y="5671"/>
                    <a:pt x="5168" y="5419"/>
                  </a:cubicBezTo>
                  <a:cubicBezTo>
                    <a:pt x="5167" y="5420"/>
                    <a:pt x="5165" y="5421"/>
                    <a:pt x="5163" y="5421"/>
                  </a:cubicBezTo>
                  <a:cubicBezTo>
                    <a:pt x="5042" y="5421"/>
                    <a:pt x="3214" y="3623"/>
                    <a:pt x="3183" y="3592"/>
                  </a:cubicBezTo>
                  <a:cubicBezTo>
                    <a:pt x="3041" y="3432"/>
                    <a:pt x="2828" y="3332"/>
                    <a:pt x="2613" y="3332"/>
                  </a:cubicBezTo>
                  <a:cubicBezTo>
                    <a:pt x="2448" y="3332"/>
                    <a:pt x="2280" y="3392"/>
                    <a:pt x="2143" y="3529"/>
                  </a:cubicBezTo>
                  <a:cubicBezTo>
                    <a:pt x="1891" y="3812"/>
                    <a:pt x="1923" y="4285"/>
                    <a:pt x="2112" y="4442"/>
                  </a:cubicBezTo>
                  <a:lnTo>
                    <a:pt x="3970" y="6301"/>
                  </a:lnTo>
                  <a:cubicBezTo>
                    <a:pt x="4097" y="6427"/>
                    <a:pt x="4097" y="6648"/>
                    <a:pt x="3970" y="6774"/>
                  </a:cubicBezTo>
                  <a:cubicBezTo>
                    <a:pt x="3907" y="6821"/>
                    <a:pt x="3821" y="6845"/>
                    <a:pt x="3734" y="6845"/>
                  </a:cubicBezTo>
                  <a:cubicBezTo>
                    <a:pt x="3648" y="6845"/>
                    <a:pt x="3561" y="6821"/>
                    <a:pt x="3498" y="6774"/>
                  </a:cubicBezTo>
                  <a:lnTo>
                    <a:pt x="1639" y="4915"/>
                  </a:lnTo>
                  <a:cubicBezTo>
                    <a:pt x="1450" y="4726"/>
                    <a:pt x="1324" y="4442"/>
                    <a:pt x="1324" y="4190"/>
                  </a:cubicBezTo>
                  <a:lnTo>
                    <a:pt x="1324" y="662"/>
                  </a:lnTo>
                  <a:cubicBezTo>
                    <a:pt x="1324" y="252"/>
                    <a:pt x="1009" y="0"/>
                    <a:pt x="662" y="0"/>
                  </a:cubicBezTo>
                  <a:close/>
                </a:path>
              </a:pathLst>
            </a:custGeom>
            <a:grpFill/>
            <a:ln>
              <a:noFill/>
            </a:ln>
          </p:spPr>
          <p:txBody>
            <a:bodyPr spcFirstLastPara="1" wrap="square" lIns="91417" tIns="91417" rIns="91417" bIns="91417" anchor="ctr" anchorCtr="0">
              <a:noAutofit/>
            </a:bodyPr>
            <a:lstStyle/>
            <a:p>
              <a:endParaRPr sz="1400"/>
            </a:p>
          </p:txBody>
        </p:sp>
        <p:sp>
          <p:nvSpPr>
            <p:cNvPr id="201" name="Google Shape;6868;p88"/>
            <p:cNvSpPr/>
            <p:nvPr/>
          </p:nvSpPr>
          <p:spPr>
            <a:xfrm>
              <a:off x="-30198826" y="3604550"/>
              <a:ext cx="137075" cy="256775"/>
            </a:xfrm>
            <a:custGeom>
              <a:rect l="l" t="t" r="r" b="b"/>
              <a:pathLst>
                <a:path w="5483" h="10271" extrusionOk="0">
                  <a:moveTo>
                    <a:pt x="4758" y="0"/>
                  </a:moveTo>
                  <a:cubicBezTo>
                    <a:pt x="4380" y="0"/>
                    <a:pt x="4096" y="315"/>
                    <a:pt x="4096" y="662"/>
                  </a:cubicBezTo>
                  <a:lnTo>
                    <a:pt x="4096" y="4190"/>
                  </a:lnTo>
                  <a:cubicBezTo>
                    <a:pt x="4096" y="4474"/>
                    <a:pt x="3970" y="4758"/>
                    <a:pt x="3781" y="4915"/>
                  </a:cubicBezTo>
                  <a:lnTo>
                    <a:pt x="1922" y="6774"/>
                  </a:lnTo>
                  <a:cubicBezTo>
                    <a:pt x="1875" y="6821"/>
                    <a:pt x="1788" y="6845"/>
                    <a:pt x="1698" y="6845"/>
                  </a:cubicBezTo>
                  <a:cubicBezTo>
                    <a:pt x="1607" y="6845"/>
                    <a:pt x="1513" y="6821"/>
                    <a:pt x="1450" y="6774"/>
                  </a:cubicBezTo>
                  <a:cubicBezTo>
                    <a:pt x="1355" y="6648"/>
                    <a:pt x="1355" y="6427"/>
                    <a:pt x="1450" y="6301"/>
                  </a:cubicBezTo>
                  <a:lnTo>
                    <a:pt x="3308" y="4442"/>
                  </a:lnTo>
                  <a:cubicBezTo>
                    <a:pt x="3497" y="4285"/>
                    <a:pt x="3560" y="3812"/>
                    <a:pt x="3277" y="3529"/>
                  </a:cubicBezTo>
                  <a:cubicBezTo>
                    <a:pt x="3140" y="3392"/>
                    <a:pt x="2972" y="3332"/>
                    <a:pt x="2807" y="3332"/>
                  </a:cubicBezTo>
                  <a:cubicBezTo>
                    <a:pt x="2592" y="3332"/>
                    <a:pt x="2379" y="3432"/>
                    <a:pt x="2237" y="3592"/>
                  </a:cubicBezTo>
                  <a:cubicBezTo>
                    <a:pt x="2237" y="3592"/>
                    <a:pt x="347" y="5419"/>
                    <a:pt x="347" y="5482"/>
                  </a:cubicBezTo>
                  <a:cubicBezTo>
                    <a:pt x="158" y="5671"/>
                    <a:pt x="0" y="6018"/>
                    <a:pt x="0" y="6427"/>
                  </a:cubicBezTo>
                  <a:lnTo>
                    <a:pt x="0" y="8129"/>
                  </a:lnTo>
                  <a:lnTo>
                    <a:pt x="0" y="8412"/>
                  </a:lnTo>
                  <a:lnTo>
                    <a:pt x="0" y="10271"/>
                  </a:lnTo>
                  <a:lnTo>
                    <a:pt x="3088" y="10271"/>
                  </a:lnTo>
                  <a:cubicBezTo>
                    <a:pt x="3277" y="10271"/>
                    <a:pt x="3434" y="10113"/>
                    <a:pt x="3434" y="9924"/>
                  </a:cubicBezTo>
                  <a:lnTo>
                    <a:pt x="3434" y="8570"/>
                  </a:lnTo>
                  <a:cubicBezTo>
                    <a:pt x="3434" y="8129"/>
                    <a:pt x="3623" y="7908"/>
                    <a:pt x="3812" y="7530"/>
                  </a:cubicBezTo>
                  <a:lnTo>
                    <a:pt x="5293" y="5104"/>
                  </a:lnTo>
                  <a:cubicBezTo>
                    <a:pt x="5388" y="4915"/>
                    <a:pt x="5482" y="4663"/>
                    <a:pt x="5482" y="4411"/>
                  </a:cubicBezTo>
                  <a:lnTo>
                    <a:pt x="5482" y="662"/>
                  </a:lnTo>
                  <a:cubicBezTo>
                    <a:pt x="5451" y="284"/>
                    <a:pt x="5136" y="0"/>
                    <a:pt x="4758" y="0"/>
                  </a:cubicBezTo>
                  <a:close/>
                </a:path>
              </a:pathLst>
            </a:custGeom>
            <a:grpFill/>
            <a:ln>
              <a:noFill/>
            </a:ln>
          </p:spPr>
          <p:txBody>
            <a:bodyPr spcFirstLastPara="1" wrap="square" lIns="91417" tIns="91417" rIns="91417" bIns="91417" anchor="ctr" anchorCtr="0">
              <a:noAutofit/>
            </a:bodyPr>
            <a:lstStyle/>
            <a:p>
              <a:endParaRPr sz="1400"/>
            </a:p>
          </p:txBody>
        </p:sp>
        <p:sp>
          <p:nvSpPr>
            <p:cNvPr id="202" name="Google Shape;6869;p88"/>
            <p:cNvSpPr/>
            <p:nvPr/>
          </p:nvSpPr>
          <p:spPr>
            <a:xfrm>
              <a:off x="-30139751" y="3636850"/>
              <a:ext cx="26000" cy="37825"/>
            </a:xfrm>
            <a:custGeom>
              <a:rect l="l" t="t" r="r" b="b"/>
              <a:pathLst>
                <a:path w="1040" h="1513" extrusionOk="0">
                  <a:moveTo>
                    <a:pt x="504" y="0"/>
                  </a:moveTo>
                  <a:cubicBezTo>
                    <a:pt x="252" y="32"/>
                    <a:pt x="0" y="284"/>
                    <a:pt x="0" y="567"/>
                  </a:cubicBezTo>
                  <a:lnTo>
                    <a:pt x="0" y="1418"/>
                  </a:lnTo>
                  <a:cubicBezTo>
                    <a:pt x="126" y="1386"/>
                    <a:pt x="252" y="1355"/>
                    <a:pt x="410" y="1355"/>
                  </a:cubicBezTo>
                  <a:cubicBezTo>
                    <a:pt x="630" y="1355"/>
                    <a:pt x="819" y="1386"/>
                    <a:pt x="1040" y="1512"/>
                  </a:cubicBezTo>
                  <a:lnTo>
                    <a:pt x="1040" y="504"/>
                  </a:lnTo>
                  <a:cubicBezTo>
                    <a:pt x="1040" y="252"/>
                    <a:pt x="788" y="0"/>
                    <a:pt x="504" y="0"/>
                  </a:cubicBezTo>
                  <a:close/>
                </a:path>
              </a:pathLst>
            </a:custGeom>
            <a:grpFill/>
            <a:ln>
              <a:noFill/>
            </a:ln>
          </p:spPr>
          <p:txBody>
            <a:bodyPr spcFirstLastPara="1" wrap="square" lIns="91417" tIns="91417" rIns="91417" bIns="91417" anchor="ctr" anchorCtr="0">
              <a:noAutofit/>
            </a:bodyPr>
            <a:lstStyle/>
            <a:p>
              <a:endParaRPr sz="1400"/>
            </a:p>
          </p:txBody>
        </p:sp>
        <p:sp>
          <p:nvSpPr>
            <p:cNvPr id="203" name="Google Shape;6870;p88"/>
            <p:cNvSpPr/>
            <p:nvPr/>
          </p:nvSpPr>
          <p:spPr>
            <a:xfrm>
              <a:off x="-30302802" y="3638950"/>
              <a:ext cx="25225" cy="36500"/>
            </a:xfrm>
            <a:custGeom>
              <a:rect l="l" t="t" r="r" b="b"/>
              <a:pathLst>
                <a:path w="1009" h="1460" extrusionOk="0">
                  <a:moveTo>
                    <a:pt x="418" y="1"/>
                  </a:moveTo>
                  <a:cubicBezTo>
                    <a:pt x="177" y="1"/>
                    <a:pt x="1" y="229"/>
                    <a:pt x="1" y="483"/>
                  </a:cubicBezTo>
                  <a:lnTo>
                    <a:pt x="1" y="1460"/>
                  </a:lnTo>
                  <a:cubicBezTo>
                    <a:pt x="190" y="1334"/>
                    <a:pt x="379" y="1302"/>
                    <a:pt x="631" y="1302"/>
                  </a:cubicBezTo>
                  <a:cubicBezTo>
                    <a:pt x="725" y="1302"/>
                    <a:pt x="883" y="1334"/>
                    <a:pt x="1009" y="1365"/>
                  </a:cubicBezTo>
                  <a:lnTo>
                    <a:pt x="1009" y="515"/>
                  </a:lnTo>
                  <a:cubicBezTo>
                    <a:pt x="1009" y="231"/>
                    <a:pt x="788" y="11"/>
                    <a:pt x="505" y="11"/>
                  </a:cubicBezTo>
                  <a:cubicBezTo>
                    <a:pt x="475" y="4"/>
                    <a:pt x="446" y="1"/>
                    <a:pt x="418" y="1"/>
                  </a:cubicBezTo>
                  <a:close/>
                </a:path>
              </a:pathLst>
            </a:custGeom>
            <a:grpFill/>
            <a:ln>
              <a:noFill/>
            </a:ln>
          </p:spPr>
          <p:txBody>
            <a:bodyPr spcFirstLastPara="1" wrap="square" lIns="91417" tIns="91417" rIns="91417" bIns="91417" anchor="ctr" anchorCtr="0">
              <a:noAutofit/>
            </a:bodyPr>
            <a:lstStyle/>
            <a:p>
              <a:endParaRPr sz="1400"/>
            </a:p>
          </p:txBody>
        </p:sp>
        <p:sp>
          <p:nvSpPr>
            <p:cNvPr id="204" name="Google Shape;6871;p88"/>
            <p:cNvSpPr/>
            <p:nvPr/>
          </p:nvSpPr>
          <p:spPr>
            <a:xfrm>
              <a:off x="-30242926" y="3569100"/>
              <a:ext cx="68525" cy="68550"/>
            </a:xfrm>
            <a:custGeom>
              <a:rect l="l" t="t" r="r" b="b"/>
              <a:pathLst>
                <a:path w="2741" h="2742" extrusionOk="0">
                  <a:moveTo>
                    <a:pt x="1386" y="1"/>
                  </a:moveTo>
                  <a:cubicBezTo>
                    <a:pt x="630" y="1"/>
                    <a:pt x="0" y="631"/>
                    <a:pt x="0" y="1387"/>
                  </a:cubicBezTo>
                  <a:cubicBezTo>
                    <a:pt x="0" y="2174"/>
                    <a:pt x="630" y="2742"/>
                    <a:pt x="1386" y="2742"/>
                  </a:cubicBezTo>
                  <a:cubicBezTo>
                    <a:pt x="2111" y="2742"/>
                    <a:pt x="2741" y="2111"/>
                    <a:pt x="2741" y="1387"/>
                  </a:cubicBezTo>
                  <a:cubicBezTo>
                    <a:pt x="2741" y="631"/>
                    <a:pt x="2111" y="1"/>
                    <a:pt x="1386" y="1"/>
                  </a:cubicBezTo>
                  <a:close/>
                </a:path>
              </a:pathLst>
            </a:custGeom>
            <a:grpFill/>
            <a:ln>
              <a:noFill/>
            </a:ln>
          </p:spPr>
          <p:txBody>
            <a:bodyPr spcFirstLastPara="1" wrap="square" lIns="91417" tIns="91417" rIns="91417" bIns="91417" anchor="ctr" anchorCtr="0">
              <a:noAutofit/>
            </a:bodyPr>
            <a:lstStyle/>
            <a:p>
              <a:endParaRPr sz="1400"/>
            </a:p>
          </p:txBody>
        </p:sp>
        <p:sp>
          <p:nvSpPr>
            <p:cNvPr id="205" name="Google Shape;6872;p88"/>
            <p:cNvSpPr/>
            <p:nvPr/>
          </p:nvSpPr>
          <p:spPr>
            <a:xfrm>
              <a:off x="-30262624" y="3654950"/>
              <a:ext cx="107925" cy="68550"/>
            </a:xfrm>
            <a:custGeom>
              <a:rect l="l" t="t" r="r" b="b"/>
              <a:pathLst>
                <a:path w="4317" h="2742" extrusionOk="0">
                  <a:moveTo>
                    <a:pt x="2174" y="1"/>
                  </a:moveTo>
                  <a:cubicBezTo>
                    <a:pt x="1292" y="1"/>
                    <a:pt x="505" y="379"/>
                    <a:pt x="0" y="1040"/>
                  </a:cubicBezTo>
                  <a:lnTo>
                    <a:pt x="32" y="1103"/>
                  </a:lnTo>
                  <a:cubicBezTo>
                    <a:pt x="946" y="1985"/>
                    <a:pt x="1450" y="2458"/>
                    <a:pt x="1702" y="2742"/>
                  </a:cubicBezTo>
                  <a:lnTo>
                    <a:pt x="2647" y="2742"/>
                  </a:lnTo>
                  <a:lnTo>
                    <a:pt x="4254" y="1135"/>
                  </a:lnTo>
                  <a:lnTo>
                    <a:pt x="4317" y="1040"/>
                  </a:lnTo>
                  <a:cubicBezTo>
                    <a:pt x="3813" y="410"/>
                    <a:pt x="3025" y="1"/>
                    <a:pt x="2174" y="1"/>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290" name="Google Shape;6957;p88"/>
          <p:cNvGrpSpPr/>
          <p:nvPr/>
        </p:nvGrpSpPr>
        <p:grpSpPr>
          <a:xfrm>
            <a:off x="4974693" y="1314925"/>
            <a:ext cx="498045" cy="497064"/>
            <a:chOff x="-31094350" y="3194000"/>
            <a:chExt cx="292225" cy="291650"/>
          </a:xfrm>
          <a:solidFill>
            <a:srgbClr val="00677F"/>
          </a:solidFill>
        </p:grpSpPr>
        <p:sp>
          <p:nvSpPr>
            <p:cNvPr id="291" name="Google Shape;6958;p88"/>
            <p:cNvSpPr/>
            <p:nvPr/>
          </p:nvSpPr>
          <p:spPr>
            <a:xfrm>
              <a:off x="-31033700" y="3194000"/>
              <a:ext cx="103200" cy="34100"/>
            </a:xfrm>
            <a:custGeom>
              <a:rect l="l" t="t" r="r" b="b"/>
              <a:pathLst>
                <a:path w="4128" h="1364" extrusionOk="0">
                  <a:moveTo>
                    <a:pt x="645" y="0"/>
                  </a:moveTo>
                  <a:cubicBezTo>
                    <a:pt x="263" y="0"/>
                    <a:pt x="0" y="296"/>
                    <a:pt x="0" y="670"/>
                  </a:cubicBezTo>
                  <a:lnTo>
                    <a:pt x="0" y="1016"/>
                  </a:lnTo>
                  <a:cubicBezTo>
                    <a:pt x="0" y="1205"/>
                    <a:pt x="158" y="1363"/>
                    <a:pt x="347" y="1363"/>
                  </a:cubicBezTo>
                  <a:lnTo>
                    <a:pt x="3781" y="1363"/>
                  </a:lnTo>
                  <a:cubicBezTo>
                    <a:pt x="3970" y="1363"/>
                    <a:pt x="4127" y="1205"/>
                    <a:pt x="4127" y="1016"/>
                  </a:cubicBezTo>
                  <a:lnTo>
                    <a:pt x="4127" y="670"/>
                  </a:lnTo>
                  <a:cubicBezTo>
                    <a:pt x="4127" y="260"/>
                    <a:pt x="3812" y="8"/>
                    <a:pt x="3466" y="8"/>
                  </a:cubicBezTo>
                  <a:lnTo>
                    <a:pt x="756" y="8"/>
                  </a:lnTo>
                  <a:cubicBezTo>
                    <a:pt x="718" y="3"/>
                    <a:pt x="681" y="0"/>
                    <a:pt x="645" y="0"/>
                  </a:cubicBezTo>
                  <a:close/>
                </a:path>
              </a:pathLst>
            </a:custGeom>
            <a:grpFill/>
            <a:ln>
              <a:noFill/>
            </a:ln>
          </p:spPr>
          <p:txBody>
            <a:bodyPr spcFirstLastPara="1" wrap="square" lIns="91417" tIns="91417" rIns="91417" bIns="91417" anchor="ctr" anchorCtr="0">
              <a:noAutofit/>
            </a:bodyPr>
            <a:lstStyle/>
            <a:p>
              <a:endParaRPr sz="1400"/>
            </a:p>
          </p:txBody>
        </p:sp>
        <p:sp>
          <p:nvSpPr>
            <p:cNvPr id="292" name="Google Shape;6959;p88"/>
            <p:cNvSpPr/>
            <p:nvPr/>
          </p:nvSpPr>
          <p:spPr>
            <a:xfrm>
              <a:off x="-31042375" y="3346200"/>
              <a:ext cx="16550" cy="18150"/>
            </a:xfrm>
            <a:custGeom>
              <a:rect l="l" t="t" r="r" b="b"/>
              <a:pathLst>
                <a:path w="662" h="726" extrusionOk="0">
                  <a:moveTo>
                    <a:pt x="1" y="1"/>
                  </a:moveTo>
                  <a:lnTo>
                    <a:pt x="1" y="725"/>
                  </a:lnTo>
                  <a:lnTo>
                    <a:pt x="662" y="725"/>
                  </a:lnTo>
                  <a:lnTo>
                    <a:pt x="662" y="1"/>
                  </a:lnTo>
                  <a:close/>
                </a:path>
              </a:pathLst>
            </a:custGeom>
            <a:grpFill/>
            <a:ln>
              <a:noFill/>
            </a:ln>
          </p:spPr>
          <p:txBody>
            <a:bodyPr spcFirstLastPara="1" wrap="square" lIns="91417" tIns="91417" rIns="91417" bIns="91417" anchor="ctr" anchorCtr="0">
              <a:noAutofit/>
            </a:bodyPr>
            <a:lstStyle/>
            <a:p>
              <a:endParaRPr sz="1400"/>
            </a:p>
          </p:txBody>
        </p:sp>
        <p:sp>
          <p:nvSpPr>
            <p:cNvPr id="293" name="Google Shape;6960;p88"/>
            <p:cNvSpPr/>
            <p:nvPr/>
          </p:nvSpPr>
          <p:spPr>
            <a:xfrm>
              <a:off x="-31042375" y="3278475"/>
              <a:ext cx="16550" cy="16550"/>
            </a:xfrm>
            <a:custGeom>
              <a:rect l="l" t="t" r="r" b="b"/>
              <a:pathLst>
                <a:path w="662" h="662" extrusionOk="0">
                  <a:moveTo>
                    <a:pt x="1" y="0"/>
                  </a:moveTo>
                  <a:lnTo>
                    <a:pt x="1" y="662"/>
                  </a:lnTo>
                  <a:lnTo>
                    <a:pt x="662" y="662"/>
                  </a:lnTo>
                  <a:lnTo>
                    <a:pt x="662" y="0"/>
                  </a:lnTo>
                  <a:close/>
                </a:path>
              </a:pathLst>
            </a:custGeom>
            <a:grpFill/>
            <a:ln>
              <a:noFill/>
            </a:ln>
          </p:spPr>
          <p:txBody>
            <a:bodyPr spcFirstLastPara="1" wrap="square" lIns="91417" tIns="91417" rIns="91417" bIns="91417" anchor="ctr" anchorCtr="0">
              <a:noAutofit/>
            </a:bodyPr>
            <a:lstStyle/>
            <a:p>
              <a:endParaRPr sz="1400"/>
            </a:p>
          </p:txBody>
        </p:sp>
        <p:sp>
          <p:nvSpPr>
            <p:cNvPr id="294" name="Google Shape;6961;p88"/>
            <p:cNvSpPr/>
            <p:nvPr/>
          </p:nvSpPr>
          <p:spPr>
            <a:xfrm>
              <a:off x="-31042375" y="3416300"/>
              <a:ext cx="16550" cy="16575"/>
            </a:xfrm>
            <a:custGeom>
              <a:rect l="l" t="t" r="r" b="b"/>
              <a:pathLst>
                <a:path w="662" h="663" extrusionOk="0">
                  <a:moveTo>
                    <a:pt x="1" y="1"/>
                  </a:moveTo>
                  <a:lnTo>
                    <a:pt x="1" y="662"/>
                  </a:lnTo>
                  <a:lnTo>
                    <a:pt x="662" y="662"/>
                  </a:lnTo>
                  <a:lnTo>
                    <a:pt x="662" y="1"/>
                  </a:lnTo>
                  <a:close/>
                </a:path>
              </a:pathLst>
            </a:custGeom>
            <a:grpFill/>
            <a:ln>
              <a:noFill/>
            </a:ln>
          </p:spPr>
          <p:txBody>
            <a:bodyPr spcFirstLastPara="1" wrap="square" lIns="91417" tIns="91417" rIns="91417" bIns="91417" anchor="ctr" anchorCtr="0">
              <a:noAutofit/>
            </a:bodyPr>
            <a:lstStyle/>
            <a:p>
              <a:endParaRPr sz="1400"/>
            </a:p>
          </p:txBody>
        </p:sp>
        <p:sp>
          <p:nvSpPr>
            <p:cNvPr id="295" name="Google Shape;6962;p88"/>
            <p:cNvSpPr/>
            <p:nvPr/>
          </p:nvSpPr>
          <p:spPr>
            <a:xfrm>
              <a:off x="-31094350" y="3210725"/>
              <a:ext cx="222900" cy="274925"/>
            </a:xfrm>
            <a:custGeom>
              <a:rect l="l" t="t" r="r" b="b"/>
              <a:pathLst>
                <a:path w="8916" h="10997" extrusionOk="0">
                  <a:moveTo>
                    <a:pt x="7183" y="2049"/>
                  </a:moveTo>
                  <a:cubicBezTo>
                    <a:pt x="7404" y="2049"/>
                    <a:pt x="7561" y="2206"/>
                    <a:pt x="7561" y="2395"/>
                  </a:cubicBezTo>
                  <a:cubicBezTo>
                    <a:pt x="7561" y="2584"/>
                    <a:pt x="7404" y="2742"/>
                    <a:pt x="7183" y="2742"/>
                  </a:cubicBezTo>
                  <a:lnTo>
                    <a:pt x="4474" y="2742"/>
                  </a:lnTo>
                  <a:cubicBezTo>
                    <a:pt x="4285" y="2742"/>
                    <a:pt x="4127" y="2584"/>
                    <a:pt x="4127" y="2395"/>
                  </a:cubicBezTo>
                  <a:cubicBezTo>
                    <a:pt x="4127" y="2206"/>
                    <a:pt x="4285" y="2049"/>
                    <a:pt x="4474" y="2049"/>
                  </a:cubicBezTo>
                  <a:close/>
                  <a:moveTo>
                    <a:pt x="3151" y="2017"/>
                  </a:moveTo>
                  <a:cubicBezTo>
                    <a:pt x="3340" y="2017"/>
                    <a:pt x="3497" y="2175"/>
                    <a:pt x="3497" y="2364"/>
                  </a:cubicBezTo>
                  <a:lnTo>
                    <a:pt x="3497" y="3750"/>
                  </a:lnTo>
                  <a:cubicBezTo>
                    <a:pt x="3497" y="3939"/>
                    <a:pt x="3340" y="4097"/>
                    <a:pt x="3151" y="4097"/>
                  </a:cubicBezTo>
                  <a:lnTo>
                    <a:pt x="1764" y="4097"/>
                  </a:lnTo>
                  <a:cubicBezTo>
                    <a:pt x="1575" y="4097"/>
                    <a:pt x="1418" y="3939"/>
                    <a:pt x="1418" y="3750"/>
                  </a:cubicBezTo>
                  <a:lnTo>
                    <a:pt x="1418" y="2364"/>
                  </a:lnTo>
                  <a:cubicBezTo>
                    <a:pt x="1418" y="2175"/>
                    <a:pt x="1575" y="2017"/>
                    <a:pt x="1764" y="2017"/>
                  </a:cubicBezTo>
                  <a:close/>
                  <a:moveTo>
                    <a:pt x="5860" y="3372"/>
                  </a:moveTo>
                  <a:cubicBezTo>
                    <a:pt x="6049" y="3372"/>
                    <a:pt x="6207" y="3529"/>
                    <a:pt x="6207" y="3750"/>
                  </a:cubicBezTo>
                  <a:cubicBezTo>
                    <a:pt x="6207" y="3939"/>
                    <a:pt x="6049" y="4097"/>
                    <a:pt x="5860" y="4097"/>
                  </a:cubicBezTo>
                  <a:lnTo>
                    <a:pt x="4474" y="4097"/>
                  </a:lnTo>
                  <a:cubicBezTo>
                    <a:pt x="4285" y="4097"/>
                    <a:pt x="4127" y="3939"/>
                    <a:pt x="4127" y="3750"/>
                  </a:cubicBezTo>
                  <a:cubicBezTo>
                    <a:pt x="4127" y="3529"/>
                    <a:pt x="4285" y="3372"/>
                    <a:pt x="4474" y="3372"/>
                  </a:cubicBezTo>
                  <a:close/>
                  <a:moveTo>
                    <a:pt x="7183" y="4758"/>
                  </a:moveTo>
                  <a:cubicBezTo>
                    <a:pt x="7404" y="4758"/>
                    <a:pt x="7561" y="4916"/>
                    <a:pt x="7561" y="5105"/>
                  </a:cubicBezTo>
                  <a:cubicBezTo>
                    <a:pt x="7561" y="5325"/>
                    <a:pt x="7404" y="5483"/>
                    <a:pt x="7183" y="5483"/>
                  </a:cubicBezTo>
                  <a:lnTo>
                    <a:pt x="4474" y="5483"/>
                  </a:lnTo>
                  <a:cubicBezTo>
                    <a:pt x="4285" y="5483"/>
                    <a:pt x="4127" y="5325"/>
                    <a:pt x="4127" y="5105"/>
                  </a:cubicBezTo>
                  <a:cubicBezTo>
                    <a:pt x="4127" y="4916"/>
                    <a:pt x="4285" y="4758"/>
                    <a:pt x="4474" y="4758"/>
                  </a:cubicBezTo>
                  <a:close/>
                  <a:moveTo>
                    <a:pt x="3151" y="4758"/>
                  </a:moveTo>
                  <a:cubicBezTo>
                    <a:pt x="3340" y="4758"/>
                    <a:pt x="3497" y="4916"/>
                    <a:pt x="3497" y="5105"/>
                  </a:cubicBezTo>
                  <a:lnTo>
                    <a:pt x="3497" y="6491"/>
                  </a:lnTo>
                  <a:cubicBezTo>
                    <a:pt x="3497" y="6680"/>
                    <a:pt x="3340" y="6837"/>
                    <a:pt x="3151" y="6837"/>
                  </a:cubicBezTo>
                  <a:lnTo>
                    <a:pt x="1764" y="6837"/>
                  </a:lnTo>
                  <a:cubicBezTo>
                    <a:pt x="1575" y="6837"/>
                    <a:pt x="1418" y="6680"/>
                    <a:pt x="1418" y="6491"/>
                  </a:cubicBezTo>
                  <a:lnTo>
                    <a:pt x="1418" y="5105"/>
                  </a:lnTo>
                  <a:cubicBezTo>
                    <a:pt x="1418" y="4916"/>
                    <a:pt x="1575" y="4758"/>
                    <a:pt x="1764" y="4758"/>
                  </a:cubicBezTo>
                  <a:close/>
                  <a:moveTo>
                    <a:pt x="5860" y="6144"/>
                  </a:moveTo>
                  <a:cubicBezTo>
                    <a:pt x="6049" y="6144"/>
                    <a:pt x="6207" y="6302"/>
                    <a:pt x="6207" y="6491"/>
                  </a:cubicBezTo>
                  <a:cubicBezTo>
                    <a:pt x="6207" y="6680"/>
                    <a:pt x="6049" y="6837"/>
                    <a:pt x="5860" y="6837"/>
                  </a:cubicBezTo>
                  <a:lnTo>
                    <a:pt x="4474" y="6837"/>
                  </a:lnTo>
                  <a:cubicBezTo>
                    <a:pt x="4285" y="6837"/>
                    <a:pt x="4127" y="6680"/>
                    <a:pt x="4127" y="6491"/>
                  </a:cubicBezTo>
                  <a:cubicBezTo>
                    <a:pt x="4127" y="6302"/>
                    <a:pt x="4285" y="6144"/>
                    <a:pt x="4474" y="6144"/>
                  </a:cubicBezTo>
                  <a:close/>
                  <a:moveTo>
                    <a:pt x="7183" y="7562"/>
                  </a:moveTo>
                  <a:cubicBezTo>
                    <a:pt x="7404" y="7562"/>
                    <a:pt x="7561" y="7720"/>
                    <a:pt x="7561" y="7909"/>
                  </a:cubicBezTo>
                  <a:cubicBezTo>
                    <a:pt x="7561" y="8098"/>
                    <a:pt x="7404" y="8255"/>
                    <a:pt x="7183" y="8255"/>
                  </a:cubicBezTo>
                  <a:lnTo>
                    <a:pt x="4474" y="8255"/>
                  </a:lnTo>
                  <a:cubicBezTo>
                    <a:pt x="4285" y="8255"/>
                    <a:pt x="4127" y="8098"/>
                    <a:pt x="4127" y="7909"/>
                  </a:cubicBezTo>
                  <a:cubicBezTo>
                    <a:pt x="4127" y="7720"/>
                    <a:pt x="4285" y="7562"/>
                    <a:pt x="4474" y="7562"/>
                  </a:cubicBezTo>
                  <a:close/>
                  <a:moveTo>
                    <a:pt x="3151" y="7531"/>
                  </a:moveTo>
                  <a:cubicBezTo>
                    <a:pt x="3340" y="7531"/>
                    <a:pt x="3497" y="7657"/>
                    <a:pt x="3497" y="7877"/>
                  </a:cubicBezTo>
                  <a:lnTo>
                    <a:pt x="3497" y="9232"/>
                  </a:lnTo>
                  <a:cubicBezTo>
                    <a:pt x="3497" y="9452"/>
                    <a:pt x="3340" y="9610"/>
                    <a:pt x="3151" y="9610"/>
                  </a:cubicBezTo>
                  <a:lnTo>
                    <a:pt x="1764" y="9610"/>
                  </a:lnTo>
                  <a:cubicBezTo>
                    <a:pt x="1575" y="9610"/>
                    <a:pt x="1418" y="9452"/>
                    <a:pt x="1418" y="9232"/>
                  </a:cubicBezTo>
                  <a:lnTo>
                    <a:pt x="1418" y="7877"/>
                  </a:lnTo>
                  <a:cubicBezTo>
                    <a:pt x="1418" y="7657"/>
                    <a:pt x="1575" y="7531"/>
                    <a:pt x="1764" y="7531"/>
                  </a:cubicBezTo>
                  <a:close/>
                  <a:moveTo>
                    <a:pt x="5860" y="8885"/>
                  </a:moveTo>
                  <a:cubicBezTo>
                    <a:pt x="6049" y="8885"/>
                    <a:pt x="6207" y="9043"/>
                    <a:pt x="6207" y="9232"/>
                  </a:cubicBezTo>
                  <a:cubicBezTo>
                    <a:pt x="6207" y="9452"/>
                    <a:pt x="6049" y="9610"/>
                    <a:pt x="5860" y="9610"/>
                  </a:cubicBezTo>
                  <a:lnTo>
                    <a:pt x="4474" y="9610"/>
                  </a:lnTo>
                  <a:cubicBezTo>
                    <a:pt x="4285" y="9610"/>
                    <a:pt x="4127" y="9452"/>
                    <a:pt x="4127" y="9232"/>
                  </a:cubicBezTo>
                  <a:cubicBezTo>
                    <a:pt x="4127" y="9043"/>
                    <a:pt x="4285" y="8885"/>
                    <a:pt x="4474" y="8885"/>
                  </a:cubicBezTo>
                  <a:close/>
                  <a:moveTo>
                    <a:pt x="1040" y="1"/>
                  </a:moveTo>
                  <a:cubicBezTo>
                    <a:pt x="504" y="1"/>
                    <a:pt x="0" y="473"/>
                    <a:pt x="0" y="1009"/>
                  </a:cubicBezTo>
                  <a:lnTo>
                    <a:pt x="0" y="9956"/>
                  </a:lnTo>
                  <a:cubicBezTo>
                    <a:pt x="32" y="10524"/>
                    <a:pt x="504" y="10996"/>
                    <a:pt x="1040" y="10996"/>
                  </a:cubicBezTo>
                  <a:lnTo>
                    <a:pt x="7908" y="10996"/>
                  </a:lnTo>
                  <a:cubicBezTo>
                    <a:pt x="8444" y="10996"/>
                    <a:pt x="8916" y="10524"/>
                    <a:pt x="8916" y="9956"/>
                  </a:cubicBezTo>
                  <a:lnTo>
                    <a:pt x="8916" y="1009"/>
                  </a:lnTo>
                  <a:cubicBezTo>
                    <a:pt x="8916" y="473"/>
                    <a:pt x="8444" y="1"/>
                    <a:pt x="7908" y="1"/>
                  </a:cubicBezTo>
                  <a:lnTo>
                    <a:pt x="7183" y="1"/>
                  </a:lnTo>
                  <a:lnTo>
                    <a:pt x="7183" y="347"/>
                  </a:lnTo>
                  <a:cubicBezTo>
                    <a:pt x="7183" y="915"/>
                    <a:pt x="6711" y="1387"/>
                    <a:pt x="6175" y="1387"/>
                  </a:cubicBezTo>
                  <a:lnTo>
                    <a:pt x="2741" y="1387"/>
                  </a:lnTo>
                  <a:cubicBezTo>
                    <a:pt x="2206" y="1387"/>
                    <a:pt x="1733" y="915"/>
                    <a:pt x="1733" y="347"/>
                  </a:cubicBezTo>
                  <a:lnTo>
                    <a:pt x="1733" y="1"/>
                  </a:lnTo>
                  <a:close/>
                </a:path>
              </a:pathLst>
            </a:custGeom>
            <a:grpFill/>
            <a:ln>
              <a:noFill/>
            </a:ln>
          </p:spPr>
          <p:txBody>
            <a:bodyPr spcFirstLastPara="1" wrap="square" lIns="91417" tIns="91417" rIns="91417" bIns="91417" anchor="ctr" anchorCtr="0">
              <a:noAutofit/>
            </a:bodyPr>
            <a:lstStyle/>
            <a:p>
              <a:endParaRPr sz="1400"/>
            </a:p>
          </p:txBody>
        </p:sp>
        <p:sp>
          <p:nvSpPr>
            <p:cNvPr id="296" name="Google Shape;6963;p88"/>
            <p:cNvSpPr/>
            <p:nvPr/>
          </p:nvSpPr>
          <p:spPr>
            <a:xfrm>
              <a:off x="-30853351" y="3295000"/>
              <a:ext cx="51225" cy="104000"/>
            </a:xfrm>
            <a:custGeom>
              <a:rect l="l" t="t" r="r" b="b"/>
              <a:pathLst>
                <a:path w="2049" h="4160" extrusionOk="0">
                  <a:moveTo>
                    <a:pt x="1" y="1"/>
                  </a:moveTo>
                  <a:lnTo>
                    <a:pt x="1" y="4160"/>
                  </a:lnTo>
                  <a:lnTo>
                    <a:pt x="2049" y="4160"/>
                  </a:lnTo>
                  <a:lnTo>
                    <a:pt x="2049" y="1"/>
                  </a:lnTo>
                  <a:close/>
                </a:path>
              </a:pathLst>
            </a:custGeom>
            <a:grpFill/>
            <a:ln>
              <a:noFill/>
            </a:ln>
          </p:spPr>
          <p:txBody>
            <a:bodyPr spcFirstLastPara="1" wrap="square" lIns="91417" tIns="91417" rIns="91417" bIns="91417" anchor="ctr" anchorCtr="0">
              <a:noAutofit/>
            </a:bodyPr>
            <a:lstStyle/>
            <a:p>
              <a:endParaRPr sz="1400"/>
            </a:p>
          </p:txBody>
        </p:sp>
        <p:sp>
          <p:nvSpPr>
            <p:cNvPr id="297" name="Google Shape;6964;p88"/>
            <p:cNvSpPr/>
            <p:nvPr/>
          </p:nvSpPr>
          <p:spPr>
            <a:xfrm>
              <a:off x="-30853351" y="3227275"/>
              <a:ext cx="51225" cy="51225"/>
            </a:xfrm>
            <a:custGeom>
              <a:rect l="l" t="t" r="r" b="b"/>
              <a:pathLst>
                <a:path w="2049" h="2049" extrusionOk="0">
                  <a:moveTo>
                    <a:pt x="1009" y="1"/>
                  </a:moveTo>
                  <a:cubicBezTo>
                    <a:pt x="473" y="1"/>
                    <a:pt x="1" y="473"/>
                    <a:pt x="1" y="1040"/>
                  </a:cubicBezTo>
                  <a:lnTo>
                    <a:pt x="1" y="2048"/>
                  </a:lnTo>
                  <a:lnTo>
                    <a:pt x="2049" y="2048"/>
                  </a:lnTo>
                  <a:lnTo>
                    <a:pt x="2049" y="1040"/>
                  </a:lnTo>
                  <a:cubicBezTo>
                    <a:pt x="2049" y="473"/>
                    <a:pt x="1576" y="1"/>
                    <a:pt x="1009" y="1"/>
                  </a:cubicBezTo>
                  <a:close/>
                </a:path>
              </a:pathLst>
            </a:custGeom>
            <a:grpFill/>
            <a:ln>
              <a:noFill/>
            </a:ln>
          </p:spPr>
          <p:txBody>
            <a:bodyPr spcFirstLastPara="1" wrap="square" lIns="91417" tIns="91417" rIns="91417" bIns="91417" anchor="ctr" anchorCtr="0">
              <a:noAutofit/>
            </a:bodyPr>
            <a:lstStyle/>
            <a:p>
              <a:endParaRPr sz="1400"/>
            </a:p>
          </p:txBody>
        </p:sp>
        <p:sp>
          <p:nvSpPr>
            <p:cNvPr id="298" name="Google Shape;6965;p88"/>
            <p:cNvSpPr/>
            <p:nvPr/>
          </p:nvSpPr>
          <p:spPr>
            <a:xfrm>
              <a:off x="-30851776" y="3416300"/>
              <a:ext cx="46500" cy="51225"/>
            </a:xfrm>
            <a:custGeom>
              <a:rect l="l" t="t" r="r" b="b"/>
              <a:pathLst>
                <a:path w="1860" h="2049" extrusionOk="0">
                  <a:moveTo>
                    <a:pt x="1" y="1"/>
                  </a:moveTo>
                  <a:lnTo>
                    <a:pt x="599" y="1796"/>
                  </a:lnTo>
                  <a:cubicBezTo>
                    <a:pt x="694" y="1985"/>
                    <a:pt x="788" y="2048"/>
                    <a:pt x="946" y="2048"/>
                  </a:cubicBezTo>
                  <a:cubicBezTo>
                    <a:pt x="1103" y="2048"/>
                    <a:pt x="1229" y="1985"/>
                    <a:pt x="1261" y="1796"/>
                  </a:cubicBezTo>
                  <a:lnTo>
                    <a:pt x="1860" y="1"/>
                  </a:lnTo>
                  <a:close/>
                </a:path>
              </a:pathLst>
            </a:custGeom>
            <a:grpFill/>
            <a:ln>
              <a:noFill/>
            </a:ln>
          </p:spPr>
          <p:txBody>
            <a:bodyPr spcFirstLastPara="1" wrap="square" lIns="91417" tIns="91417" rIns="91417" bIns="91417" anchor="ctr" anchorCtr="0">
              <a:noAutofit/>
            </a:bodyPr>
            <a:lstStyle/>
            <a:p>
              <a:endParaRPr sz="1400"/>
            </a:p>
          </p:txBody>
        </p:sp>
      </p:grpSp>
      <p:grpSp>
        <p:nvGrpSpPr>
          <p:cNvPr id="299" name="Google Shape;6966;p88"/>
          <p:cNvGrpSpPr/>
          <p:nvPr/>
        </p:nvGrpSpPr>
        <p:grpSpPr>
          <a:xfrm>
            <a:off x="10919099" y="3411176"/>
            <a:ext cx="604829" cy="605763"/>
            <a:chOff x="-31093575" y="3552550"/>
            <a:chExt cx="291450" cy="291900"/>
          </a:xfrm>
          <a:solidFill>
            <a:srgbClr val="00677F"/>
          </a:solidFill>
        </p:grpSpPr>
        <p:sp>
          <p:nvSpPr>
            <p:cNvPr id="300" name="Google Shape;6967;p88"/>
            <p:cNvSpPr/>
            <p:nvPr/>
          </p:nvSpPr>
          <p:spPr>
            <a:xfrm>
              <a:off x="-31011651" y="3745525"/>
              <a:ext cx="7900" cy="12625"/>
            </a:xfrm>
            <a:custGeom>
              <a:rect l="l" t="t" r="r" b="b"/>
              <a:pathLst>
                <a:path w="316" h="505" extrusionOk="0">
                  <a:moveTo>
                    <a:pt x="158" y="1"/>
                  </a:moveTo>
                  <a:lnTo>
                    <a:pt x="0" y="505"/>
                  </a:lnTo>
                  <a:lnTo>
                    <a:pt x="315" y="505"/>
                  </a:lnTo>
                  <a:lnTo>
                    <a:pt x="158" y="1"/>
                  </a:lnTo>
                  <a:close/>
                </a:path>
              </a:pathLst>
            </a:custGeom>
            <a:grpFill/>
            <a:ln>
              <a:noFill/>
            </a:ln>
          </p:spPr>
          <p:txBody>
            <a:bodyPr spcFirstLastPara="1" wrap="square" lIns="91417" tIns="91417" rIns="91417" bIns="91417" anchor="ctr" anchorCtr="0">
              <a:noAutofit/>
            </a:bodyPr>
            <a:lstStyle/>
            <a:p>
              <a:endParaRPr sz="1400"/>
            </a:p>
          </p:txBody>
        </p:sp>
        <p:sp>
          <p:nvSpPr>
            <p:cNvPr id="301" name="Google Shape;6968;p88"/>
            <p:cNvSpPr/>
            <p:nvPr/>
          </p:nvSpPr>
          <p:spPr>
            <a:xfrm>
              <a:off x="-31093575" y="3671500"/>
              <a:ext cx="171725" cy="172950"/>
            </a:xfrm>
            <a:custGeom>
              <a:rect l="l" t="t" r="r" b="b"/>
              <a:pathLst>
                <a:path w="6867" h="6918" extrusionOk="0">
                  <a:moveTo>
                    <a:pt x="3427" y="1449"/>
                  </a:moveTo>
                  <a:cubicBezTo>
                    <a:pt x="3569" y="1449"/>
                    <a:pt x="3718" y="1512"/>
                    <a:pt x="3781" y="1638"/>
                  </a:cubicBezTo>
                  <a:lnTo>
                    <a:pt x="4317" y="3466"/>
                  </a:lnTo>
                  <a:lnTo>
                    <a:pt x="4474" y="3466"/>
                  </a:lnTo>
                  <a:cubicBezTo>
                    <a:pt x="4695" y="3466"/>
                    <a:pt x="4852" y="3623"/>
                    <a:pt x="4852" y="3812"/>
                  </a:cubicBezTo>
                  <a:cubicBezTo>
                    <a:pt x="4852" y="3970"/>
                    <a:pt x="4726" y="4127"/>
                    <a:pt x="4537" y="4127"/>
                  </a:cubicBezTo>
                  <a:lnTo>
                    <a:pt x="4789" y="5072"/>
                  </a:lnTo>
                  <a:cubicBezTo>
                    <a:pt x="4852" y="5262"/>
                    <a:pt x="4758" y="5419"/>
                    <a:pt x="4569" y="5514"/>
                  </a:cubicBezTo>
                  <a:cubicBezTo>
                    <a:pt x="4545" y="5518"/>
                    <a:pt x="4521" y="5520"/>
                    <a:pt x="4498" y="5520"/>
                  </a:cubicBezTo>
                  <a:cubicBezTo>
                    <a:pt x="4341" y="5520"/>
                    <a:pt x="4210" y="5427"/>
                    <a:pt x="4128" y="5262"/>
                  </a:cubicBezTo>
                  <a:lnTo>
                    <a:pt x="3781" y="4127"/>
                  </a:lnTo>
                  <a:lnTo>
                    <a:pt x="3057" y="4127"/>
                  </a:lnTo>
                  <a:lnTo>
                    <a:pt x="2710" y="5262"/>
                  </a:lnTo>
                  <a:cubicBezTo>
                    <a:pt x="2683" y="5427"/>
                    <a:pt x="2535" y="5520"/>
                    <a:pt x="2351" y="5520"/>
                  </a:cubicBezTo>
                  <a:cubicBezTo>
                    <a:pt x="2325" y="5520"/>
                    <a:pt x="2297" y="5518"/>
                    <a:pt x="2269" y="5514"/>
                  </a:cubicBezTo>
                  <a:cubicBezTo>
                    <a:pt x="2080" y="5451"/>
                    <a:pt x="2017" y="5262"/>
                    <a:pt x="2049" y="5072"/>
                  </a:cubicBezTo>
                  <a:lnTo>
                    <a:pt x="2332" y="4127"/>
                  </a:lnTo>
                  <a:cubicBezTo>
                    <a:pt x="2175" y="4096"/>
                    <a:pt x="2017" y="3970"/>
                    <a:pt x="2017" y="3812"/>
                  </a:cubicBezTo>
                  <a:cubicBezTo>
                    <a:pt x="2049" y="3623"/>
                    <a:pt x="2206" y="3466"/>
                    <a:pt x="2395" y="3466"/>
                  </a:cubicBezTo>
                  <a:lnTo>
                    <a:pt x="2553" y="3466"/>
                  </a:lnTo>
                  <a:lnTo>
                    <a:pt x="3120" y="1638"/>
                  </a:lnTo>
                  <a:cubicBezTo>
                    <a:pt x="3151" y="1512"/>
                    <a:pt x="3285" y="1449"/>
                    <a:pt x="3427" y="1449"/>
                  </a:cubicBezTo>
                  <a:close/>
                  <a:moveTo>
                    <a:pt x="3435" y="0"/>
                  </a:moveTo>
                  <a:cubicBezTo>
                    <a:pt x="1544" y="0"/>
                    <a:pt x="1" y="1544"/>
                    <a:pt x="1" y="3434"/>
                  </a:cubicBezTo>
                  <a:cubicBezTo>
                    <a:pt x="1" y="5356"/>
                    <a:pt x="1544" y="6900"/>
                    <a:pt x="3435" y="6900"/>
                  </a:cubicBezTo>
                  <a:cubicBezTo>
                    <a:pt x="4065" y="6900"/>
                    <a:pt x="4632" y="6742"/>
                    <a:pt x="5168" y="6427"/>
                  </a:cubicBezTo>
                  <a:lnTo>
                    <a:pt x="6365" y="6900"/>
                  </a:lnTo>
                  <a:cubicBezTo>
                    <a:pt x="6407" y="6910"/>
                    <a:pt x="6449" y="6917"/>
                    <a:pt x="6491" y="6917"/>
                  </a:cubicBezTo>
                  <a:cubicBezTo>
                    <a:pt x="6575" y="6917"/>
                    <a:pt x="6659" y="6889"/>
                    <a:pt x="6743" y="6805"/>
                  </a:cubicBezTo>
                  <a:cubicBezTo>
                    <a:pt x="6806" y="6742"/>
                    <a:pt x="6869" y="6616"/>
                    <a:pt x="6869" y="6459"/>
                  </a:cubicBezTo>
                  <a:lnTo>
                    <a:pt x="6491" y="5009"/>
                  </a:lnTo>
                  <a:cubicBezTo>
                    <a:pt x="6743" y="4537"/>
                    <a:pt x="6869" y="4001"/>
                    <a:pt x="6869" y="3466"/>
                  </a:cubicBezTo>
                  <a:cubicBezTo>
                    <a:pt x="6869" y="3119"/>
                    <a:pt x="6774" y="2804"/>
                    <a:pt x="6711" y="2489"/>
                  </a:cubicBezTo>
                  <a:cubicBezTo>
                    <a:pt x="6617" y="2426"/>
                    <a:pt x="6491" y="2395"/>
                    <a:pt x="6428" y="2363"/>
                  </a:cubicBezTo>
                  <a:lnTo>
                    <a:pt x="5514" y="2710"/>
                  </a:lnTo>
                  <a:cubicBezTo>
                    <a:pt x="5389" y="2755"/>
                    <a:pt x="5256" y="2780"/>
                    <a:pt x="5125" y="2780"/>
                  </a:cubicBezTo>
                  <a:cubicBezTo>
                    <a:pt x="4892" y="2780"/>
                    <a:pt x="4667" y="2702"/>
                    <a:pt x="4506" y="2521"/>
                  </a:cubicBezTo>
                  <a:cubicBezTo>
                    <a:pt x="4222" y="2269"/>
                    <a:pt x="4096" y="1891"/>
                    <a:pt x="4159" y="1481"/>
                  </a:cubicBezTo>
                  <a:lnTo>
                    <a:pt x="4443" y="221"/>
                  </a:lnTo>
                  <a:cubicBezTo>
                    <a:pt x="4443" y="189"/>
                    <a:pt x="4443" y="189"/>
                    <a:pt x="4411" y="158"/>
                  </a:cubicBezTo>
                  <a:cubicBezTo>
                    <a:pt x="4096" y="63"/>
                    <a:pt x="3781" y="0"/>
                    <a:pt x="3435" y="0"/>
                  </a:cubicBezTo>
                  <a:close/>
                </a:path>
              </a:pathLst>
            </a:custGeom>
            <a:grpFill/>
            <a:ln>
              <a:noFill/>
            </a:ln>
          </p:spPr>
          <p:txBody>
            <a:bodyPr spcFirstLastPara="1" wrap="square" lIns="91417" tIns="91417" rIns="91417" bIns="91417" anchor="ctr" anchorCtr="0">
              <a:noAutofit/>
            </a:bodyPr>
            <a:lstStyle/>
            <a:p>
              <a:endParaRPr sz="1400"/>
            </a:p>
          </p:txBody>
        </p:sp>
        <p:sp>
          <p:nvSpPr>
            <p:cNvPr id="302" name="Google Shape;6969;p88"/>
            <p:cNvSpPr/>
            <p:nvPr/>
          </p:nvSpPr>
          <p:spPr>
            <a:xfrm>
              <a:off x="-30895875" y="3621075"/>
              <a:ext cx="15775" cy="26025"/>
            </a:xfrm>
            <a:custGeom>
              <a:rect l="l" t="t" r="r" b="b"/>
              <a:pathLst>
                <a:path w="631" h="1041" extrusionOk="0">
                  <a:moveTo>
                    <a:pt x="0" y="1"/>
                  </a:moveTo>
                  <a:cubicBezTo>
                    <a:pt x="32" y="410"/>
                    <a:pt x="126" y="694"/>
                    <a:pt x="315" y="1041"/>
                  </a:cubicBezTo>
                  <a:cubicBezTo>
                    <a:pt x="473" y="694"/>
                    <a:pt x="599" y="347"/>
                    <a:pt x="631" y="1"/>
                  </a:cubicBezTo>
                  <a:close/>
                </a:path>
              </a:pathLst>
            </a:custGeom>
            <a:grpFill/>
            <a:ln>
              <a:noFill/>
            </a:ln>
          </p:spPr>
          <p:txBody>
            <a:bodyPr spcFirstLastPara="1" wrap="square" lIns="91417" tIns="91417" rIns="91417" bIns="91417" anchor="ctr" anchorCtr="0">
              <a:noAutofit/>
            </a:bodyPr>
            <a:lstStyle/>
            <a:p>
              <a:endParaRPr sz="1400"/>
            </a:p>
          </p:txBody>
        </p:sp>
        <p:sp>
          <p:nvSpPr>
            <p:cNvPr id="303" name="Google Shape;6970;p88"/>
            <p:cNvSpPr/>
            <p:nvPr/>
          </p:nvSpPr>
          <p:spPr>
            <a:xfrm>
              <a:off x="-30974649" y="3552550"/>
              <a:ext cx="172525" cy="172400"/>
            </a:xfrm>
            <a:custGeom>
              <a:rect l="l" t="t" r="r" b="b"/>
              <a:pathLst>
                <a:path w="6901" h="6896" extrusionOk="0">
                  <a:moveTo>
                    <a:pt x="3435" y="1356"/>
                  </a:moveTo>
                  <a:cubicBezTo>
                    <a:pt x="3624" y="1356"/>
                    <a:pt x="3782" y="1513"/>
                    <a:pt x="3782" y="1734"/>
                  </a:cubicBezTo>
                  <a:lnTo>
                    <a:pt x="3782" y="2080"/>
                  </a:lnTo>
                  <a:lnTo>
                    <a:pt x="4821" y="2080"/>
                  </a:lnTo>
                  <a:cubicBezTo>
                    <a:pt x="5010" y="2080"/>
                    <a:pt x="5168" y="2238"/>
                    <a:pt x="5168" y="2427"/>
                  </a:cubicBezTo>
                  <a:cubicBezTo>
                    <a:pt x="5168" y="2616"/>
                    <a:pt x="5010" y="2742"/>
                    <a:pt x="4821" y="2742"/>
                  </a:cubicBezTo>
                  <a:lnTo>
                    <a:pt x="4412" y="2742"/>
                  </a:lnTo>
                  <a:cubicBezTo>
                    <a:pt x="4380" y="3341"/>
                    <a:pt x="4191" y="3876"/>
                    <a:pt x="3876" y="4412"/>
                  </a:cubicBezTo>
                  <a:cubicBezTo>
                    <a:pt x="3908" y="4443"/>
                    <a:pt x="3908" y="4475"/>
                    <a:pt x="3939" y="4506"/>
                  </a:cubicBezTo>
                  <a:lnTo>
                    <a:pt x="4349" y="4916"/>
                  </a:lnTo>
                  <a:cubicBezTo>
                    <a:pt x="4443" y="5042"/>
                    <a:pt x="4443" y="5262"/>
                    <a:pt x="4349" y="5388"/>
                  </a:cubicBezTo>
                  <a:cubicBezTo>
                    <a:pt x="4286" y="5451"/>
                    <a:pt x="4191" y="5483"/>
                    <a:pt x="4101" y="5483"/>
                  </a:cubicBezTo>
                  <a:cubicBezTo>
                    <a:pt x="4010" y="5483"/>
                    <a:pt x="3923" y="5451"/>
                    <a:pt x="3876" y="5388"/>
                  </a:cubicBezTo>
                  <a:lnTo>
                    <a:pt x="3466" y="4979"/>
                  </a:lnTo>
                  <a:lnTo>
                    <a:pt x="3435" y="4947"/>
                  </a:lnTo>
                  <a:lnTo>
                    <a:pt x="3403" y="4979"/>
                  </a:lnTo>
                  <a:lnTo>
                    <a:pt x="2994" y="5388"/>
                  </a:lnTo>
                  <a:cubicBezTo>
                    <a:pt x="2931" y="5451"/>
                    <a:pt x="2844" y="5483"/>
                    <a:pt x="2758" y="5483"/>
                  </a:cubicBezTo>
                  <a:cubicBezTo>
                    <a:pt x="2671" y="5483"/>
                    <a:pt x="2584" y="5451"/>
                    <a:pt x="2521" y="5388"/>
                  </a:cubicBezTo>
                  <a:cubicBezTo>
                    <a:pt x="2395" y="5262"/>
                    <a:pt x="2395" y="5042"/>
                    <a:pt x="2521" y="4916"/>
                  </a:cubicBezTo>
                  <a:lnTo>
                    <a:pt x="2931" y="4506"/>
                  </a:lnTo>
                  <a:cubicBezTo>
                    <a:pt x="2962" y="4475"/>
                    <a:pt x="2962" y="4443"/>
                    <a:pt x="2994" y="4412"/>
                  </a:cubicBezTo>
                  <a:cubicBezTo>
                    <a:pt x="2679" y="3939"/>
                    <a:pt x="2490" y="3341"/>
                    <a:pt x="2458" y="2742"/>
                  </a:cubicBezTo>
                  <a:lnTo>
                    <a:pt x="2049" y="2742"/>
                  </a:lnTo>
                  <a:cubicBezTo>
                    <a:pt x="1860" y="2742"/>
                    <a:pt x="1702" y="2584"/>
                    <a:pt x="1702" y="2395"/>
                  </a:cubicBezTo>
                  <a:cubicBezTo>
                    <a:pt x="1702" y="2206"/>
                    <a:pt x="1860" y="2049"/>
                    <a:pt x="2049" y="2049"/>
                  </a:cubicBezTo>
                  <a:lnTo>
                    <a:pt x="3088" y="2049"/>
                  </a:lnTo>
                  <a:lnTo>
                    <a:pt x="3088" y="1734"/>
                  </a:lnTo>
                  <a:cubicBezTo>
                    <a:pt x="3088" y="1513"/>
                    <a:pt x="3246" y="1356"/>
                    <a:pt x="3435" y="1356"/>
                  </a:cubicBezTo>
                  <a:close/>
                  <a:moveTo>
                    <a:pt x="3466" y="1"/>
                  </a:moveTo>
                  <a:cubicBezTo>
                    <a:pt x="1576" y="1"/>
                    <a:pt x="32" y="1576"/>
                    <a:pt x="32" y="3467"/>
                  </a:cubicBezTo>
                  <a:cubicBezTo>
                    <a:pt x="32" y="3971"/>
                    <a:pt x="158" y="4506"/>
                    <a:pt x="411" y="4979"/>
                  </a:cubicBezTo>
                  <a:lnTo>
                    <a:pt x="32" y="6459"/>
                  </a:lnTo>
                  <a:cubicBezTo>
                    <a:pt x="1" y="6554"/>
                    <a:pt x="32" y="6680"/>
                    <a:pt x="158" y="6806"/>
                  </a:cubicBezTo>
                  <a:cubicBezTo>
                    <a:pt x="225" y="6851"/>
                    <a:pt x="324" y="6895"/>
                    <a:pt x="420" y="6895"/>
                  </a:cubicBezTo>
                  <a:cubicBezTo>
                    <a:pt x="460" y="6895"/>
                    <a:pt x="500" y="6887"/>
                    <a:pt x="537" y="6869"/>
                  </a:cubicBezTo>
                  <a:lnTo>
                    <a:pt x="1734" y="6396"/>
                  </a:lnTo>
                  <a:cubicBezTo>
                    <a:pt x="2269" y="6712"/>
                    <a:pt x="2899" y="6869"/>
                    <a:pt x="3466" y="6869"/>
                  </a:cubicBezTo>
                  <a:cubicBezTo>
                    <a:pt x="5357" y="6869"/>
                    <a:pt x="6901" y="5357"/>
                    <a:pt x="6901" y="3435"/>
                  </a:cubicBezTo>
                  <a:cubicBezTo>
                    <a:pt x="6901" y="1576"/>
                    <a:pt x="5325" y="1"/>
                    <a:pt x="3466" y="1"/>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48" name="Google Shape;6760;p88"/>
          <p:cNvGrpSpPr/>
          <p:nvPr/>
        </p:nvGrpSpPr>
        <p:grpSpPr>
          <a:xfrm>
            <a:off x="4203049" y="1247199"/>
            <a:ext cx="499909" cy="600511"/>
            <a:chOff x="-35814602" y="3202075"/>
            <a:chExt cx="242625" cy="291450"/>
          </a:xfrm>
          <a:solidFill>
            <a:srgbClr val="00677F"/>
          </a:solidFill>
        </p:grpSpPr>
        <p:sp>
          <p:nvSpPr>
            <p:cNvPr id="49" name="Google Shape;6761;p88"/>
            <p:cNvSpPr/>
            <p:nvPr/>
          </p:nvSpPr>
          <p:spPr>
            <a:xfrm>
              <a:off x="-35814602" y="3202075"/>
              <a:ext cx="51225" cy="202450"/>
            </a:xfrm>
            <a:custGeom>
              <a:rect l="l" t="t" r="r" b="b"/>
              <a:pathLst>
                <a:path w="2049" h="8097" extrusionOk="0">
                  <a:moveTo>
                    <a:pt x="1702" y="0"/>
                  </a:moveTo>
                  <a:cubicBezTo>
                    <a:pt x="757" y="0"/>
                    <a:pt x="1" y="788"/>
                    <a:pt x="1" y="1733"/>
                  </a:cubicBezTo>
                  <a:lnTo>
                    <a:pt x="1" y="8097"/>
                  </a:lnTo>
                  <a:cubicBezTo>
                    <a:pt x="348" y="7782"/>
                    <a:pt x="820" y="7562"/>
                    <a:pt x="1387" y="7562"/>
                  </a:cubicBezTo>
                  <a:lnTo>
                    <a:pt x="2049" y="7562"/>
                  </a:lnTo>
                  <a:lnTo>
                    <a:pt x="2049" y="0"/>
                  </a:lnTo>
                  <a:close/>
                </a:path>
              </a:pathLst>
            </a:custGeom>
            <a:grpFill/>
            <a:ln>
              <a:noFill/>
            </a:ln>
          </p:spPr>
          <p:txBody>
            <a:bodyPr spcFirstLastPara="1" wrap="square" lIns="91417" tIns="91417" rIns="91417" bIns="91417" anchor="ctr" anchorCtr="0">
              <a:noAutofit/>
            </a:bodyPr>
            <a:lstStyle/>
            <a:p>
              <a:endParaRPr sz="1400"/>
            </a:p>
          </p:txBody>
        </p:sp>
        <p:sp>
          <p:nvSpPr>
            <p:cNvPr id="50" name="Google Shape;6762;p88"/>
            <p:cNvSpPr/>
            <p:nvPr/>
          </p:nvSpPr>
          <p:spPr>
            <a:xfrm>
              <a:off x="-35814602" y="3407650"/>
              <a:ext cx="242625" cy="68550"/>
            </a:xfrm>
            <a:custGeom>
              <a:rect l="l" t="t" r="r" b="b"/>
              <a:pathLst>
                <a:path w="9705" h="2742" extrusionOk="0">
                  <a:moveTo>
                    <a:pt x="1387" y="0"/>
                  </a:moveTo>
                  <a:cubicBezTo>
                    <a:pt x="631" y="0"/>
                    <a:pt x="1" y="630"/>
                    <a:pt x="1" y="1386"/>
                  </a:cubicBezTo>
                  <a:cubicBezTo>
                    <a:pt x="1" y="2111"/>
                    <a:pt x="600" y="2741"/>
                    <a:pt x="1356" y="2741"/>
                  </a:cubicBezTo>
                  <a:lnTo>
                    <a:pt x="4758" y="2741"/>
                  </a:lnTo>
                  <a:lnTo>
                    <a:pt x="4758" y="1733"/>
                  </a:lnTo>
                  <a:lnTo>
                    <a:pt x="1702" y="1733"/>
                  </a:lnTo>
                  <a:cubicBezTo>
                    <a:pt x="1513" y="1733"/>
                    <a:pt x="1356" y="1575"/>
                    <a:pt x="1356" y="1355"/>
                  </a:cubicBezTo>
                  <a:cubicBezTo>
                    <a:pt x="1356" y="1166"/>
                    <a:pt x="1513" y="1008"/>
                    <a:pt x="1702" y="1008"/>
                  </a:cubicBezTo>
                  <a:lnTo>
                    <a:pt x="9232" y="1008"/>
                  </a:lnTo>
                  <a:cubicBezTo>
                    <a:pt x="9263" y="851"/>
                    <a:pt x="9326" y="662"/>
                    <a:pt x="9452" y="536"/>
                  </a:cubicBezTo>
                  <a:cubicBezTo>
                    <a:pt x="9704" y="221"/>
                    <a:pt x="9484" y="0"/>
                    <a:pt x="9263" y="0"/>
                  </a:cubicBezTo>
                  <a:close/>
                </a:path>
              </a:pathLst>
            </a:custGeom>
            <a:grpFill/>
            <a:ln>
              <a:noFill/>
            </a:ln>
          </p:spPr>
          <p:txBody>
            <a:bodyPr spcFirstLastPara="1" wrap="square" lIns="91417" tIns="91417" rIns="91417" bIns="91417" anchor="ctr" anchorCtr="0">
              <a:noAutofit/>
            </a:bodyPr>
            <a:lstStyle/>
            <a:p>
              <a:endParaRPr sz="1400"/>
            </a:p>
          </p:txBody>
        </p:sp>
        <p:sp>
          <p:nvSpPr>
            <p:cNvPr id="51" name="Google Shape;6763;p88"/>
            <p:cNvSpPr/>
            <p:nvPr/>
          </p:nvSpPr>
          <p:spPr>
            <a:xfrm>
              <a:off x="-35627125" y="3450950"/>
              <a:ext cx="55150" cy="25250"/>
            </a:xfrm>
            <a:custGeom>
              <a:rect l="l" t="t" r="r" b="b"/>
              <a:pathLst>
                <a:path w="2206" h="1010" extrusionOk="0">
                  <a:moveTo>
                    <a:pt x="0" y="1"/>
                  </a:moveTo>
                  <a:lnTo>
                    <a:pt x="0" y="1009"/>
                  </a:lnTo>
                  <a:lnTo>
                    <a:pt x="1670" y="1009"/>
                  </a:lnTo>
                  <a:cubicBezTo>
                    <a:pt x="1953" y="1009"/>
                    <a:pt x="2205" y="788"/>
                    <a:pt x="1953" y="505"/>
                  </a:cubicBezTo>
                  <a:cubicBezTo>
                    <a:pt x="1827" y="347"/>
                    <a:pt x="1764" y="190"/>
                    <a:pt x="1670" y="1"/>
                  </a:cubicBezTo>
                  <a:close/>
                </a:path>
              </a:pathLst>
            </a:custGeom>
            <a:grpFill/>
            <a:ln>
              <a:noFill/>
            </a:ln>
          </p:spPr>
          <p:txBody>
            <a:bodyPr spcFirstLastPara="1" wrap="square" lIns="91417" tIns="91417" rIns="91417" bIns="91417" anchor="ctr" anchorCtr="0">
              <a:noAutofit/>
            </a:bodyPr>
            <a:lstStyle/>
            <a:p>
              <a:endParaRPr sz="1400"/>
            </a:p>
          </p:txBody>
        </p:sp>
        <p:sp>
          <p:nvSpPr>
            <p:cNvPr id="52" name="Google Shape;6764;p88"/>
            <p:cNvSpPr/>
            <p:nvPr/>
          </p:nvSpPr>
          <p:spPr>
            <a:xfrm>
              <a:off x="-35703526" y="3305250"/>
              <a:ext cx="84300" cy="34675"/>
            </a:xfrm>
            <a:custGeom>
              <a:rect l="l" t="t" r="r" b="b"/>
              <a:pathLst>
                <a:path w="3372" h="1387" extrusionOk="0">
                  <a:moveTo>
                    <a:pt x="1701" y="0"/>
                  </a:moveTo>
                  <a:cubicBezTo>
                    <a:pt x="882" y="0"/>
                    <a:pt x="221" y="599"/>
                    <a:pt x="0" y="1387"/>
                  </a:cubicBezTo>
                  <a:lnTo>
                    <a:pt x="3371" y="1387"/>
                  </a:lnTo>
                  <a:cubicBezTo>
                    <a:pt x="3214" y="599"/>
                    <a:pt x="2521" y="0"/>
                    <a:pt x="1701" y="0"/>
                  </a:cubicBezTo>
                  <a:close/>
                </a:path>
              </a:pathLst>
            </a:custGeom>
            <a:grpFill/>
            <a:ln>
              <a:noFill/>
            </a:ln>
          </p:spPr>
          <p:txBody>
            <a:bodyPr spcFirstLastPara="1" wrap="square" lIns="91417" tIns="91417" rIns="91417" bIns="91417" anchor="ctr" anchorCtr="0">
              <a:noAutofit/>
            </a:bodyPr>
            <a:lstStyle/>
            <a:p>
              <a:endParaRPr sz="1400"/>
            </a:p>
          </p:txBody>
        </p:sp>
        <p:sp>
          <p:nvSpPr>
            <p:cNvPr id="53" name="Google Shape;6765;p88"/>
            <p:cNvSpPr/>
            <p:nvPr/>
          </p:nvSpPr>
          <p:spPr>
            <a:xfrm>
              <a:off x="-35677549" y="3254050"/>
              <a:ext cx="33100" cy="33100"/>
            </a:xfrm>
            <a:custGeom>
              <a:rect l="l" t="t" r="r" b="b"/>
              <a:pathLst>
                <a:path w="1324" h="1324" extrusionOk="0">
                  <a:moveTo>
                    <a:pt x="662" y="1"/>
                  </a:moveTo>
                  <a:cubicBezTo>
                    <a:pt x="316" y="1"/>
                    <a:pt x="1" y="284"/>
                    <a:pt x="1" y="662"/>
                  </a:cubicBezTo>
                  <a:cubicBezTo>
                    <a:pt x="1" y="1040"/>
                    <a:pt x="316" y="1324"/>
                    <a:pt x="662" y="1324"/>
                  </a:cubicBezTo>
                  <a:cubicBezTo>
                    <a:pt x="1040" y="1324"/>
                    <a:pt x="1324" y="1040"/>
                    <a:pt x="1324" y="662"/>
                  </a:cubicBezTo>
                  <a:cubicBezTo>
                    <a:pt x="1324" y="284"/>
                    <a:pt x="1040" y="1"/>
                    <a:pt x="662" y="1"/>
                  </a:cubicBezTo>
                  <a:close/>
                </a:path>
              </a:pathLst>
            </a:custGeom>
            <a:grpFill/>
            <a:ln>
              <a:noFill/>
            </a:ln>
          </p:spPr>
          <p:txBody>
            <a:bodyPr spcFirstLastPara="1" wrap="square" lIns="91417" tIns="91417" rIns="91417" bIns="91417" anchor="ctr" anchorCtr="0">
              <a:noAutofit/>
            </a:bodyPr>
            <a:lstStyle/>
            <a:p>
              <a:endParaRPr sz="1400"/>
            </a:p>
          </p:txBody>
        </p:sp>
        <p:sp>
          <p:nvSpPr>
            <p:cNvPr id="99" name="Google Shape;6766;p88"/>
            <p:cNvSpPr/>
            <p:nvPr/>
          </p:nvSpPr>
          <p:spPr>
            <a:xfrm>
              <a:off x="-35746851" y="3202075"/>
              <a:ext cx="171725" cy="189050"/>
            </a:xfrm>
            <a:custGeom>
              <a:rect l="l" t="t" r="r" b="b"/>
              <a:pathLst>
                <a:path w="6867" h="7562" extrusionOk="0">
                  <a:moveTo>
                    <a:pt x="3434" y="1355"/>
                  </a:moveTo>
                  <a:cubicBezTo>
                    <a:pt x="4191" y="1355"/>
                    <a:pt x="4821" y="1985"/>
                    <a:pt x="4821" y="2741"/>
                  </a:cubicBezTo>
                  <a:cubicBezTo>
                    <a:pt x="4821" y="3088"/>
                    <a:pt x="4663" y="3403"/>
                    <a:pt x="4474" y="3655"/>
                  </a:cubicBezTo>
                  <a:cubicBezTo>
                    <a:pt x="5293" y="4033"/>
                    <a:pt x="5829" y="4852"/>
                    <a:pt x="5829" y="5829"/>
                  </a:cubicBezTo>
                  <a:cubicBezTo>
                    <a:pt x="5829" y="6018"/>
                    <a:pt x="5671" y="6175"/>
                    <a:pt x="5482" y="6175"/>
                  </a:cubicBezTo>
                  <a:lnTo>
                    <a:pt x="1387" y="6175"/>
                  </a:lnTo>
                  <a:cubicBezTo>
                    <a:pt x="1198" y="6175"/>
                    <a:pt x="1040" y="6018"/>
                    <a:pt x="1040" y="5829"/>
                  </a:cubicBezTo>
                  <a:cubicBezTo>
                    <a:pt x="1040" y="4852"/>
                    <a:pt x="1576" y="4033"/>
                    <a:pt x="2426" y="3655"/>
                  </a:cubicBezTo>
                  <a:cubicBezTo>
                    <a:pt x="2174" y="3403"/>
                    <a:pt x="2048" y="3088"/>
                    <a:pt x="2048" y="2741"/>
                  </a:cubicBezTo>
                  <a:cubicBezTo>
                    <a:pt x="2048" y="1985"/>
                    <a:pt x="2678" y="1355"/>
                    <a:pt x="3434" y="1355"/>
                  </a:cubicBezTo>
                  <a:close/>
                  <a:moveTo>
                    <a:pt x="0" y="0"/>
                  </a:moveTo>
                  <a:lnTo>
                    <a:pt x="0" y="7562"/>
                  </a:lnTo>
                  <a:lnTo>
                    <a:pt x="6868" y="7562"/>
                  </a:lnTo>
                  <a:lnTo>
                    <a:pt x="6868" y="1009"/>
                  </a:lnTo>
                  <a:cubicBezTo>
                    <a:pt x="6868" y="473"/>
                    <a:pt x="6396" y="0"/>
                    <a:pt x="5829" y="0"/>
                  </a:cubicBezTo>
                  <a:close/>
                </a:path>
              </a:pathLst>
            </a:custGeom>
            <a:grpFill/>
            <a:ln>
              <a:noFill/>
            </a:ln>
          </p:spPr>
          <p:txBody>
            <a:bodyPr spcFirstLastPara="1" wrap="square" lIns="91417" tIns="91417" rIns="91417" bIns="91417" anchor="ctr" anchorCtr="0">
              <a:noAutofit/>
            </a:bodyPr>
            <a:lstStyle/>
            <a:p>
              <a:endParaRPr sz="1400"/>
            </a:p>
          </p:txBody>
        </p:sp>
        <p:sp>
          <p:nvSpPr>
            <p:cNvPr id="100" name="Google Shape;6767;p88"/>
            <p:cNvSpPr/>
            <p:nvPr/>
          </p:nvSpPr>
          <p:spPr>
            <a:xfrm>
              <a:off x="-35677549" y="3450950"/>
              <a:ext cx="34675" cy="42575"/>
            </a:xfrm>
            <a:custGeom>
              <a:rect l="l" t="t" r="r" b="b"/>
              <a:pathLst>
                <a:path w="1387" h="1703" extrusionOk="0">
                  <a:moveTo>
                    <a:pt x="1" y="1"/>
                  </a:moveTo>
                  <a:lnTo>
                    <a:pt x="1" y="1702"/>
                  </a:lnTo>
                  <a:lnTo>
                    <a:pt x="505" y="1387"/>
                  </a:lnTo>
                  <a:cubicBezTo>
                    <a:pt x="536" y="1324"/>
                    <a:pt x="631" y="1324"/>
                    <a:pt x="694" y="1324"/>
                  </a:cubicBezTo>
                  <a:cubicBezTo>
                    <a:pt x="711" y="1316"/>
                    <a:pt x="725" y="1312"/>
                    <a:pt x="739" y="1312"/>
                  </a:cubicBezTo>
                  <a:cubicBezTo>
                    <a:pt x="776" y="1312"/>
                    <a:pt x="805" y="1341"/>
                    <a:pt x="851" y="1387"/>
                  </a:cubicBezTo>
                  <a:lnTo>
                    <a:pt x="1387" y="1702"/>
                  </a:lnTo>
                  <a:lnTo>
                    <a:pt x="1387" y="1"/>
                  </a:lnTo>
                  <a:close/>
                </a:path>
              </a:pathLst>
            </a:custGeom>
            <a:grpFill/>
            <a:ln>
              <a:noFill/>
            </a:ln>
          </p:spPr>
          <p:txBody>
            <a:bodyPr spcFirstLastPara="1" wrap="square" lIns="91417" tIns="91417" rIns="91417" bIns="91417" anchor="ctr" anchorCtr="0">
              <a:noAutofit/>
            </a:bodyPr>
            <a:lstStyle/>
            <a:p>
              <a:endParaRPr sz="1400"/>
            </a:p>
          </p:txBody>
        </p:sp>
      </p:grpSp>
      <p:grpSp>
        <p:nvGrpSpPr>
          <p:cNvPr id="110" name="Google Shape;6777;p88"/>
          <p:cNvGrpSpPr/>
          <p:nvPr/>
        </p:nvGrpSpPr>
        <p:grpSpPr>
          <a:xfrm>
            <a:off x="8170122" y="1211478"/>
            <a:ext cx="600509" cy="600511"/>
            <a:chOff x="-34003850" y="3227275"/>
            <a:chExt cx="291450" cy="291450"/>
          </a:xfrm>
          <a:solidFill>
            <a:srgbClr val="00677F"/>
          </a:solidFill>
        </p:grpSpPr>
        <p:sp>
          <p:nvSpPr>
            <p:cNvPr id="111" name="Google Shape;6778;p88"/>
            <p:cNvSpPr/>
            <p:nvPr/>
          </p:nvSpPr>
          <p:spPr>
            <a:xfrm>
              <a:off x="-33852625" y="3313925"/>
              <a:ext cx="128425" cy="49625"/>
            </a:xfrm>
            <a:custGeom>
              <a:rect l="l" t="t" r="r" b="b"/>
              <a:pathLst>
                <a:path w="5137" h="1985" extrusionOk="0">
                  <a:moveTo>
                    <a:pt x="473" y="0"/>
                  </a:moveTo>
                  <a:cubicBezTo>
                    <a:pt x="316" y="0"/>
                    <a:pt x="158" y="32"/>
                    <a:pt x="1" y="126"/>
                  </a:cubicBezTo>
                  <a:lnTo>
                    <a:pt x="2521" y="1985"/>
                  </a:lnTo>
                  <a:lnTo>
                    <a:pt x="5136" y="158"/>
                  </a:lnTo>
                  <a:cubicBezTo>
                    <a:pt x="4979" y="32"/>
                    <a:pt x="4790" y="0"/>
                    <a:pt x="4569" y="0"/>
                  </a:cubicBezTo>
                  <a:close/>
                </a:path>
              </a:pathLst>
            </a:custGeom>
            <a:grpFill/>
            <a:ln>
              <a:noFill/>
            </a:ln>
          </p:spPr>
          <p:txBody>
            <a:bodyPr spcFirstLastPara="1" wrap="square" lIns="91417" tIns="91417" rIns="91417" bIns="91417" anchor="ctr" anchorCtr="0">
              <a:noAutofit/>
            </a:bodyPr>
            <a:lstStyle/>
            <a:p>
              <a:endParaRPr sz="1400"/>
            </a:p>
          </p:txBody>
        </p:sp>
        <p:sp>
          <p:nvSpPr>
            <p:cNvPr id="112" name="Google Shape;6779;p88"/>
            <p:cNvSpPr/>
            <p:nvPr/>
          </p:nvSpPr>
          <p:spPr>
            <a:xfrm>
              <a:off x="-33866001" y="3328875"/>
              <a:ext cx="153600" cy="103200"/>
            </a:xfrm>
            <a:custGeom>
              <a:rect l="l" t="t" r="r" b="b"/>
              <a:pathLst>
                <a:path w="6144" h="4128" extrusionOk="0">
                  <a:moveTo>
                    <a:pt x="63" y="1"/>
                  </a:moveTo>
                  <a:cubicBezTo>
                    <a:pt x="32" y="127"/>
                    <a:pt x="0" y="284"/>
                    <a:pt x="0" y="379"/>
                  </a:cubicBezTo>
                  <a:lnTo>
                    <a:pt x="0" y="3120"/>
                  </a:lnTo>
                  <a:cubicBezTo>
                    <a:pt x="0" y="3655"/>
                    <a:pt x="473" y="4128"/>
                    <a:pt x="1040" y="4128"/>
                  </a:cubicBezTo>
                  <a:lnTo>
                    <a:pt x="5136" y="4128"/>
                  </a:lnTo>
                  <a:cubicBezTo>
                    <a:pt x="5671" y="4128"/>
                    <a:pt x="6144" y="3655"/>
                    <a:pt x="6144" y="3120"/>
                  </a:cubicBezTo>
                  <a:lnTo>
                    <a:pt x="6144" y="379"/>
                  </a:lnTo>
                  <a:cubicBezTo>
                    <a:pt x="6144" y="284"/>
                    <a:pt x="6112" y="190"/>
                    <a:pt x="6112" y="64"/>
                  </a:cubicBezTo>
                  <a:lnTo>
                    <a:pt x="3277" y="2048"/>
                  </a:lnTo>
                  <a:cubicBezTo>
                    <a:pt x="3214" y="2080"/>
                    <a:pt x="3151" y="2080"/>
                    <a:pt x="3056" y="2080"/>
                  </a:cubicBezTo>
                  <a:cubicBezTo>
                    <a:pt x="2993" y="2080"/>
                    <a:pt x="2962" y="2080"/>
                    <a:pt x="2867" y="2048"/>
                  </a:cubicBezTo>
                  <a:lnTo>
                    <a:pt x="63" y="1"/>
                  </a:lnTo>
                  <a:close/>
                </a:path>
              </a:pathLst>
            </a:custGeom>
            <a:grpFill/>
            <a:ln>
              <a:noFill/>
            </a:ln>
          </p:spPr>
          <p:txBody>
            <a:bodyPr spcFirstLastPara="1" wrap="square" lIns="91417" tIns="91417" rIns="91417" bIns="91417" anchor="ctr" anchorCtr="0">
              <a:noAutofit/>
            </a:bodyPr>
            <a:lstStyle/>
            <a:p>
              <a:endParaRPr sz="1400"/>
            </a:p>
          </p:txBody>
        </p:sp>
        <p:sp>
          <p:nvSpPr>
            <p:cNvPr id="113" name="Google Shape;6780;p88"/>
            <p:cNvSpPr/>
            <p:nvPr/>
          </p:nvSpPr>
          <p:spPr>
            <a:xfrm>
              <a:off x="-34003850" y="3279250"/>
              <a:ext cx="189050" cy="188275"/>
            </a:xfrm>
            <a:custGeom>
              <a:rect l="l" t="t" r="r" b="b"/>
              <a:pathLst>
                <a:path w="7562" h="7531" extrusionOk="0">
                  <a:moveTo>
                    <a:pt x="3781" y="2017"/>
                  </a:moveTo>
                  <a:cubicBezTo>
                    <a:pt x="3970" y="2017"/>
                    <a:pt x="4128" y="2175"/>
                    <a:pt x="4128" y="2364"/>
                  </a:cubicBezTo>
                  <a:cubicBezTo>
                    <a:pt x="4128" y="2584"/>
                    <a:pt x="3970" y="2742"/>
                    <a:pt x="3781" y="2742"/>
                  </a:cubicBezTo>
                  <a:lnTo>
                    <a:pt x="1702" y="2742"/>
                  </a:lnTo>
                  <a:cubicBezTo>
                    <a:pt x="1482" y="2742"/>
                    <a:pt x="1324" y="2584"/>
                    <a:pt x="1324" y="2364"/>
                  </a:cubicBezTo>
                  <a:cubicBezTo>
                    <a:pt x="1324" y="2175"/>
                    <a:pt x="1482" y="2017"/>
                    <a:pt x="1702" y="2017"/>
                  </a:cubicBezTo>
                  <a:close/>
                  <a:moveTo>
                    <a:pt x="3057" y="3403"/>
                  </a:moveTo>
                  <a:cubicBezTo>
                    <a:pt x="3277" y="3403"/>
                    <a:pt x="3435" y="3561"/>
                    <a:pt x="3435" y="3750"/>
                  </a:cubicBezTo>
                  <a:cubicBezTo>
                    <a:pt x="3466" y="3939"/>
                    <a:pt x="3277" y="4096"/>
                    <a:pt x="3057" y="4096"/>
                  </a:cubicBezTo>
                  <a:lnTo>
                    <a:pt x="1702" y="4096"/>
                  </a:lnTo>
                  <a:cubicBezTo>
                    <a:pt x="1482" y="4096"/>
                    <a:pt x="1324" y="3939"/>
                    <a:pt x="1324" y="3750"/>
                  </a:cubicBezTo>
                  <a:cubicBezTo>
                    <a:pt x="1324" y="3561"/>
                    <a:pt x="1482" y="3403"/>
                    <a:pt x="1702" y="3403"/>
                  </a:cubicBezTo>
                  <a:close/>
                  <a:moveTo>
                    <a:pt x="2395" y="4790"/>
                  </a:moveTo>
                  <a:cubicBezTo>
                    <a:pt x="2584" y="4790"/>
                    <a:pt x="2742" y="4947"/>
                    <a:pt x="2742" y="5136"/>
                  </a:cubicBezTo>
                  <a:cubicBezTo>
                    <a:pt x="2742" y="5325"/>
                    <a:pt x="2584" y="5483"/>
                    <a:pt x="2395" y="5483"/>
                  </a:cubicBezTo>
                  <a:lnTo>
                    <a:pt x="1702" y="5483"/>
                  </a:lnTo>
                  <a:cubicBezTo>
                    <a:pt x="1482" y="5483"/>
                    <a:pt x="1324" y="5325"/>
                    <a:pt x="1324" y="5136"/>
                  </a:cubicBezTo>
                  <a:cubicBezTo>
                    <a:pt x="1324" y="4947"/>
                    <a:pt x="1482" y="4790"/>
                    <a:pt x="1702" y="4790"/>
                  </a:cubicBezTo>
                  <a:close/>
                  <a:moveTo>
                    <a:pt x="1" y="1"/>
                  </a:moveTo>
                  <a:lnTo>
                    <a:pt x="1" y="7530"/>
                  </a:lnTo>
                  <a:lnTo>
                    <a:pt x="7562" y="7530"/>
                  </a:lnTo>
                  <a:lnTo>
                    <a:pt x="7562" y="6837"/>
                  </a:lnTo>
                  <a:lnTo>
                    <a:pt x="6522" y="6837"/>
                  </a:lnTo>
                  <a:cubicBezTo>
                    <a:pt x="5577" y="6837"/>
                    <a:pt x="4853" y="6081"/>
                    <a:pt x="4853" y="5136"/>
                  </a:cubicBezTo>
                  <a:lnTo>
                    <a:pt x="4853" y="2395"/>
                  </a:lnTo>
                  <a:cubicBezTo>
                    <a:pt x="4853" y="1450"/>
                    <a:pt x="5577" y="725"/>
                    <a:pt x="6522" y="725"/>
                  </a:cubicBezTo>
                  <a:lnTo>
                    <a:pt x="7562" y="725"/>
                  </a:lnTo>
                  <a:lnTo>
                    <a:pt x="7562" y="1"/>
                  </a:lnTo>
                  <a:close/>
                </a:path>
              </a:pathLst>
            </a:custGeom>
            <a:grpFill/>
            <a:ln>
              <a:noFill/>
            </a:ln>
          </p:spPr>
          <p:txBody>
            <a:bodyPr spcFirstLastPara="1" wrap="square" lIns="91417" tIns="91417" rIns="91417" bIns="91417" anchor="ctr" anchorCtr="0">
              <a:noAutofit/>
            </a:bodyPr>
            <a:lstStyle/>
            <a:p>
              <a:endParaRPr sz="1400"/>
            </a:p>
          </p:txBody>
        </p:sp>
        <p:sp>
          <p:nvSpPr>
            <p:cNvPr id="114" name="Google Shape;6781;p88"/>
            <p:cNvSpPr/>
            <p:nvPr/>
          </p:nvSpPr>
          <p:spPr>
            <a:xfrm>
              <a:off x="-34003850" y="3227275"/>
              <a:ext cx="189050" cy="34675"/>
            </a:xfrm>
            <a:custGeom>
              <a:rect l="l" t="t" r="r" b="b"/>
              <a:pathLst>
                <a:path w="7562" h="1387" extrusionOk="0">
                  <a:moveTo>
                    <a:pt x="1009" y="1"/>
                  </a:moveTo>
                  <a:cubicBezTo>
                    <a:pt x="473" y="1"/>
                    <a:pt x="1" y="473"/>
                    <a:pt x="1" y="1040"/>
                  </a:cubicBezTo>
                  <a:lnTo>
                    <a:pt x="1" y="1387"/>
                  </a:lnTo>
                  <a:lnTo>
                    <a:pt x="7562" y="1387"/>
                  </a:lnTo>
                  <a:lnTo>
                    <a:pt x="7562" y="1040"/>
                  </a:lnTo>
                  <a:cubicBezTo>
                    <a:pt x="7562" y="473"/>
                    <a:pt x="7089" y="1"/>
                    <a:pt x="6522" y="1"/>
                  </a:cubicBezTo>
                  <a:close/>
                </a:path>
              </a:pathLst>
            </a:custGeom>
            <a:grpFill/>
            <a:ln>
              <a:noFill/>
            </a:ln>
          </p:spPr>
          <p:txBody>
            <a:bodyPr spcFirstLastPara="1" wrap="square" lIns="91417" tIns="91417" rIns="91417" bIns="91417" anchor="ctr" anchorCtr="0">
              <a:noAutofit/>
            </a:bodyPr>
            <a:lstStyle/>
            <a:p>
              <a:endParaRPr sz="1400"/>
            </a:p>
          </p:txBody>
        </p:sp>
        <p:sp>
          <p:nvSpPr>
            <p:cNvPr id="115" name="Google Shape;6782;p88"/>
            <p:cNvSpPr/>
            <p:nvPr/>
          </p:nvSpPr>
          <p:spPr>
            <a:xfrm>
              <a:off x="-34003850" y="3484050"/>
              <a:ext cx="189050" cy="34675"/>
            </a:xfrm>
            <a:custGeom>
              <a:rect l="l" t="t" r="r" b="b"/>
              <a:pathLst>
                <a:path w="7562" h="1387" extrusionOk="0">
                  <a:moveTo>
                    <a:pt x="1" y="0"/>
                  </a:moveTo>
                  <a:lnTo>
                    <a:pt x="1" y="347"/>
                  </a:lnTo>
                  <a:cubicBezTo>
                    <a:pt x="1" y="945"/>
                    <a:pt x="442" y="1386"/>
                    <a:pt x="1009" y="1386"/>
                  </a:cubicBezTo>
                  <a:lnTo>
                    <a:pt x="6522" y="1386"/>
                  </a:lnTo>
                  <a:cubicBezTo>
                    <a:pt x="7089" y="1386"/>
                    <a:pt x="7562" y="914"/>
                    <a:pt x="7562" y="347"/>
                  </a:cubicBezTo>
                  <a:lnTo>
                    <a:pt x="7562" y="0"/>
                  </a:lnTo>
                  <a:close/>
                </a:path>
              </a:pathLst>
            </a:custGeom>
            <a:grpFill/>
            <a:ln>
              <a:noFill/>
            </a:ln>
          </p:spPr>
          <p:txBody>
            <a:bodyPr spcFirstLastPara="1" wrap="square" lIns="91417" tIns="91417" rIns="91417" bIns="91417" anchor="ctr" anchorCtr="0">
              <a:noAutofit/>
            </a:bodyPr>
            <a:lstStyle/>
            <a:p>
              <a:endParaRPr sz="1400"/>
            </a:p>
          </p:txBody>
        </p:sp>
      </p:grpSp>
      <p:grpSp>
        <p:nvGrpSpPr>
          <p:cNvPr id="160" name="Google Shape;6827;p88"/>
          <p:cNvGrpSpPr/>
          <p:nvPr/>
        </p:nvGrpSpPr>
        <p:grpSpPr>
          <a:xfrm>
            <a:off x="8926343" y="1222001"/>
            <a:ext cx="607000" cy="598863"/>
            <a:chOff x="-33645475" y="3228075"/>
            <a:chExt cx="294600" cy="290650"/>
          </a:xfrm>
          <a:solidFill>
            <a:srgbClr val="00677F"/>
          </a:solidFill>
        </p:grpSpPr>
        <p:sp>
          <p:nvSpPr>
            <p:cNvPr id="161" name="Google Shape;6828;p88"/>
            <p:cNvSpPr/>
            <p:nvPr/>
          </p:nvSpPr>
          <p:spPr>
            <a:xfrm>
              <a:off x="-33456451" y="3261925"/>
              <a:ext cx="84300" cy="85100"/>
            </a:xfrm>
            <a:custGeom>
              <a:rect l="l" t="t" r="r" b="b"/>
              <a:pathLst>
                <a:path w="3372" h="3404" extrusionOk="0">
                  <a:moveTo>
                    <a:pt x="347" y="1"/>
                  </a:moveTo>
                  <a:cubicBezTo>
                    <a:pt x="158" y="1"/>
                    <a:pt x="1" y="158"/>
                    <a:pt x="1" y="347"/>
                  </a:cubicBezTo>
                  <a:cubicBezTo>
                    <a:pt x="1" y="536"/>
                    <a:pt x="158" y="694"/>
                    <a:pt x="347" y="694"/>
                  </a:cubicBezTo>
                  <a:lnTo>
                    <a:pt x="1009" y="694"/>
                  </a:lnTo>
                  <a:cubicBezTo>
                    <a:pt x="1576" y="694"/>
                    <a:pt x="2049" y="1166"/>
                    <a:pt x="2049" y="1733"/>
                  </a:cubicBezTo>
                  <a:lnTo>
                    <a:pt x="2049" y="2269"/>
                  </a:lnTo>
                  <a:lnTo>
                    <a:pt x="1923" y="2175"/>
                  </a:lnTo>
                  <a:cubicBezTo>
                    <a:pt x="1860" y="2112"/>
                    <a:pt x="1773" y="2080"/>
                    <a:pt x="1686" y="2080"/>
                  </a:cubicBezTo>
                  <a:cubicBezTo>
                    <a:pt x="1600" y="2080"/>
                    <a:pt x="1513" y="2112"/>
                    <a:pt x="1450" y="2175"/>
                  </a:cubicBezTo>
                  <a:cubicBezTo>
                    <a:pt x="1324" y="2269"/>
                    <a:pt x="1324" y="2521"/>
                    <a:pt x="1450" y="2647"/>
                  </a:cubicBezTo>
                  <a:lnTo>
                    <a:pt x="2112" y="3309"/>
                  </a:lnTo>
                  <a:cubicBezTo>
                    <a:pt x="2175" y="3372"/>
                    <a:pt x="2269" y="3403"/>
                    <a:pt x="2360" y="3403"/>
                  </a:cubicBezTo>
                  <a:cubicBezTo>
                    <a:pt x="2450" y="3403"/>
                    <a:pt x="2537" y="3372"/>
                    <a:pt x="2584" y="3309"/>
                  </a:cubicBezTo>
                  <a:lnTo>
                    <a:pt x="3277" y="2647"/>
                  </a:lnTo>
                  <a:cubicBezTo>
                    <a:pt x="3372" y="2521"/>
                    <a:pt x="3372" y="2269"/>
                    <a:pt x="3277" y="2175"/>
                  </a:cubicBezTo>
                  <a:cubicBezTo>
                    <a:pt x="3214" y="2112"/>
                    <a:pt x="3120" y="2080"/>
                    <a:pt x="3029" y="2080"/>
                  </a:cubicBezTo>
                  <a:cubicBezTo>
                    <a:pt x="2939" y="2080"/>
                    <a:pt x="2852" y="2112"/>
                    <a:pt x="2805" y="2175"/>
                  </a:cubicBezTo>
                  <a:lnTo>
                    <a:pt x="2679" y="2269"/>
                  </a:lnTo>
                  <a:lnTo>
                    <a:pt x="2679" y="1733"/>
                  </a:lnTo>
                  <a:cubicBezTo>
                    <a:pt x="2742" y="788"/>
                    <a:pt x="1954" y="1"/>
                    <a:pt x="1009" y="1"/>
                  </a:cubicBezTo>
                  <a:close/>
                </a:path>
              </a:pathLst>
            </a:custGeom>
            <a:grpFill/>
            <a:ln>
              <a:noFill/>
            </a:ln>
          </p:spPr>
          <p:txBody>
            <a:bodyPr spcFirstLastPara="1" wrap="square" lIns="91417" tIns="91417" rIns="91417" bIns="91417" anchor="ctr" anchorCtr="0">
              <a:noAutofit/>
            </a:bodyPr>
            <a:lstStyle/>
            <a:p>
              <a:endParaRPr sz="1400"/>
            </a:p>
          </p:txBody>
        </p:sp>
        <p:sp>
          <p:nvSpPr>
            <p:cNvPr id="162" name="Google Shape;6829;p88"/>
            <p:cNvSpPr/>
            <p:nvPr/>
          </p:nvSpPr>
          <p:spPr>
            <a:xfrm>
              <a:off x="-33575374" y="3433625"/>
              <a:ext cx="85075" cy="85100"/>
            </a:xfrm>
            <a:custGeom>
              <a:rect l="l" t="t" r="r" b="b"/>
              <a:pathLst>
                <a:path w="3403" h="3404" extrusionOk="0">
                  <a:moveTo>
                    <a:pt x="1013" y="1"/>
                  </a:moveTo>
                  <a:cubicBezTo>
                    <a:pt x="922" y="1"/>
                    <a:pt x="835" y="32"/>
                    <a:pt x="788" y="95"/>
                  </a:cubicBezTo>
                  <a:lnTo>
                    <a:pt x="127" y="757"/>
                  </a:lnTo>
                  <a:cubicBezTo>
                    <a:pt x="1" y="883"/>
                    <a:pt x="1" y="1135"/>
                    <a:pt x="127" y="1229"/>
                  </a:cubicBezTo>
                  <a:cubicBezTo>
                    <a:pt x="174" y="1292"/>
                    <a:pt x="260" y="1324"/>
                    <a:pt x="351" y="1324"/>
                  </a:cubicBezTo>
                  <a:cubicBezTo>
                    <a:pt x="442" y="1324"/>
                    <a:pt x="536" y="1292"/>
                    <a:pt x="599" y="1229"/>
                  </a:cubicBezTo>
                  <a:lnTo>
                    <a:pt x="694" y="1135"/>
                  </a:lnTo>
                  <a:lnTo>
                    <a:pt x="694" y="1671"/>
                  </a:lnTo>
                  <a:cubicBezTo>
                    <a:pt x="694" y="2616"/>
                    <a:pt x="1450" y="3372"/>
                    <a:pt x="2395" y="3372"/>
                  </a:cubicBezTo>
                  <a:lnTo>
                    <a:pt x="3057" y="3372"/>
                  </a:lnTo>
                  <a:lnTo>
                    <a:pt x="3057" y="3403"/>
                  </a:lnTo>
                  <a:cubicBezTo>
                    <a:pt x="3246" y="3403"/>
                    <a:pt x="3403" y="3246"/>
                    <a:pt x="3403" y="3057"/>
                  </a:cubicBezTo>
                  <a:cubicBezTo>
                    <a:pt x="3403" y="2868"/>
                    <a:pt x="3246" y="2710"/>
                    <a:pt x="3057" y="2710"/>
                  </a:cubicBezTo>
                  <a:lnTo>
                    <a:pt x="2363" y="2710"/>
                  </a:lnTo>
                  <a:cubicBezTo>
                    <a:pt x="1796" y="2710"/>
                    <a:pt x="1324" y="2238"/>
                    <a:pt x="1324" y="1671"/>
                  </a:cubicBezTo>
                  <a:lnTo>
                    <a:pt x="1324" y="1135"/>
                  </a:lnTo>
                  <a:lnTo>
                    <a:pt x="1450" y="1229"/>
                  </a:lnTo>
                  <a:cubicBezTo>
                    <a:pt x="1513" y="1292"/>
                    <a:pt x="1599" y="1324"/>
                    <a:pt x="1686" y="1324"/>
                  </a:cubicBezTo>
                  <a:cubicBezTo>
                    <a:pt x="1773" y="1324"/>
                    <a:pt x="1859" y="1292"/>
                    <a:pt x="1922" y="1229"/>
                  </a:cubicBezTo>
                  <a:cubicBezTo>
                    <a:pt x="2048" y="1135"/>
                    <a:pt x="2048" y="883"/>
                    <a:pt x="1922" y="757"/>
                  </a:cubicBezTo>
                  <a:lnTo>
                    <a:pt x="1261" y="95"/>
                  </a:lnTo>
                  <a:cubicBezTo>
                    <a:pt x="1198" y="32"/>
                    <a:pt x="1103" y="1"/>
                    <a:pt x="1013" y="1"/>
                  </a:cubicBezTo>
                  <a:close/>
                </a:path>
              </a:pathLst>
            </a:custGeom>
            <a:grpFill/>
            <a:ln>
              <a:noFill/>
            </a:ln>
          </p:spPr>
          <p:txBody>
            <a:bodyPr spcFirstLastPara="1" wrap="square" lIns="91417" tIns="91417" rIns="91417" bIns="91417" anchor="ctr" anchorCtr="0">
              <a:noAutofit/>
            </a:bodyPr>
            <a:lstStyle/>
            <a:p>
              <a:endParaRPr sz="1400"/>
            </a:p>
          </p:txBody>
        </p:sp>
        <p:sp>
          <p:nvSpPr>
            <p:cNvPr id="163" name="Google Shape;6830;p88"/>
            <p:cNvSpPr/>
            <p:nvPr/>
          </p:nvSpPr>
          <p:spPr>
            <a:xfrm>
              <a:off x="-33645475" y="3228075"/>
              <a:ext cx="206375" cy="153600"/>
            </a:xfrm>
            <a:custGeom>
              <a:rect l="l" t="t" r="r" b="b"/>
              <a:pathLst>
                <a:path w="8255" h="6144" extrusionOk="0">
                  <a:moveTo>
                    <a:pt x="4191" y="0"/>
                  </a:moveTo>
                  <a:cubicBezTo>
                    <a:pt x="2300" y="0"/>
                    <a:pt x="757" y="1544"/>
                    <a:pt x="757" y="3434"/>
                  </a:cubicBezTo>
                  <a:lnTo>
                    <a:pt x="757" y="3529"/>
                  </a:lnTo>
                  <a:cubicBezTo>
                    <a:pt x="347" y="3686"/>
                    <a:pt x="95" y="4033"/>
                    <a:pt x="95" y="4474"/>
                  </a:cubicBezTo>
                  <a:lnTo>
                    <a:pt x="95" y="5135"/>
                  </a:lnTo>
                  <a:cubicBezTo>
                    <a:pt x="1" y="5671"/>
                    <a:pt x="473" y="6143"/>
                    <a:pt x="1009" y="6143"/>
                  </a:cubicBezTo>
                  <a:cubicBezTo>
                    <a:pt x="1135" y="6143"/>
                    <a:pt x="1261" y="6112"/>
                    <a:pt x="1387" y="6080"/>
                  </a:cubicBezTo>
                  <a:lnTo>
                    <a:pt x="1387" y="3403"/>
                  </a:lnTo>
                  <a:cubicBezTo>
                    <a:pt x="1387" y="1890"/>
                    <a:pt x="2647" y="630"/>
                    <a:pt x="4128" y="630"/>
                  </a:cubicBezTo>
                  <a:cubicBezTo>
                    <a:pt x="5640" y="630"/>
                    <a:pt x="6900" y="1890"/>
                    <a:pt x="6900" y="3403"/>
                  </a:cubicBezTo>
                  <a:lnTo>
                    <a:pt x="6900" y="6080"/>
                  </a:lnTo>
                  <a:cubicBezTo>
                    <a:pt x="6995" y="6112"/>
                    <a:pt x="7121" y="6143"/>
                    <a:pt x="7247" y="6143"/>
                  </a:cubicBezTo>
                  <a:cubicBezTo>
                    <a:pt x="7782" y="6143"/>
                    <a:pt x="8255" y="5671"/>
                    <a:pt x="8255" y="5135"/>
                  </a:cubicBezTo>
                  <a:lnTo>
                    <a:pt x="8255" y="4474"/>
                  </a:lnTo>
                  <a:cubicBezTo>
                    <a:pt x="8255" y="4033"/>
                    <a:pt x="8003" y="3623"/>
                    <a:pt x="7593" y="3529"/>
                  </a:cubicBezTo>
                  <a:lnTo>
                    <a:pt x="7593" y="3434"/>
                  </a:lnTo>
                  <a:cubicBezTo>
                    <a:pt x="7593" y="1544"/>
                    <a:pt x="6050" y="0"/>
                    <a:pt x="4191" y="0"/>
                  </a:cubicBezTo>
                  <a:close/>
                </a:path>
              </a:pathLst>
            </a:custGeom>
            <a:grpFill/>
            <a:ln>
              <a:noFill/>
            </a:ln>
          </p:spPr>
          <p:txBody>
            <a:bodyPr spcFirstLastPara="1" wrap="square" lIns="91417" tIns="91417" rIns="91417" bIns="91417" anchor="ctr" anchorCtr="0">
              <a:noAutofit/>
            </a:bodyPr>
            <a:lstStyle/>
            <a:p>
              <a:endParaRPr sz="1400"/>
            </a:p>
          </p:txBody>
        </p:sp>
        <p:sp>
          <p:nvSpPr>
            <p:cNvPr id="164" name="Google Shape;6831;p88"/>
            <p:cNvSpPr/>
            <p:nvPr/>
          </p:nvSpPr>
          <p:spPr>
            <a:xfrm>
              <a:off x="-33593500" y="3279250"/>
              <a:ext cx="104775" cy="52275"/>
            </a:xfrm>
            <a:custGeom>
              <a:rect l="l" t="t" r="r" b="b"/>
              <a:pathLst>
                <a:path w="4191" h="2091" extrusionOk="0">
                  <a:moveTo>
                    <a:pt x="1734" y="1"/>
                  </a:moveTo>
                  <a:cubicBezTo>
                    <a:pt x="789" y="1"/>
                    <a:pt x="1" y="757"/>
                    <a:pt x="1" y="1702"/>
                  </a:cubicBezTo>
                  <a:lnTo>
                    <a:pt x="1" y="2049"/>
                  </a:lnTo>
                  <a:lnTo>
                    <a:pt x="1230" y="2049"/>
                  </a:lnTo>
                  <a:cubicBezTo>
                    <a:pt x="1545" y="2049"/>
                    <a:pt x="1891" y="2049"/>
                    <a:pt x="2017" y="1986"/>
                  </a:cubicBezTo>
                  <a:cubicBezTo>
                    <a:pt x="2049" y="1954"/>
                    <a:pt x="2080" y="1828"/>
                    <a:pt x="2080" y="1734"/>
                  </a:cubicBezTo>
                  <a:cubicBezTo>
                    <a:pt x="2080" y="1545"/>
                    <a:pt x="2238" y="1387"/>
                    <a:pt x="2458" y="1387"/>
                  </a:cubicBezTo>
                  <a:cubicBezTo>
                    <a:pt x="2647" y="1387"/>
                    <a:pt x="2805" y="1545"/>
                    <a:pt x="2805" y="1734"/>
                  </a:cubicBezTo>
                  <a:cubicBezTo>
                    <a:pt x="2805" y="1828"/>
                    <a:pt x="2805" y="1954"/>
                    <a:pt x="2868" y="1986"/>
                  </a:cubicBezTo>
                  <a:cubicBezTo>
                    <a:pt x="2942" y="2059"/>
                    <a:pt x="3091" y="2090"/>
                    <a:pt x="3266" y="2090"/>
                  </a:cubicBezTo>
                  <a:cubicBezTo>
                    <a:pt x="3389" y="2090"/>
                    <a:pt x="3525" y="2075"/>
                    <a:pt x="3656" y="2049"/>
                  </a:cubicBezTo>
                  <a:lnTo>
                    <a:pt x="4191" y="2049"/>
                  </a:lnTo>
                  <a:lnTo>
                    <a:pt x="4191" y="1702"/>
                  </a:lnTo>
                  <a:lnTo>
                    <a:pt x="4128" y="1702"/>
                  </a:lnTo>
                  <a:cubicBezTo>
                    <a:pt x="4128" y="757"/>
                    <a:pt x="3340" y="1"/>
                    <a:pt x="2395" y="1"/>
                  </a:cubicBezTo>
                  <a:close/>
                </a:path>
              </a:pathLst>
            </a:custGeom>
            <a:grpFill/>
            <a:ln>
              <a:noFill/>
            </a:ln>
          </p:spPr>
          <p:txBody>
            <a:bodyPr spcFirstLastPara="1" wrap="square" lIns="91417" tIns="91417" rIns="91417" bIns="91417" anchor="ctr" anchorCtr="0">
              <a:noAutofit/>
            </a:bodyPr>
            <a:lstStyle/>
            <a:p>
              <a:endParaRPr sz="1400"/>
            </a:p>
          </p:txBody>
        </p:sp>
        <p:sp>
          <p:nvSpPr>
            <p:cNvPr id="165" name="Google Shape;6832;p88"/>
            <p:cNvSpPr/>
            <p:nvPr/>
          </p:nvSpPr>
          <p:spPr>
            <a:xfrm>
              <a:off x="-33593500" y="3341475"/>
              <a:ext cx="104775" cy="74075"/>
            </a:xfrm>
            <a:custGeom>
              <a:rect l="l" t="t" r="r" b="b"/>
              <a:pathLst>
                <a:path w="4191" h="2963" extrusionOk="0">
                  <a:moveTo>
                    <a:pt x="2395" y="1"/>
                  </a:moveTo>
                  <a:cubicBezTo>
                    <a:pt x="2080" y="253"/>
                    <a:pt x="1671" y="253"/>
                    <a:pt x="1230" y="253"/>
                  </a:cubicBezTo>
                  <a:lnTo>
                    <a:pt x="1" y="253"/>
                  </a:lnTo>
                  <a:lnTo>
                    <a:pt x="1" y="914"/>
                  </a:lnTo>
                  <a:cubicBezTo>
                    <a:pt x="1" y="2049"/>
                    <a:pt x="946" y="2962"/>
                    <a:pt x="2112" y="2962"/>
                  </a:cubicBezTo>
                  <a:cubicBezTo>
                    <a:pt x="3246" y="2962"/>
                    <a:pt x="4191" y="2049"/>
                    <a:pt x="4191" y="914"/>
                  </a:cubicBezTo>
                  <a:lnTo>
                    <a:pt x="4191" y="253"/>
                  </a:lnTo>
                  <a:lnTo>
                    <a:pt x="3466" y="253"/>
                  </a:lnTo>
                  <a:cubicBezTo>
                    <a:pt x="3088" y="253"/>
                    <a:pt x="2679" y="190"/>
                    <a:pt x="2395" y="1"/>
                  </a:cubicBezTo>
                  <a:close/>
                </a:path>
              </a:pathLst>
            </a:custGeom>
            <a:grpFill/>
            <a:ln>
              <a:noFill/>
            </a:ln>
          </p:spPr>
          <p:txBody>
            <a:bodyPr spcFirstLastPara="1" wrap="square" lIns="91417" tIns="91417" rIns="91417" bIns="91417" anchor="ctr" anchorCtr="0">
              <a:noAutofit/>
            </a:bodyPr>
            <a:lstStyle/>
            <a:p>
              <a:endParaRPr sz="1400"/>
            </a:p>
          </p:txBody>
        </p:sp>
        <p:sp>
          <p:nvSpPr>
            <p:cNvPr id="166" name="Google Shape;6833;p88"/>
            <p:cNvSpPr/>
            <p:nvPr/>
          </p:nvSpPr>
          <p:spPr>
            <a:xfrm>
              <a:off x="-33455651" y="3381650"/>
              <a:ext cx="104775" cy="52250"/>
            </a:xfrm>
            <a:custGeom>
              <a:rect l="l" t="t" r="r" b="b"/>
              <a:pathLst>
                <a:path w="4191" h="2090" extrusionOk="0">
                  <a:moveTo>
                    <a:pt x="1702" y="0"/>
                  </a:moveTo>
                  <a:cubicBezTo>
                    <a:pt x="756" y="0"/>
                    <a:pt x="0" y="757"/>
                    <a:pt x="0" y="1702"/>
                  </a:cubicBezTo>
                  <a:lnTo>
                    <a:pt x="0" y="2048"/>
                  </a:lnTo>
                  <a:lnTo>
                    <a:pt x="1229" y="2048"/>
                  </a:lnTo>
                  <a:cubicBezTo>
                    <a:pt x="1544" y="2048"/>
                    <a:pt x="1891" y="2048"/>
                    <a:pt x="2017" y="1985"/>
                  </a:cubicBezTo>
                  <a:cubicBezTo>
                    <a:pt x="2048" y="1954"/>
                    <a:pt x="2080" y="1828"/>
                    <a:pt x="2080" y="1733"/>
                  </a:cubicBezTo>
                  <a:cubicBezTo>
                    <a:pt x="2080" y="1544"/>
                    <a:pt x="2237" y="1387"/>
                    <a:pt x="2458" y="1387"/>
                  </a:cubicBezTo>
                  <a:cubicBezTo>
                    <a:pt x="2647" y="1387"/>
                    <a:pt x="2804" y="1544"/>
                    <a:pt x="2804" y="1733"/>
                  </a:cubicBezTo>
                  <a:cubicBezTo>
                    <a:pt x="2804" y="1828"/>
                    <a:pt x="2804" y="1954"/>
                    <a:pt x="2867" y="1985"/>
                  </a:cubicBezTo>
                  <a:cubicBezTo>
                    <a:pt x="2941" y="2059"/>
                    <a:pt x="3091" y="2090"/>
                    <a:pt x="3265" y="2090"/>
                  </a:cubicBezTo>
                  <a:cubicBezTo>
                    <a:pt x="3388" y="2090"/>
                    <a:pt x="3524" y="2074"/>
                    <a:pt x="3655" y="2048"/>
                  </a:cubicBezTo>
                  <a:lnTo>
                    <a:pt x="4190" y="2048"/>
                  </a:lnTo>
                  <a:lnTo>
                    <a:pt x="4190" y="1702"/>
                  </a:lnTo>
                  <a:cubicBezTo>
                    <a:pt x="4096" y="757"/>
                    <a:pt x="3308" y="0"/>
                    <a:pt x="2363" y="0"/>
                  </a:cubicBezTo>
                  <a:close/>
                </a:path>
              </a:pathLst>
            </a:custGeom>
            <a:grpFill/>
            <a:ln>
              <a:noFill/>
            </a:ln>
          </p:spPr>
          <p:txBody>
            <a:bodyPr spcFirstLastPara="1" wrap="square" lIns="91417" tIns="91417" rIns="91417" bIns="91417" anchor="ctr" anchorCtr="0">
              <a:noAutofit/>
            </a:bodyPr>
            <a:lstStyle/>
            <a:p>
              <a:endParaRPr sz="1400"/>
            </a:p>
          </p:txBody>
        </p:sp>
        <p:sp>
          <p:nvSpPr>
            <p:cNvPr id="167" name="Google Shape;6834;p88"/>
            <p:cNvSpPr/>
            <p:nvPr/>
          </p:nvSpPr>
          <p:spPr>
            <a:xfrm>
              <a:off x="-33456451" y="3443875"/>
              <a:ext cx="102425" cy="74850"/>
            </a:xfrm>
            <a:custGeom>
              <a:rect l="l" t="t" r="r" b="b"/>
              <a:pathLst>
                <a:path w="4097" h="2994" extrusionOk="0">
                  <a:moveTo>
                    <a:pt x="2395" y="0"/>
                  </a:moveTo>
                  <a:cubicBezTo>
                    <a:pt x="2080" y="252"/>
                    <a:pt x="1639" y="252"/>
                    <a:pt x="1230" y="252"/>
                  </a:cubicBezTo>
                  <a:lnTo>
                    <a:pt x="1" y="252"/>
                  </a:lnTo>
                  <a:lnTo>
                    <a:pt x="1" y="914"/>
                  </a:lnTo>
                  <a:cubicBezTo>
                    <a:pt x="1" y="2048"/>
                    <a:pt x="914" y="2993"/>
                    <a:pt x="2049" y="2993"/>
                  </a:cubicBezTo>
                  <a:cubicBezTo>
                    <a:pt x="3183" y="2993"/>
                    <a:pt x="4096" y="2048"/>
                    <a:pt x="4096" y="914"/>
                  </a:cubicBezTo>
                  <a:lnTo>
                    <a:pt x="4096" y="252"/>
                  </a:lnTo>
                  <a:lnTo>
                    <a:pt x="3435" y="252"/>
                  </a:lnTo>
                  <a:cubicBezTo>
                    <a:pt x="3025" y="252"/>
                    <a:pt x="2679" y="189"/>
                    <a:pt x="2395" y="0"/>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206" name="Google Shape;6873;p88"/>
          <p:cNvGrpSpPr/>
          <p:nvPr/>
        </p:nvGrpSpPr>
        <p:grpSpPr>
          <a:xfrm>
            <a:off x="5860181" y="1222713"/>
            <a:ext cx="580987" cy="600511"/>
            <a:chOff x="-35118325" y="3202075"/>
            <a:chExt cx="281975" cy="291450"/>
          </a:xfrm>
          <a:solidFill>
            <a:srgbClr val="00677F"/>
          </a:solidFill>
        </p:grpSpPr>
        <p:sp>
          <p:nvSpPr>
            <p:cNvPr id="207" name="Google Shape;6874;p88"/>
            <p:cNvSpPr/>
            <p:nvPr/>
          </p:nvSpPr>
          <p:spPr>
            <a:xfrm>
              <a:off x="-35008049" y="3202075"/>
              <a:ext cx="171700" cy="171250"/>
            </a:xfrm>
            <a:custGeom>
              <a:rect l="l" t="t" r="r" b="b"/>
              <a:pathLst>
                <a:path w="6867" h="6850" extrusionOk="0">
                  <a:moveTo>
                    <a:pt x="3466" y="1355"/>
                  </a:moveTo>
                  <a:cubicBezTo>
                    <a:pt x="4222" y="1355"/>
                    <a:pt x="4852" y="1985"/>
                    <a:pt x="4852" y="2741"/>
                  </a:cubicBezTo>
                  <a:lnTo>
                    <a:pt x="4852" y="4127"/>
                  </a:lnTo>
                  <a:cubicBezTo>
                    <a:pt x="4852" y="4348"/>
                    <a:pt x="4757" y="4600"/>
                    <a:pt x="4631" y="4821"/>
                  </a:cubicBezTo>
                  <a:lnTo>
                    <a:pt x="4726" y="4915"/>
                  </a:lnTo>
                  <a:cubicBezTo>
                    <a:pt x="4852" y="5041"/>
                    <a:pt x="4852" y="5262"/>
                    <a:pt x="4726" y="5388"/>
                  </a:cubicBezTo>
                  <a:cubicBezTo>
                    <a:pt x="4663" y="5451"/>
                    <a:pt x="4576" y="5482"/>
                    <a:pt x="4489" y="5482"/>
                  </a:cubicBezTo>
                  <a:cubicBezTo>
                    <a:pt x="4403" y="5482"/>
                    <a:pt x="4316" y="5451"/>
                    <a:pt x="4253" y="5388"/>
                  </a:cubicBezTo>
                  <a:lnTo>
                    <a:pt x="4190" y="5293"/>
                  </a:lnTo>
                  <a:cubicBezTo>
                    <a:pt x="3970" y="5419"/>
                    <a:pt x="3749" y="5514"/>
                    <a:pt x="3466" y="5514"/>
                  </a:cubicBezTo>
                  <a:cubicBezTo>
                    <a:pt x="2709" y="5514"/>
                    <a:pt x="2079" y="4884"/>
                    <a:pt x="2079" y="4127"/>
                  </a:cubicBezTo>
                  <a:lnTo>
                    <a:pt x="2079" y="2741"/>
                  </a:lnTo>
                  <a:cubicBezTo>
                    <a:pt x="2079" y="1985"/>
                    <a:pt x="2709" y="1355"/>
                    <a:pt x="3466" y="1355"/>
                  </a:cubicBezTo>
                  <a:close/>
                  <a:moveTo>
                    <a:pt x="3466" y="0"/>
                  </a:moveTo>
                  <a:cubicBezTo>
                    <a:pt x="1575" y="0"/>
                    <a:pt x="32" y="1576"/>
                    <a:pt x="32" y="3403"/>
                  </a:cubicBezTo>
                  <a:cubicBezTo>
                    <a:pt x="32" y="4001"/>
                    <a:pt x="189" y="4569"/>
                    <a:pt x="473" y="5104"/>
                  </a:cubicBezTo>
                  <a:lnTo>
                    <a:pt x="32" y="6396"/>
                  </a:lnTo>
                  <a:cubicBezTo>
                    <a:pt x="0" y="6522"/>
                    <a:pt x="32" y="6679"/>
                    <a:pt x="126" y="6774"/>
                  </a:cubicBezTo>
                  <a:cubicBezTo>
                    <a:pt x="172" y="6820"/>
                    <a:pt x="269" y="6849"/>
                    <a:pt x="367" y="6849"/>
                  </a:cubicBezTo>
                  <a:cubicBezTo>
                    <a:pt x="403" y="6849"/>
                    <a:pt x="439" y="6845"/>
                    <a:pt x="473" y="6837"/>
                  </a:cubicBezTo>
                  <a:lnTo>
                    <a:pt x="1764" y="6396"/>
                  </a:lnTo>
                  <a:cubicBezTo>
                    <a:pt x="2300" y="6679"/>
                    <a:pt x="2867" y="6837"/>
                    <a:pt x="3466" y="6837"/>
                  </a:cubicBezTo>
                  <a:cubicBezTo>
                    <a:pt x="5356" y="6837"/>
                    <a:pt x="6868" y="5293"/>
                    <a:pt x="6868" y="3403"/>
                  </a:cubicBezTo>
                  <a:cubicBezTo>
                    <a:pt x="6868" y="1513"/>
                    <a:pt x="5356" y="0"/>
                    <a:pt x="3466" y="0"/>
                  </a:cubicBezTo>
                  <a:close/>
                </a:path>
              </a:pathLst>
            </a:custGeom>
            <a:grpFill/>
            <a:ln>
              <a:noFill/>
            </a:ln>
          </p:spPr>
          <p:txBody>
            <a:bodyPr spcFirstLastPara="1" wrap="square" lIns="91417" tIns="91417" rIns="91417" bIns="91417" anchor="ctr" anchorCtr="0">
              <a:noAutofit/>
            </a:bodyPr>
            <a:lstStyle/>
            <a:p>
              <a:endParaRPr sz="1400"/>
            </a:p>
          </p:txBody>
        </p:sp>
        <p:sp>
          <p:nvSpPr>
            <p:cNvPr id="208" name="Google Shape;6875;p88"/>
            <p:cNvSpPr/>
            <p:nvPr/>
          </p:nvSpPr>
          <p:spPr>
            <a:xfrm>
              <a:off x="-34937976" y="3254050"/>
              <a:ext cx="33125" cy="67775"/>
            </a:xfrm>
            <a:custGeom>
              <a:rect l="l" t="t" r="r" b="b"/>
              <a:pathLst>
                <a:path w="1325" h="2711" extrusionOk="0">
                  <a:moveTo>
                    <a:pt x="663" y="1"/>
                  </a:moveTo>
                  <a:cubicBezTo>
                    <a:pt x="253" y="1"/>
                    <a:pt x="1" y="316"/>
                    <a:pt x="1" y="662"/>
                  </a:cubicBezTo>
                  <a:lnTo>
                    <a:pt x="1" y="2048"/>
                  </a:lnTo>
                  <a:cubicBezTo>
                    <a:pt x="1" y="2427"/>
                    <a:pt x="316" y="2710"/>
                    <a:pt x="663" y="2710"/>
                  </a:cubicBezTo>
                  <a:cubicBezTo>
                    <a:pt x="694" y="2710"/>
                    <a:pt x="789" y="2710"/>
                    <a:pt x="820" y="2679"/>
                  </a:cubicBezTo>
                  <a:lnTo>
                    <a:pt x="757" y="2584"/>
                  </a:lnTo>
                  <a:cubicBezTo>
                    <a:pt x="631" y="2490"/>
                    <a:pt x="631" y="2238"/>
                    <a:pt x="757" y="2111"/>
                  </a:cubicBezTo>
                  <a:cubicBezTo>
                    <a:pt x="804" y="2064"/>
                    <a:pt x="891" y="2041"/>
                    <a:pt x="978" y="2041"/>
                  </a:cubicBezTo>
                  <a:cubicBezTo>
                    <a:pt x="1064" y="2041"/>
                    <a:pt x="1151" y="2064"/>
                    <a:pt x="1198" y="2111"/>
                  </a:cubicBezTo>
                  <a:lnTo>
                    <a:pt x="1293" y="2206"/>
                  </a:lnTo>
                  <a:cubicBezTo>
                    <a:pt x="1293" y="2175"/>
                    <a:pt x="1324" y="2080"/>
                    <a:pt x="1324" y="2048"/>
                  </a:cubicBezTo>
                  <a:lnTo>
                    <a:pt x="1324" y="662"/>
                  </a:lnTo>
                  <a:cubicBezTo>
                    <a:pt x="1324" y="284"/>
                    <a:pt x="1041" y="1"/>
                    <a:pt x="663" y="1"/>
                  </a:cubicBezTo>
                  <a:close/>
                </a:path>
              </a:pathLst>
            </a:custGeom>
            <a:grpFill/>
            <a:ln>
              <a:noFill/>
            </a:ln>
          </p:spPr>
          <p:txBody>
            <a:bodyPr spcFirstLastPara="1" wrap="square" lIns="91417" tIns="91417" rIns="91417" bIns="91417" anchor="ctr" anchorCtr="0">
              <a:noAutofit/>
            </a:bodyPr>
            <a:lstStyle/>
            <a:p>
              <a:endParaRPr sz="1400"/>
            </a:p>
          </p:txBody>
        </p:sp>
        <p:sp>
          <p:nvSpPr>
            <p:cNvPr id="209" name="Google Shape;6876;p88"/>
            <p:cNvSpPr/>
            <p:nvPr/>
          </p:nvSpPr>
          <p:spPr>
            <a:xfrm>
              <a:off x="-35085251" y="3338325"/>
              <a:ext cx="69325" cy="69350"/>
            </a:xfrm>
            <a:custGeom>
              <a:rect l="l" t="t" r="r" b="b"/>
              <a:pathLst>
                <a:path w="2773" h="2774" extrusionOk="0">
                  <a:moveTo>
                    <a:pt x="1387" y="1"/>
                  </a:moveTo>
                  <a:cubicBezTo>
                    <a:pt x="631" y="1"/>
                    <a:pt x="1" y="631"/>
                    <a:pt x="1" y="1387"/>
                  </a:cubicBezTo>
                  <a:cubicBezTo>
                    <a:pt x="64" y="2143"/>
                    <a:pt x="631" y="2773"/>
                    <a:pt x="1387" y="2773"/>
                  </a:cubicBezTo>
                  <a:cubicBezTo>
                    <a:pt x="2143" y="2773"/>
                    <a:pt x="2773" y="2143"/>
                    <a:pt x="2773" y="1387"/>
                  </a:cubicBezTo>
                  <a:cubicBezTo>
                    <a:pt x="2773" y="631"/>
                    <a:pt x="2143" y="1"/>
                    <a:pt x="1387" y="1"/>
                  </a:cubicBezTo>
                  <a:close/>
                </a:path>
              </a:pathLst>
            </a:custGeom>
            <a:grpFill/>
            <a:ln>
              <a:noFill/>
            </a:ln>
          </p:spPr>
          <p:txBody>
            <a:bodyPr spcFirstLastPara="1" wrap="square" lIns="91417" tIns="91417" rIns="91417" bIns="91417" anchor="ctr" anchorCtr="0">
              <a:noAutofit/>
            </a:bodyPr>
            <a:lstStyle/>
            <a:p>
              <a:endParaRPr sz="1400"/>
            </a:p>
          </p:txBody>
        </p:sp>
        <p:sp>
          <p:nvSpPr>
            <p:cNvPr id="210" name="Google Shape;6877;p88"/>
            <p:cNvSpPr/>
            <p:nvPr/>
          </p:nvSpPr>
          <p:spPr>
            <a:xfrm>
              <a:off x="-35118325" y="3424175"/>
              <a:ext cx="137075" cy="69350"/>
            </a:xfrm>
            <a:custGeom>
              <a:rect l="l" t="t" r="r" b="b"/>
              <a:pathLst>
                <a:path w="5483" h="2774" extrusionOk="0">
                  <a:moveTo>
                    <a:pt x="2741" y="1"/>
                  </a:moveTo>
                  <a:cubicBezTo>
                    <a:pt x="1387" y="1"/>
                    <a:pt x="221" y="1040"/>
                    <a:pt x="32" y="2364"/>
                  </a:cubicBezTo>
                  <a:cubicBezTo>
                    <a:pt x="0" y="2553"/>
                    <a:pt x="158" y="2773"/>
                    <a:pt x="347" y="2773"/>
                  </a:cubicBezTo>
                  <a:lnTo>
                    <a:pt x="5104" y="2773"/>
                  </a:lnTo>
                  <a:cubicBezTo>
                    <a:pt x="5325" y="2773"/>
                    <a:pt x="5482" y="2553"/>
                    <a:pt x="5482" y="2364"/>
                  </a:cubicBezTo>
                  <a:cubicBezTo>
                    <a:pt x="5262" y="1040"/>
                    <a:pt x="4127" y="1"/>
                    <a:pt x="2741" y="1"/>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217" name="Google Shape;6884;p88"/>
          <p:cNvGrpSpPr/>
          <p:nvPr/>
        </p:nvGrpSpPr>
        <p:grpSpPr>
          <a:xfrm>
            <a:off x="9993213" y="1222001"/>
            <a:ext cx="571303" cy="601335"/>
            <a:chOff x="-33277649" y="3226875"/>
            <a:chExt cx="277275" cy="291850"/>
          </a:xfrm>
          <a:solidFill>
            <a:srgbClr val="00677F"/>
          </a:solidFill>
        </p:grpSpPr>
        <p:sp>
          <p:nvSpPr>
            <p:cNvPr id="218" name="Google Shape;6885;p88"/>
            <p:cNvSpPr/>
            <p:nvPr/>
          </p:nvSpPr>
          <p:spPr>
            <a:xfrm>
              <a:off x="-33071299" y="3440725"/>
              <a:ext cx="33100" cy="33900"/>
            </a:xfrm>
            <a:custGeom>
              <a:rect l="l" t="t" r="r" b="b"/>
              <a:pathLst>
                <a:path w="1324" h="1356" extrusionOk="0">
                  <a:moveTo>
                    <a:pt x="662" y="0"/>
                  </a:moveTo>
                  <a:cubicBezTo>
                    <a:pt x="284" y="0"/>
                    <a:pt x="1" y="315"/>
                    <a:pt x="1" y="693"/>
                  </a:cubicBezTo>
                  <a:cubicBezTo>
                    <a:pt x="1" y="1040"/>
                    <a:pt x="284" y="1355"/>
                    <a:pt x="662" y="1355"/>
                  </a:cubicBezTo>
                  <a:cubicBezTo>
                    <a:pt x="1040" y="1355"/>
                    <a:pt x="1324" y="1040"/>
                    <a:pt x="1324" y="693"/>
                  </a:cubicBezTo>
                  <a:cubicBezTo>
                    <a:pt x="1324" y="315"/>
                    <a:pt x="1040" y="0"/>
                    <a:pt x="662" y="0"/>
                  </a:cubicBezTo>
                  <a:close/>
                </a:path>
              </a:pathLst>
            </a:custGeom>
            <a:grpFill/>
            <a:ln>
              <a:noFill/>
            </a:ln>
          </p:spPr>
          <p:txBody>
            <a:bodyPr spcFirstLastPara="1" wrap="square" lIns="91417" tIns="91417" rIns="91417" bIns="91417" anchor="ctr" anchorCtr="0">
              <a:noAutofit/>
            </a:bodyPr>
            <a:lstStyle/>
            <a:p>
              <a:endParaRPr sz="1400"/>
            </a:p>
          </p:txBody>
        </p:sp>
        <p:sp>
          <p:nvSpPr>
            <p:cNvPr id="219" name="Google Shape;6886;p88"/>
            <p:cNvSpPr/>
            <p:nvPr/>
          </p:nvSpPr>
          <p:spPr>
            <a:xfrm>
              <a:off x="-33157926" y="3227275"/>
              <a:ext cx="17350" cy="103200"/>
            </a:xfrm>
            <a:custGeom>
              <a:rect l="l" t="t" r="r" b="b"/>
              <a:pathLst>
                <a:path w="694" h="4128" extrusionOk="0">
                  <a:moveTo>
                    <a:pt x="347" y="1"/>
                  </a:moveTo>
                  <a:cubicBezTo>
                    <a:pt x="158" y="1"/>
                    <a:pt x="0" y="158"/>
                    <a:pt x="0" y="347"/>
                  </a:cubicBezTo>
                  <a:lnTo>
                    <a:pt x="0" y="4128"/>
                  </a:lnTo>
                  <a:cubicBezTo>
                    <a:pt x="95" y="4096"/>
                    <a:pt x="221" y="4096"/>
                    <a:pt x="347" y="4096"/>
                  </a:cubicBezTo>
                  <a:cubicBezTo>
                    <a:pt x="473" y="4096"/>
                    <a:pt x="567" y="4096"/>
                    <a:pt x="693" y="4128"/>
                  </a:cubicBezTo>
                  <a:lnTo>
                    <a:pt x="693" y="347"/>
                  </a:lnTo>
                  <a:cubicBezTo>
                    <a:pt x="693" y="158"/>
                    <a:pt x="536" y="1"/>
                    <a:pt x="347" y="1"/>
                  </a:cubicBezTo>
                  <a:close/>
                </a:path>
              </a:pathLst>
            </a:custGeom>
            <a:grpFill/>
            <a:ln>
              <a:noFill/>
            </a:ln>
          </p:spPr>
          <p:txBody>
            <a:bodyPr spcFirstLastPara="1" wrap="square" lIns="91417" tIns="91417" rIns="91417" bIns="91417" anchor="ctr" anchorCtr="0">
              <a:noAutofit/>
            </a:bodyPr>
            <a:lstStyle/>
            <a:p>
              <a:endParaRPr sz="1400"/>
            </a:p>
          </p:txBody>
        </p:sp>
        <p:sp>
          <p:nvSpPr>
            <p:cNvPr id="220" name="Google Shape;6887;p88"/>
            <p:cNvSpPr/>
            <p:nvPr/>
          </p:nvSpPr>
          <p:spPr>
            <a:xfrm>
              <a:off x="-33175249" y="3347650"/>
              <a:ext cx="51200" cy="51350"/>
            </a:xfrm>
            <a:custGeom>
              <a:rect l="l" t="t" r="r" b="b"/>
              <a:pathLst>
                <a:path w="2048" h="2054" extrusionOk="0">
                  <a:moveTo>
                    <a:pt x="938" y="0"/>
                  </a:moveTo>
                  <a:cubicBezTo>
                    <a:pt x="417" y="0"/>
                    <a:pt x="0" y="451"/>
                    <a:pt x="0" y="1014"/>
                  </a:cubicBezTo>
                  <a:cubicBezTo>
                    <a:pt x="0" y="1549"/>
                    <a:pt x="473" y="2054"/>
                    <a:pt x="1040" y="2054"/>
                  </a:cubicBezTo>
                  <a:cubicBezTo>
                    <a:pt x="1575" y="2054"/>
                    <a:pt x="2048" y="1581"/>
                    <a:pt x="2048" y="1014"/>
                  </a:cubicBezTo>
                  <a:cubicBezTo>
                    <a:pt x="2048" y="447"/>
                    <a:pt x="1575" y="6"/>
                    <a:pt x="1040" y="6"/>
                  </a:cubicBezTo>
                  <a:cubicBezTo>
                    <a:pt x="1006" y="2"/>
                    <a:pt x="972" y="0"/>
                    <a:pt x="938" y="0"/>
                  </a:cubicBezTo>
                  <a:close/>
                </a:path>
              </a:pathLst>
            </a:custGeom>
            <a:grpFill/>
            <a:ln>
              <a:noFill/>
            </a:ln>
          </p:spPr>
          <p:txBody>
            <a:bodyPr spcFirstLastPara="1" wrap="square" lIns="91417" tIns="91417" rIns="91417" bIns="91417" anchor="ctr" anchorCtr="0">
              <a:noAutofit/>
            </a:bodyPr>
            <a:lstStyle/>
            <a:p>
              <a:endParaRPr sz="1400"/>
            </a:p>
          </p:txBody>
        </p:sp>
        <p:sp>
          <p:nvSpPr>
            <p:cNvPr id="221" name="Google Shape;6888;p88"/>
            <p:cNvSpPr/>
            <p:nvPr/>
          </p:nvSpPr>
          <p:spPr>
            <a:xfrm>
              <a:off x="-33224874" y="3404500"/>
              <a:ext cx="159900" cy="114225"/>
            </a:xfrm>
            <a:custGeom>
              <a:rect l="l" t="t" r="r" b="b"/>
              <a:pathLst>
                <a:path w="6396" h="4569" extrusionOk="0">
                  <a:moveTo>
                    <a:pt x="1954" y="0"/>
                  </a:moveTo>
                  <a:lnTo>
                    <a:pt x="0" y="2520"/>
                  </a:lnTo>
                  <a:lnTo>
                    <a:pt x="0" y="4222"/>
                  </a:lnTo>
                  <a:cubicBezTo>
                    <a:pt x="0" y="4411"/>
                    <a:pt x="158" y="4568"/>
                    <a:pt x="347" y="4568"/>
                  </a:cubicBezTo>
                  <a:lnTo>
                    <a:pt x="3781" y="4568"/>
                  </a:lnTo>
                  <a:cubicBezTo>
                    <a:pt x="3970" y="4568"/>
                    <a:pt x="4127" y="4411"/>
                    <a:pt x="4127" y="4222"/>
                  </a:cubicBezTo>
                  <a:lnTo>
                    <a:pt x="4127" y="3875"/>
                  </a:lnTo>
                  <a:lnTo>
                    <a:pt x="5136" y="3875"/>
                  </a:lnTo>
                  <a:cubicBezTo>
                    <a:pt x="5577" y="3844"/>
                    <a:pt x="6018" y="3718"/>
                    <a:pt x="6396" y="3434"/>
                  </a:cubicBezTo>
                  <a:cubicBezTo>
                    <a:pt x="5986" y="3277"/>
                    <a:pt x="5608" y="2930"/>
                    <a:pt x="5514" y="2489"/>
                  </a:cubicBezTo>
                  <a:lnTo>
                    <a:pt x="4442" y="2489"/>
                  </a:lnTo>
                  <a:cubicBezTo>
                    <a:pt x="3497" y="2489"/>
                    <a:pt x="2741" y="1733"/>
                    <a:pt x="2741" y="788"/>
                  </a:cubicBezTo>
                  <a:lnTo>
                    <a:pt x="2741" y="410"/>
                  </a:lnTo>
                  <a:cubicBezTo>
                    <a:pt x="2426" y="315"/>
                    <a:pt x="2206" y="189"/>
                    <a:pt x="1954" y="0"/>
                  </a:cubicBezTo>
                  <a:close/>
                </a:path>
              </a:pathLst>
            </a:custGeom>
            <a:grpFill/>
            <a:ln>
              <a:noFill/>
            </a:ln>
          </p:spPr>
          <p:txBody>
            <a:bodyPr spcFirstLastPara="1" wrap="square" lIns="91417" tIns="91417" rIns="91417" bIns="91417" anchor="ctr" anchorCtr="0">
              <a:noAutofit/>
            </a:bodyPr>
            <a:lstStyle/>
            <a:p>
              <a:endParaRPr sz="1400"/>
            </a:p>
          </p:txBody>
        </p:sp>
        <p:sp>
          <p:nvSpPr>
            <p:cNvPr id="222" name="Google Shape;6889;p88"/>
            <p:cNvSpPr/>
            <p:nvPr/>
          </p:nvSpPr>
          <p:spPr>
            <a:xfrm>
              <a:off x="-33141400" y="3312350"/>
              <a:ext cx="127625" cy="138625"/>
            </a:xfrm>
            <a:custGeom>
              <a:rect l="l" t="t" r="r" b="b"/>
              <a:pathLst>
                <a:path w="5105" h="5545" extrusionOk="0">
                  <a:moveTo>
                    <a:pt x="4128" y="0"/>
                  </a:moveTo>
                  <a:lnTo>
                    <a:pt x="694" y="662"/>
                  </a:lnTo>
                  <a:lnTo>
                    <a:pt x="694" y="1040"/>
                  </a:lnTo>
                  <a:cubicBezTo>
                    <a:pt x="1103" y="1355"/>
                    <a:pt x="1387" y="1827"/>
                    <a:pt x="1387" y="2426"/>
                  </a:cubicBezTo>
                  <a:cubicBezTo>
                    <a:pt x="1387" y="3245"/>
                    <a:pt x="788" y="3938"/>
                    <a:pt x="1" y="4127"/>
                  </a:cubicBezTo>
                  <a:lnTo>
                    <a:pt x="1" y="4505"/>
                  </a:lnTo>
                  <a:cubicBezTo>
                    <a:pt x="1" y="5072"/>
                    <a:pt x="473" y="5545"/>
                    <a:pt x="1009" y="5545"/>
                  </a:cubicBezTo>
                  <a:lnTo>
                    <a:pt x="2080" y="5545"/>
                  </a:lnTo>
                  <a:cubicBezTo>
                    <a:pt x="2238" y="4946"/>
                    <a:pt x="2742" y="4505"/>
                    <a:pt x="3372" y="4505"/>
                  </a:cubicBezTo>
                  <a:cubicBezTo>
                    <a:pt x="3624" y="4505"/>
                    <a:pt x="3844" y="4600"/>
                    <a:pt x="4065" y="4726"/>
                  </a:cubicBezTo>
                  <a:lnTo>
                    <a:pt x="4065" y="4127"/>
                  </a:lnTo>
                  <a:lnTo>
                    <a:pt x="4128" y="4127"/>
                  </a:lnTo>
                  <a:cubicBezTo>
                    <a:pt x="4443" y="4064"/>
                    <a:pt x="4758" y="3938"/>
                    <a:pt x="4916" y="3655"/>
                  </a:cubicBezTo>
                  <a:cubicBezTo>
                    <a:pt x="5105" y="3340"/>
                    <a:pt x="5105" y="2993"/>
                    <a:pt x="4947" y="2678"/>
                  </a:cubicBezTo>
                  <a:lnTo>
                    <a:pt x="4128" y="1008"/>
                  </a:lnTo>
                  <a:lnTo>
                    <a:pt x="4128" y="0"/>
                  </a:lnTo>
                  <a:close/>
                </a:path>
              </a:pathLst>
            </a:custGeom>
            <a:grpFill/>
            <a:ln>
              <a:noFill/>
            </a:ln>
          </p:spPr>
          <p:txBody>
            <a:bodyPr spcFirstLastPara="1" wrap="square" lIns="91417" tIns="91417" rIns="91417" bIns="91417" anchor="ctr" anchorCtr="0">
              <a:noAutofit/>
            </a:bodyPr>
            <a:lstStyle/>
            <a:p>
              <a:endParaRPr sz="1400"/>
            </a:p>
          </p:txBody>
        </p:sp>
        <p:sp>
          <p:nvSpPr>
            <p:cNvPr id="223" name="Google Shape;6890;p88"/>
            <p:cNvSpPr/>
            <p:nvPr/>
          </p:nvSpPr>
          <p:spPr>
            <a:xfrm>
              <a:off x="-33122499" y="3226875"/>
              <a:ext cx="122125" cy="83925"/>
            </a:xfrm>
            <a:custGeom>
              <a:rect l="l" t="t" r="r" b="b"/>
              <a:pathLst>
                <a:path w="4885" h="3357" extrusionOk="0">
                  <a:moveTo>
                    <a:pt x="3376" y="1"/>
                  </a:moveTo>
                  <a:cubicBezTo>
                    <a:pt x="3025" y="1"/>
                    <a:pt x="2679" y="143"/>
                    <a:pt x="2427" y="426"/>
                  </a:cubicBezTo>
                  <a:lnTo>
                    <a:pt x="2143" y="678"/>
                  </a:lnTo>
                  <a:lnTo>
                    <a:pt x="1" y="678"/>
                  </a:lnTo>
                  <a:lnTo>
                    <a:pt x="1" y="3356"/>
                  </a:lnTo>
                  <a:lnTo>
                    <a:pt x="4191" y="2537"/>
                  </a:lnTo>
                  <a:lnTo>
                    <a:pt x="4349" y="2379"/>
                  </a:lnTo>
                  <a:cubicBezTo>
                    <a:pt x="4884" y="1844"/>
                    <a:pt x="4884" y="962"/>
                    <a:pt x="4349" y="426"/>
                  </a:cubicBezTo>
                  <a:cubicBezTo>
                    <a:pt x="4081" y="143"/>
                    <a:pt x="3726" y="1"/>
                    <a:pt x="3376" y="1"/>
                  </a:cubicBezTo>
                  <a:close/>
                </a:path>
              </a:pathLst>
            </a:custGeom>
            <a:grpFill/>
            <a:ln>
              <a:noFill/>
            </a:ln>
          </p:spPr>
          <p:txBody>
            <a:bodyPr spcFirstLastPara="1" wrap="square" lIns="91417" tIns="91417" rIns="91417" bIns="91417" anchor="ctr" anchorCtr="0">
              <a:noAutofit/>
            </a:bodyPr>
            <a:lstStyle/>
            <a:p>
              <a:endParaRPr sz="1400"/>
            </a:p>
          </p:txBody>
        </p:sp>
        <p:sp>
          <p:nvSpPr>
            <p:cNvPr id="224" name="Google Shape;6891;p88"/>
            <p:cNvSpPr/>
            <p:nvPr/>
          </p:nvSpPr>
          <p:spPr>
            <a:xfrm>
              <a:off x="-33277649" y="3245400"/>
              <a:ext cx="102400" cy="198500"/>
            </a:xfrm>
            <a:custGeom>
              <a:rect l="l" t="t" r="r" b="b"/>
              <a:pathLst>
                <a:path w="4096" h="7940" extrusionOk="0">
                  <a:moveTo>
                    <a:pt x="4096" y="0"/>
                  </a:moveTo>
                  <a:cubicBezTo>
                    <a:pt x="1828" y="95"/>
                    <a:pt x="0" y="1985"/>
                    <a:pt x="0" y="4316"/>
                  </a:cubicBezTo>
                  <a:cubicBezTo>
                    <a:pt x="0" y="5766"/>
                    <a:pt x="757" y="7120"/>
                    <a:pt x="1954" y="7939"/>
                  </a:cubicBezTo>
                  <a:lnTo>
                    <a:pt x="3592" y="5829"/>
                  </a:lnTo>
                  <a:cubicBezTo>
                    <a:pt x="3466" y="5576"/>
                    <a:pt x="3434" y="5356"/>
                    <a:pt x="3434" y="5104"/>
                  </a:cubicBezTo>
                  <a:cubicBezTo>
                    <a:pt x="3434" y="4568"/>
                    <a:pt x="3718" y="4033"/>
                    <a:pt x="4096" y="3718"/>
                  </a:cubicBezTo>
                  <a:lnTo>
                    <a:pt x="4096" y="0"/>
                  </a:lnTo>
                  <a:close/>
                </a:path>
              </a:pathLst>
            </a:custGeom>
            <a:grpFill/>
            <a:ln>
              <a:noFill/>
            </a:ln>
          </p:spPr>
          <p:txBody>
            <a:bodyPr spcFirstLastPara="1" wrap="square" lIns="91417" tIns="91417" rIns="91417" bIns="91417" anchor="ctr" anchorCtr="0">
              <a:noAutofit/>
            </a:bodyPr>
            <a:lstStyle/>
            <a:p>
              <a:endParaRPr sz="1400"/>
            </a:p>
          </p:txBody>
        </p:sp>
      </p:grpSp>
      <p:grpSp>
        <p:nvGrpSpPr>
          <p:cNvPr id="255" name="Google Shape;6922;p88"/>
          <p:cNvGrpSpPr/>
          <p:nvPr/>
        </p:nvGrpSpPr>
        <p:grpSpPr>
          <a:xfrm>
            <a:off x="6627532" y="1222713"/>
            <a:ext cx="564762" cy="600511"/>
            <a:chOff x="-34755224" y="3202075"/>
            <a:chExt cx="274100" cy="291450"/>
          </a:xfrm>
          <a:solidFill>
            <a:srgbClr val="00677F"/>
          </a:solidFill>
        </p:grpSpPr>
        <p:sp>
          <p:nvSpPr>
            <p:cNvPr id="256" name="Google Shape;6923;p88"/>
            <p:cNvSpPr/>
            <p:nvPr/>
          </p:nvSpPr>
          <p:spPr>
            <a:xfrm>
              <a:off x="-34703249" y="3389525"/>
              <a:ext cx="84300" cy="34675"/>
            </a:xfrm>
            <a:custGeom>
              <a:rect l="l" t="t" r="r" b="b"/>
              <a:pathLst>
                <a:path w="3372" h="1387" extrusionOk="0">
                  <a:moveTo>
                    <a:pt x="1670" y="1"/>
                  </a:moveTo>
                  <a:cubicBezTo>
                    <a:pt x="883" y="1"/>
                    <a:pt x="158" y="599"/>
                    <a:pt x="0" y="1387"/>
                  </a:cubicBezTo>
                  <a:lnTo>
                    <a:pt x="3371" y="1387"/>
                  </a:lnTo>
                  <a:cubicBezTo>
                    <a:pt x="3214" y="599"/>
                    <a:pt x="2489" y="1"/>
                    <a:pt x="1670" y="1"/>
                  </a:cubicBezTo>
                  <a:close/>
                </a:path>
              </a:pathLst>
            </a:custGeom>
            <a:grpFill/>
            <a:ln>
              <a:noFill/>
            </a:ln>
          </p:spPr>
          <p:txBody>
            <a:bodyPr spcFirstLastPara="1" wrap="square" lIns="91417" tIns="91417" rIns="91417" bIns="91417" anchor="ctr" anchorCtr="0">
              <a:noAutofit/>
            </a:bodyPr>
            <a:lstStyle/>
            <a:p>
              <a:endParaRPr sz="1400"/>
            </a:p>
          </p:txBody>
        </p:sp>
        <p:sp>
          <p:nvSpPr>
            <p:cNvPr id="257" name="Google Shape;6924;p88"/>
            <p:cNvSpPr/>
            <p:nvPr/>
          </p:nvSpPr>
          <p:spPr>
            <a:xfrm>
              <a:off x="-34636301" y="3348575"/>
              <a:ext cx="69325" cy="75625"/>
            </a:xfrm>
            <a:custGeom>
              <a:rect l="l" t="t" r="r" b="b"/>
              <a:pathLst>
                <a:path w="2773" h="3025" extrusionOk="0">
                  <a:moveTo>
                    <a:pt x="2111" y="0"/>
                  </a:moveTo>
                  <a:lnTo>
                    <a:pt x="1387" y="221"/>
                  </a:lnTo>
                  <a:cubicBezTo>
                    <a:pt x="1298" y="265"/>
                    <a:pt x="1179" y="290"/>
                    <a:pt x="1049" y="290"/>
                  </a:cubicBezTo>
                  <a:cubicBezTo>
                    <a:pt x="808" y="290"/>
                    <a:pt x="531" y="205"/>
                    <a:pt x="347" y="0"/>
                  </a:cubicBezTo>
                  <a:lnTo>
                    <a:pt x="347" y="0"/>
                  </a:lnTo>
                  <a:cubicBezTo>
                    <a:pt x="378" y="63"/>
                    <a:pt x="378" y="189"/>
                    <a:pt x="378" y="315"/>
                  </a:cubicBezTo>
                  <a:cubicBezTo>
                    <a:pt x="378" y="662"/>
                    <a:pt x="221" y="977"/>
                    <a:pt x="0" y="1229"/>
                  </a:cubicBezTo>
                  <a:cubicBezTo>
                    <a:pt x="725" y="1575"/>
                    <a:pt x="1229" y="2237"/>
                    <a:pt x="1355" y="3025"/>
                  </a:cubicBezTo>
                  <a:lnTo>
                    <a:pt x="2773" y="3025"/>
                  </a:lnTo>
                  <a:lnTo>
                    <a:pt x="2773" y="221"/>
                  </a:lnTo>
                  <a:cubicBezTo>
                    <a:pt x="2521" y="189"/>
                    <a:pt x="2300" y="126"/>
                    <a:pt x="2111" y="0"/>
                  </a:cubicBezTo>
                  <a:close/>
                </a:path>
              </a:pathLst>
            </a:custGeom>
            <a:grpFill/>
            <a:ln>
              <a:noFill/>
            </a:ln>
          </p:spPr>
          <p:txBody>
            <a:bodyPr spcFirstLastPara="1" wrap="square" lIns="91417" tIns="91417" rIns="91417" bIns="91417" anchor="ctr" anchorCtr="0">
              <a:noAutofit/>
            </a:bodyPr>
            <a:lstStyle/>
            <a:p>
              <a:endParaRPr sz="1400"/>
            </a:p>
          </p:txBody>
        </p:sp>
        <p:sp>
          <p:nvSpPr>
            <p:cNvPr id="258" name="Google Shape;6925;p88"/>
            <p:cNvSpPr/>
            <p:nvPr/>
          </p:nvSpPr>
          <p:spPr>
            <a:xfrm>
              <a:off x="-34752874" y="3253275"/>
              <a:ext cx="126050" cy="170925"/>
            </a:xfrm>
            <a:custGeom>
              <a:rect l="l" t="t" r="r" b="b"/>
              <a:pathLst>
                <a:path w="5042" h="6837" extrusionOk="0">
                  <a:moveTo>
                    <a:pt x="1" y="0"/>
                  </a:moveTo>
                  <a:lnTo>
                    <a:pt x="1" y="6837"/>
                  </a:lnTo>
                  <a:lnTo>
                    <a:pt x="1418" y="6837"/>
                  </a:lnTo>
                  <a:cubicBezTo>
                    <a:pt x="1450" y="6018"/>
                    <a:pt x="1954" y="5356"/>
                    <a:pt x="2679" y="4978"/>
                  </a:cubicBezTo>
                  <a:cubicBezTo>
                    <a:pt x="2427" y="4757"/>
                    <a:pt x="2301" y="4442"/>
                    <a:pt x="2301" y="4064"/>
                  </a:cubicBezTo>
                  <a:cubicBezTo>
                    <a:pt x="2301" y="3340"/>
                    <a:pt x="2931" y="2710"/>
                    <a:pt x="3687" y="2710"/>
                  </a:cubicBezTo>
                  <a:cubicBezTo>
                    <a:pt x="4128" y="2710"/>
                    <a:pt x="4474" y="2899"/>
                    <a:pt x="4758" y="3214"/>
                  </a:cubicBezTo>
                  <a:cubicBezTo>
                    <a:pt x="4726" y="3056"/>
                    <a:pt x="4758" y="2899"/>
                    <a:pt x="4789" y="2741"/>
                  </a:cubicBezTo>
                  <a:lnTo>
                    <a:pt x="5041" y="2016"/>
                  </a:lnTo>
                  <a:cubicBezTo>
                    <a:pt x="4821" y="1607"/>
                    <a:pt x="4758" y="1134"/>
                    <a:pt x="4758" y="662"/>
                  </a:cubicBezTo>
                  <a:cubicBezTo>
                    <a:pt x="4758" y="410"/>
                    <a:pt x="4789" y="189"/>
                    <a:pt x="4821" y="0"/>
                  </a:cubicBezTo>
                  <a:close/>
                </a:path>
              </a:pathLst>
            </a:custGeom>
            <a:grpFill/>
            <a:ln>
              <a:noFill/>
            </a:ln>
          </p:spPr>
          <p:txBody>
            <a:bodyPr spcFirstLastPara="1" wrap="square" lIns="91417" tIns="91417" rIns="91417" bIns="91417" anchor="ctr" anchorCtr="0">
              <a:noAutofit/>
            </a:bodyPr>
            <a:lstStyle/>
            <a:p>
              <a:endParaRPr sz="1400"/>
            </a:p>
          </p:txBody>
        </p:sp>
        <p:sp>
          <p:nvSpPr>
            <p:cNvPr id="259" name="Google Shape;6926;p88"/>
            <p:cNvSpPr/>
            <p:nvPr/>
          </p:nvSpPr>
          <p:spPr>
            <a:xfrm>
              <a:off x="-34677251" y="3338325"/>
              <a:ext cx="33875" cy="33900"/>
            </a:xfrm>
            <a:custGeom>
              <a:rect l="l" t="t" r="r" b="b"/>
              <a:pathLst>
                <a:path w="1355" h="1356" extrusionOk="0">
                  <a:moveTo>
                    <a:pt x="662" y="1"/>
                  </a:moveTo>
                  <a:cubicBezTo>
                    <a:pt x="315" y="1"/>
                    <a:pt x="0" y="316"/>
                    <a:pt x="0" y="694"/>
                  </a:cubicBezTo>
                  <a:cubicBezTo>
                    <a:pt x="0" y="1040"/>
                    <a:pt x="315" y="1355"/>
                    <a:pt x="662" y="1355"/>
                  </a:cubicBezTo>
                  <a:cubicBezTo>
                    <a:pt x="1040" y="1355"/>
                    <a:pt x="1355" y="1040"/>
                    <a:pt x="1355" y="694"/>
                  </a:cubicBezTo>
                  <a:cubicBezTo>
                    <a:pt x="1355" y="316"/>
                    <a:pt x="1040" y="1"/>
                    <a:pt x="662" y="1"/>
                  </a:cubicBezTo>
                  <a:close/>
                </a:path>
              </a:pathLst>
            </a:custGeom>
            <a:grpFill/>
            <a:ln>
              <a:noFill/>
            </a:ln>
          </p:spPr>
          <p:txBody>
            <a:bodyPr spcFirstLastPara="1" wrap="square" lIns="91417" tIns="91417" rIns="91417" bIns="91417" anchor="ctr" anchorCtr="0">
              <a:noAutofit/>
            </a:bodyPr>
            <a:lstStyle/>
            <a:p>
              <a:endParaRPr sz="1400"/>
            </a:p>
          </p:txBody>
        </p:sp>
        <p:sp>
          <p:nvSpPr>
            <p:cNvPr id="260" name="Google Shape;6927;p88"/>
            <p:cNvSpPr/>
            <p:nvPr/>
          </p:nvSpPr>
          <p:spPr>
            <a:xfrm>
              <a:off x="-34618200" y="3202500"/>
              <a:ext cx="137075" cy="135850"/>
            </a:xfrm>
            <a:custGeom>
              <a:rect l="l" t="t" r="r" b="b"/>
              <a:pathLst>
                <a:path w="5483" h="5434" extrusionOk="0">
                  <a:moveTo>
                    <a:pt x="2710" y="992"/>
                  </a:moveTo>
                  <a:cubicBezTo>
                    <a:pt x="2899" y="992"/>
                    <a:pt x="3057" y="1149"/>
                    <a:pt x="3057" y="1338"/>
                  </a:cubicBezTo>
                  <a:cubicBezTo>
                    <a:pt x="3057" y="1559"/>
                    <a:pt x="2899" y="1716"/>
                    <a:pt x="2710" y="1716"/>
                  </a:cubicBezTo>
                  <a:cubicBezTo>
                    <a:pt x="2521" y="1716"/>
                    <a:pt x="2364" y="1559"/>
                    <a:pt x="2364" y="1338"/>
                  </a:cubicBezTo>
                  <a:cubicBezTo>
                    <a:pt x="2395" y="1149"/>
                    <a:pt x="2553" y="992"/>
                    <a:pt x="2710" y="992"/>
                  </a:cubicBezTo>
                  <a:close/>
                  <a:moveTo>
                    <a:pt x="2742" y="2346"/>
                  </a:moveTo>
                  <a:cubicBezTo>
                    <a:pt x="2962" y="2346"/>
                    <a:pt x="3120" y="2504"/>
                    <a:pt x="3120" y="2693"/>
                  </a:cubicBezTo>
                  <a:lnTo>
                    <a:pt x="3120" y="4079"/>
                  </a:lnTo>
                  <a:cubicBezTo>
                    <a:pt x="3120" y="4268"/>
                    <a:pt x="2962" y="4426"/>
                    <a:pt x="2742" y="4426"/>
                  </a:cubicBezTo>
                  <a:cubicBezTo>
                    <a:pt x="2553" y="4426"/>
                    <a:pt x="2395" y="4268"/>
                    <a:pt x="2395" y="4079"/>
                  </a:cubicBezTo>
                  <a:lnTo>
                    <a:pt x="2395" y="2693"/>
                  </a:lnTo>
                  <a:cubicBezTo>
                    <a:pt x="2395" y="2504"/>
                    <a:pt x="2553" y="2346"/>
                    <a:pt x="2742" y="2346"/>
                  </a:cubicBezTo>
                  <a:close/>
                  <a:moveTo>
                    <a:pt x="2646" y="0"/>
                  </a:moveTo>
                  <a:cubicBezTo>
                    <a:pt x="1359" y="0"/>
                    <a:pt x="1" y="1099"/>
                    <a:pt x="1" y="2724"/>
                  </a:cubicBezTo>
                  <a:cubicBezTo>
                    <a:pt x="1" y="3197"/>
                    <a:pt x="127" y="3638"/>
                    <a:pt x="348" y="4016"/>
                  </a:cubicBezTo>
                  <a:lnTo>
                    <a:pt x="33" y="4961"/>
                  </a:lnTo>
                  <a:cubicBezTo>
                    <a:pt x="1" y="5087"/>
                    <a:pt x="33" y="5245"/>
                    <a:pt x="127" y="5339"/>
                  </a:cubicBezTo>
                  <a:cubicBezTo>
                    <a:pt x="167" y="5399"/>
                    <a:pt x="245" y="5421"/>
                    <a:pt x="329" y="5421"/>
                  </a:cubicBezTo>
                  <a:cubicBezTo>
                    <a:pt x="377" y="5421"/>
                    <a:pt x="427" y="5414"/>
                    <a:pt x="474" y="5402"/>
                  </a:cubicBezTo>
                  <a:lnTo>
                    <a:pt x="1419" y="5087"/>
                  </a:lnTo>
                  <a:cubicBezTo>
                    <a:pt x="1797" y="5339"/>
                    <a:pt x="2238" y="5434"/>
                    <a:pt x="2742" y="5434"/>
                  </a:cubicBezTo>
                  <a:cubicBezTo>
                    <a:pt x="4254" y="5434"/>
                    <a:pt x="5483" y="4237"/>
                    <a:pt x="5483" y="2724"/>
                  </a:cubicBezTo>
                  <a:cubicBezTo>
                    <a:pt x="5483" y="1275"/>
                    <a:pt x="4317" y="78"/>
                    <a:pt x="2899" y="15"/>
                  </a:cubicBezTo>
                  <a:cubicBezTo>
                    <a:pt x="2815" y="5"/>
                    <a:pt x="2731" y="0"/>
                    <a:pt x="2646" y="0"/>
                  </a:cubicBezTo>
                  <a:close/>
                </a:path>
              </a:pathLst>
            </a:custGeom>
            <a:grpFill/>
            <a:ln>
              <a:noFill/>
            </a:ln>
          </p:spPr>
          <p:txBody>
            <a:bodyPr spcFirstLastPara="1" wrap="square" lIns="91417" tIns="91417" rIns="91417" bIns="91417" anchor="ctr" anchorCtr="0">
              <a:noAutofit/>
            </a:bodyPr>
            <a:lstStyle/>
            <a:p>
              <a:endParaRPr sz="1400"/>
            </a:p>
          </p:txBody>
        </p:sp>
        <p:sp>
          <p:nvSpPr>
            <p:cNvPr id="261" name="Google Shape;6928;p88"/>
            <p:cNvSpPr/>
            <p:nvPr/>
          </p:nvSpPr>
          <p:spPr>
            <a:xfrm>
              <a:off x="-34755224" y="3440725"/>
              <a:ext cx="188250" cy="52800"/>
            </a:xfrm>
            <a:custGeom>
              <a:rect l="l" t="t" r="r" b="b"/>
              <a:pathLst>
                <a:path w="7530" h="2112" extrusionOk="0">
                  <a:moveTo>
                    <a:pt x="0" y="0"/>
                  </a:moveTo>
                  <a:lnTo>
                    <a:pt x="0" y="1071"/>
                  </a:lnTo>
                  <a:cubicBezTo>
                    <a:pt x="0" y="1670"/>
                    <a:pt x="473" y="2111"/>
                    <a:pt x="1040" y="2111"/>
                  </a:cubicBezTo>
                  <a:lnTo>
                    <a:pt x="6490" y="2111"/>
                  </a:lnTo>
                  <a:cubicBezTo>
                    <a:pt x="7057" y="2111"/>
                    <a:pt x="7530" y="1639"/>
                    <a:pt x="7530" y="1071"/>
                  </a:cubicBezTo>
                  <a:lnTo>
                    <a:pt x="7530" y="0"/>
                  </a:lnTo>
                  <a:close/>
                </a:path>
              </a:pathLst>
            </a:custGeom>
            <a:grpFill/>
            <a:ln>
              <a:noFill/>
            </a:ln>
          </p:spPr>
          <p:txBody>
            <a:bodyPr spcFirstLastPara="1" wrap="square" lIns="91417" tIns="91417" rIns="91417" bIns="91417" anchor="ctr" anchorCtr="0">
              <a:noAutofit/>
            </a:bodyPr>
            <a:lstStyle/>
            <a:p>
              <a:endParaRPr sz="1400"/>
            </a:p>
          </p:txBody>
        </p:sp>
        <p:sp>
          <p:nvSpPr>
            <p:cNvPr id="262" name="Google Shape;6929;p88"/>
            <p:cNvSpPr/>
            <p:nvPr/>
          </p:nvSpPr>
          <p:spPr>
            <a:xfrm>
              <a:off x="-34754449" y="3202075"/>
              <a:ext cx="153600" cy="33900"/>
            </a:xfrm>
            <a:custGeom>
              <a:rect l="l" t="t" r="r" b="b"/>
              <a:pathLst>
                <a:path w="6144" h="1356" extrusionOk="0">
                  <a:moveTo>
                    <a:pt x="1040" y="0"/>
                  </a:moveTo>
                  <a:cubicBezTo>
                    <a:pt x="473" y="0"/>
                    <a:pt x="1" y="473"/>
                    <a:pt x="1" y="1009"/>
                  </a:cubicBezTo>
                  <a:lnTo>
                    <a:pt x="1" y="1355"/>
                  </a:lnTo>
                  <a:lnTo>
                    <a:pt x="5104" y="1355"/>
                  </a:lnTo>
                  <a:cubicBezTo>
                    <a:pt x="5293" y="819"/>
                    <a:pt x="5672" y="347"/>
                    <a:pt x="6144" y="0"/>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314" name="Google Shape;6981;p88"/>
          <p:cNvGrpSpPr/>
          <p:nvPr/>
        </p:nvGrpSpPr>
        <p:grpSpPr>
          <a:xfrm>
            <a:off x="7353609" y="1222281"/>
            <a:ext cx="608598" cy="601387"/>
            <a:chOff x="-34408675" y="3202075"/>
            <a:chExt cx="295375" cy="291875"/>
          </a:xfrm>
          <a:solidFill>
            <a:srgbClr val="00677F"/>
          </a:solidFill>
        </p:grpSpPr>
        <p:sp>
          <p:nvSpPr>
            <p:cNvPr id="315" name="Google Shape;6982;p88"/>
            <p:cNvSpPr/>
            <p:nvPr/>
          </p:nvSpPr>
          <p:spPr>
            <a:xfrm>
              <a:off x="-34274776" y="3202075"/>
              <a:ext cx="161475" cy="161475"/>
            </a:xfrm>
            <a:custGeom>
              <a:rect l="l" t="t" r="r" b="b"/>
              <a:pathLst>
                <a:path w="6459" h="6459" extrusionOk="0">
                  <a:moveTo>
                    <a:pt x="3718" y="0"/>
                  </a:moveTo>
                  <a:cubicBezTo>
                    <a:pt x="3560" y="0"/>
                    <a:pt x="3434" y="63"/>
                    <a:pt x="3403" y="189"/>
                  </a:cubicBezTo>
                  <a:cubicBezTo>
                    <a:pt x="3340" y="315"/>
                    <a:pt x="3340" y="473"/>
                    <a:pt x="3466" y="536"/>
                  </a:cubicBezTo>
                  <a:lnTo>
                    <a:pt x="4190" y="1261"/>
                  </a:lnTo>
                  <a:lnTo>
                    <a:pt x="1260" y="4159"/>
                  </a:lnTo>
                  <a:lnTo>
                    <a:pt x="567" y="3466"/>
                  </a:lnTo>
                  <a:cubicBezTo>
                    <a:pt x="496" y="3395"/>
                    <a:pt x="390" y="3360"/>
                    <a:pt x="288" y="3360"/>
                  </a:cubicBezTo>
                  <a:cubicBezTo>
                    <a:pt x="254" y="3360"/>
                    <a:pt x="221" y="3363"/>
                    <a:pt x="189" y="3371"/>
                  </a:cubicBezTo>
                  <a:cubicBezTo>
                    <a:pt x="95" y="3403"/>
                    <a:pt x="0" y="3560"/>
                    <a:pt x="0" y="3686"/>
                  </a:cubicBezTo>
                  <a:lnTo>
                    <a:pt x="0" y="6081"/>
                  </a:lnTo>
                  <a:cubicBezTo>
                    <a:pt x="0" y="6301"/>
                    <a:pt x="158" y="6459"/>
                    <a:pt x="347" y="6459"/>
                  </a:cubicBezTo>
                  <a:lnTo>
                    <a:pt x="2773" y="6459"/>
                  </a:lnTo>
                  <a:cubicBezTo>
                    <a:pt x="2930" y="6459"/>
                    <a:pt x="3025" y="6364"/>
                    <a:pt x="3088" y="6238"/>
                  </a:cubicBezTo>
                  <a:cubicBezTo>
                    <a:pt x="3119" y="6144"/>
                    <a:pt x="3119" y="5986"/>
                    <a:pt x="2993" y="5892"/>
                  </a:cubicBezTo>
                  <a:lnTo>
                    <a:pt x="2300" y="5199"/>
                  </a:lnTo>
                  <a:lnTo>
                    <a:pt x="5198" y="2269"/>
                  </a:lnTo>
                  <a:lnTo>
                    <a:pt x="5923" y="2993"/>
                  </a:lnTo>
                  <a:cubicBezTo>
                    <a:pt x="5969" y="3039"/>
                    <a:pt x="6066" y="3069"/>
                    <a:pt x="6164" y="3069"/>
                  </a:cubicBezTo>
                  <a:cubicBezTo>
                    <a:pt x="6200" y="3069"/>
                    <a:pt x="6236" y="3065"/>
                    <a:pt x="6270" y="3056"/>
                  </a:cubicBezTo>
                  <a:cubicBezTo>
                    <a:pt x="6396" y="3025"/>
                    <a:pt x="6459" y="2867"/>
                    <a:pt x="6459" y="2741"/>
                  </a:cubicBezTo>
                  <a:lnTo>
                    <a:pt x="6459" y="347"/>
                  </a:lnTo>
                  <a:cubicBezTo>
                    <a:pt x="6459" y="158"/>
                    <a:pt x="6301" y="0"/>
                    <a:pt x="6112" y="0"/>
                  </a:cubicBezTo>
                  <a:close/>
                </a:path>
              </a:pathLst>
            </a:custGeom>
            <a:grpFill/>
            <a:ln>
              <a:noFill/>
            </a:ln>
          </p:spPr>
          <p:txBody>
            <a:bodyPr spcFirstLastPara="1" wrap="square" lIns="91417" tIns="91417" rIns="91417" bIns="91417" anchor="ctr" anchorCtr="0">
              <a:noAutofit/>
            </a:bodyPr>
            <a:lstStyle/>
            <a:p>
              <a:endParaRPr sz="1400"/>
            </a:p>
          </p:txBody>
        </p:sp>
        <p:sp>
          <p:nvSpPr>
            <p:cNvPr id="316" name="Google Shape;6983;p88"/>
            <p:cNvSpPr/>
            <p:nvPr/>
          </p:nvSpPr>
          <p:spPr>
            <a:xfrm>
              <a:off x="-34378751" y="3263175"/>
              <a:ext cx="76425" cy="73600"/>
            </a:xfrm>
            <a:custGeom>
              <a:rect l="l" t="t" r="r" b="b"/>
              <a:pathLst>
                <a:path w="3057" h="2944" extrusionOk="0">
                  <a:moveTo>
                    <a:pt x="970" y="1"/>
                  </a:moveTo>
                  <a:cubicBezTo>
                    <a:pt x="685" y="1"/>
                    <a:pt x="405" y="114"/>
                    <a:pt x="221" y="297"/>
                  </a:cubicBezTo>
                  <a:lnTo>
                    <a:pt x="1" y="549"/>
                  </a:lnTo>
                  <a:lnTo>
                    <a:pt x="2395" y="2944"/>
                  </a:lnTo>
                  <a:lnTo>
                    <a:pt x="2678" y="2755"/>
                  </a:lnTo>
                  <a:cubicBezTo>
                    <a:pt x="3056" y="2345"/>
                    <a:pt x="3056" y="1683"/>
                    <a:pt x="2678" y="1274"/>
                  </a:cubicBezTo>
                  <a:lnTo>
                    <a:pt x="1670" y="297"/>
                  </a:lnTo>
                  <a:cubicBezTo>
                    <a:pt x="1478" y="90"/>
                    <a:pt x="1222" y="1"/>
                    <a:pt x="970" y="1"/>
                  </a:cubicBezTo>
                  <a:close/>
                </a:path>
              </a:pathLst>
            </a:custGeom>
            <a:grpFill/>
            <a:ln>
              <a:noFill/>
            </a:ln>
          </p:spPr>
          <p:txBody>
            <a:bodyPr spcFirstLastPara="1" wrap="square" lIns="91417" tIns="91417" rIns="91417" bIns="91417" anchor="ctr" anchorCtr="0">
              <a:noAutofit/>
            </a:bodyPr>
            <a:lstStyle/>
            <a:p>
              <a:endParaRPr sz="1400"/>
            </a:p>
          </p:txBody>
        </p:sp>
        <p:sp>
          <p:nvSpPr>
            <p:cNvPr id="317" name="Google Shape;6984;p88"/>
            <p:cNvSpPr/>
            <p:nvPr/>
          </p:nvSpPr>
          <p:spPr>
            <a:xfrm>
              <a:off x="-34250375" y="3392300"/>
              <a:ext cx="77225" cy="74425"/>
            </a:xfrm>
            <a:custGeom>
              <a:rect l="l" t="t" r="r" b="b"/>
              <a:pathLst>
                <a:path w="3089" h="2977" extrusionOk="0">
                  <a:moveTo>
                    <a:pt x="999" y="0"/>
                  </a:moveTo>
                  <a:cubicBezTo>
                    <a:pt x="787" y="0"/>
                    <a:pt x="577" y="66"/>
                    <a:pt x="410" y="205"/>
                  </a:cubicBezTo>
                  <a:cubicBezTo>
                    <a:pt x="379" y="205"/>
                    <a:pt x="316" y="268"/>
                    <a:pt x="284" y="299"/>
                  </a:cubicBezTo>
                  <a:lnTo>
                    <a:pt x="1" y="583"/>
                  </a:lnTo>
                  <a:lnTo>
                    <a:pt x="2427" y="2977"/>
                  </a:lnTo>
                  <a:lnTo>
                    <a:pt x="2679" y="2693"/>
                  </a:lnTo>
                  <a:cubicBezTo>
                    <a:pt x="3088" y="2315"/>
                    <a:pt x="3088" y="1622"/>
                    <a:pt x="2679" y="1244"/>
                  </a:cubicBezTo>
                  <a:lnTo>
                    <a:pt x="1734" y="299"/>
                  </a:lnTo>
                  <a:cubicBezTo>
                    <a:pt x="1540" y="105"/>
                    <a:pt x="1267" y="0"/>
                    <a:pt x="999" y="0"/>
                  </a:cubicBezTo>
                  <a:close/>
                </a:path>
              </a:pathLst>
            </a:custGeom>
            <a:grpFill/>
            <a:ln>
              <a:noFill/>
            </a:ln>
          </p:spPr>
          <p:txBody>
            <a:bodyPr spcFirstLastPara="1" wrap="square" lIns="91417" tIns="91417" rIns="91417" bIns="91417" anchor="ctr" anchorCtr="0">
              <a:noAutofit/>
            </a:bodyPr>
            <a:lstStyle/>
            <a:p>
              <a:endParaRPr sz="1400"/>
            </a:p>
          </p:txBody>
        </p:sp>
        <p:sp>
          <p:nvSpPr>
            <p:cNvPr id="318" name="Google Shape;6985;p88"/>
            <p:cNvSpPr/>
            <p:nvPr/>
          </p:nvSpPr>
          <p:spPr>
            <a:xfrm>
              <a:off x="-34408675" y="3290275"/>
              <a:ext cx="207150" cy="203675"/>
            </a:xfrm>
            <a:custGeom>
              <a:rect l="l" t="t" r="r" b="b"/>
              <a:pathLst>
                <a:path w="8286" h="8147" extrusionOk="0">
                  <a:moveTo>
                    <a:pt x="725" y="1"/>
                  </a:moveTo>
                  <a:cubicBezTo>
                    <a:pt x="95" y="631"/>
                    <a:pt x="0" y="1387"/>
                    <a:pt x="284" y="2017"/>
                  </a:cubicBezTo>
                  <a:cubicBezTo>
                    <a:pt x="1387" y="4223"/>
                    <a:pt x="3938" y="6774"/>
                    <a:pt x="6270" y="7972"/>
                  </a:cubicBezTo>
                  <a:cubicBezTo>
                    <a:pt x="6499" y="8086"/>
                    <a:pt x="6745" y="8147"/>
                    <a:pt x="6996" y="8147"/>
                  </a:cubicBezTo>
                  <a:cubicBezTo>
                    <a:pt x="7434" y="8147"/>
                    <a:pt x="7886" y="7963"/>
                    <a:pt x="8286" y="7562"/>
                  </a:cubicBezTo>
                  <a:lnTo>
                    <a:pt x="725" y="1"/>
                  </a:lnTo>
                  <a:close/>
                </a:path>
              </a:pathLst>
            </a:custGeom>
            <a:grpFill/>
            <a:ln>
              <a:noFill/>
            </a:ln>
          </p:spPr>
          <p:txBody>
            <a:bodyPr spcFirstLastPara="1" wrap="square" lIns="91417" tIns="91417" rIns="91417" bIns="91417" anchor="ctr" anchorCtr="0">
              <a:noAutofit/>
            </a:bodyPr>
            <a:lstStyle/>
            <a:p>
              <a:endParaRPr sz="1400"/>
            </a:p>
          </p:txBody>
        </p:sp>
      </p:grpSp>
      <p:grpSp>
        <p:nvGrpSpPr>
          <p:cNvPr id="348" name="Google Shape;7015;p88"/>
          <p:cNvGrpSpPr/>
          <p:nvPr/>
        </p:nvGrpSpPr>
        <p:grpSpPr>
          <a:xfrm>
            <a:off x="10893985" y="2239565"/>
            <a:ext cx="664753" cy="661795"/>
            <a:chOff x="-30735200" y="3552550"/>
            <a:chExt cx="292225" cy="290925"/>
          </a:xfrm>
          <a:solidFill>
            <a:srgbClr val="00677F"/>
          </a:solidFill>
        </p:grpSpPr>
        <p:sp>
          <p:nvSpPr>
            <p:cNvPr id="349" name="Google Shape;7016;p88"/>
            <p:cNvSpPr/>
            <p:nvPr/>
          </p:nvSpPr>
          <p:spPr>
            <a:xfrm>
              <a:off x="-30613899" y="3655750"/>
              <a:ext cx="170925" cy="187725"/>
            </a:xfrm>
            <a:custGeom>
              <a:rect l="l" t="t" r="r" b="b"/>
              <a:pathLst>
                <a:path w="6837" h="7507" extrusionOk="0">
                  <a:moveTo>
                    <a:pt x="5120" y="2079"/>
                  </a:moveTo>
                  <a:cubicBezTo>
                    <a:pt x="5206" y="2079"/>
                    <a:pt x="5293" y="2111"/>
                    <a:pt x="5356" y="2174"/>
                  </a:cubicBezTo>
                  <a:cubicBezTo>
                    <a:pt x="5451" y="2268"/>
                    <a:pt x="5451" y="2458"/>
                    <a:pt x="5356" y="2647"/>
                  </a:cubicBezTo>
                  <a:lnTo>
                    <a:pt x="3308" y="4694"/>
                  </a:lnTo>
                  <a:cubicBezTo>
                    <a:pt x="3214" y="4757"/>
                    <a:pt x="3151" y="4789"/>
                    <a:pt x="3056" y="4789"/>
                  </a:cubicBezTo>
                  <a:cubicBezTo>
                    <a:pt x="2993" y="4789"/>
                    <a:pt x="2899" y="4757"/>
                    <a:pt x="2836" y="4694"/>
                  </a:cubicBezTo>
                  <a:lnTo>
                    <a:pt x="2174" y="4001"/>
                  </a:lnTo>
                  <a:cubicBezTo>
                    <a:pt x="2048" y="3907"/>
                    <a:pt x="2048" y="3655"/>
                    <a:pt x="2174" y="3529"/>
                  </a:cubicBezTo>
                  <a:cubicBezTo>
                    <a:pt x="2221" y="3481"/>
                    <a:pt x="2308" y="3458"/>
                    <a:pt x="2399" y="3458"/>
                  </a:cubicBezTo>
                  <a:cubicBezTo>
                    <a:pt x="2489" y="3458"/>
                    <a:pt x="2584" y="3481"/>
                    <a:pt x="2647" y="3529"/>
                  </a:cubicBezTo>
                  <a:lnTo>
                    <a:pt x="3056" y="3970"/>
                  </a:lnTo>
                  <a:lnTo>
                    <a:pt x="4883" y="2174"/>
                  </a:lnTo>
                  <a:cubicBezTo>
                    <a:pt x="4946" y="2111"/>
                    <a:pt x="5033" y="2079"/>
                    <a:pt x="5120" y="2079"/>
                  </a:cubicBezTo>
                  <a:close/>
                  <a:moveTo>
                    <a:pt x="1701" y="0"/>
                  </a:moveTo>
                  <a:cubicBezTo>
                    <a:pt x="725" y="0"/>
                    <a:pt x="0" y="756"/>
                    <a:pt x="0" y="1701"/>
                  </a:cubicBezTo>
                  <a:lnTo>
                    <a:pt x="0" y="4411"/>
                  </a:lnTo>
                  <a:cubicBezTo>
                    <a:pt x="0" y="5356"/>
                    <a:pt x="725" y="6112"/>
                    <a:pt x="1701" y="6112"/>
                  </a:cubicBezTo>
                  <a:lnTo>
                    <a:pt x="2048" y="6112"/>
                  </a:lnTo>
                  <a:lnTo>
                    <a:pt x="2048" y="7152"/>
                  </a:lnTo>
                  <a:cubicBezTo>
                    <a:pt x="2048" y="7309"/>
                    <a:pt x="2111" y="7435"/>
                    <a:pt x="2237" y="7467"/>
                  </a:cubicBezTo>
                  <a:cubicBezTo>
                    <a:pt x="2289" y="7493"/>
                    <a:pt x="2347" y="7508"/>
                    <a:pt x="2401" y="7508"/>
                  </a:cubicBezTo>
                  <a:cubicBezTo>
                    <a:pt x="2477" y="7508"/>
                    <a:pt x="2547" y="7478"/>
                    <a:pt x="2584" y="7404"/>
                  </a:cubicBezTo>
                  <a:lnTo>
                    <a:pt x="3844" y="6112"/>
                  </a:lnTo>
                  <a:lnTo>
                    <a:pt x="5073" y="6112"/>
                  </a:lnTo>
                  <a:cubicBezTo>
                    <a:pt x="6018" y="6112"/>
                    <a:pt x="6805" y="5356"/>
                    <a:pt x="6805" y="4411"/>
                  </a:cubicBezTo>
                  <a:lnTo>
                    <a:pt x="6805" y="1701"/>
                  </a:lnTo>
                  <a:cubicBezTo>
                    <a:pt x="6837" y="756"/>
                    <a:pt x="6049" y="0"/>
                    <a:pt x="5104" y="0"/>
                  </a:cubicBezTo>
                  <a:close/>
                </a:path>
              </a:pathLst>
            </a:custGeom>
            <a:grpFill/>
            <a:ln>
              <a:noFill/>
            </a:ln>
          </p:spPr>
          <p:txBody>
            <a:bodyPr spcFirstLastPara="1" wrap="square" lIns="91417" tIns="91417" rIns="91417" bIns="91417" anchor="ctr" anchorCtr="0">
              <a:noAutofit/>
            </a:bodyPr>
            <a:lstStyle/>
            <a:p>
              <a:endParaRPr sz="1400"/>
            </a:p>
          </p:txBody>
        </p:sp>
        <p:sp>
          <p:nvSpPr>
            <p:cNvPr id="350" name="Google Shape;7017;p88"/>
            <p:cNvSpPr/>
            <p:nvPr/>
          </p:nvSpPr>
          <p:spPr>
            <a:xfrm>
              <a:off x="-30735200" y="3552550"/>
              <a:ext cx="188275" cy="205075"/>
            </a:xfrm>
            <a:custGeom>
              <a:rect l="l" t="t" r="r" b="b"/>
              <a:pathLst>
                <a:path w="7531" h="8203" extrusionOk="0">
                  <a:moveTo>
                    <a:pt x="3781" y="1356"/>
                  </a:moveTo>
                  <a:cubicBezTo>
                    <a:pt x="4317" y="1356"/>
                    <a:pt x="4789" y="1828"/>
                    <a:pt x="4789" y="2395"/>
                  </a:cubicBezTo>
                  <a:cubicBezTo>
                    <a:pt x="4789" y="2710"/>
                    <a:pt x="4632" y="3025"/>
                    <a:pt x="4411" y="3214"/>
                  </a:cubicBezTo>
                  <a:cubicBezTo>
                    <a:pt x="4254" y="3341"/>
                    <a:pt x="4128" y="3530"/>
                    <a:pt x="4128" y="3782"/>
                  </a:cubicBezTo>
                  <a:cubicBezTo>
                    <a:pt x="4128" y="3971"/>
                    <a:pt x="3970" y="4128"/>
                    <a:pt x="3781" y="4128"/>
                  </a:cubicBezTo>
                  <a:cubicBezTo>
                    <a:pt x="3592" y="4128"/>
                    <a:pt x="3434" y="3971"/>
                    <a:pt x="3434" y="3782"/>
                  </a:cubicBezTo>
                  <a:cubicBezTo>
                    <a:pt x="3434" y="3341"/>
                    <a:pt x="3624" y="2931"/>
                    <a:pt x="3970" y="2679"/>
                  </a:cubicBezTo>
                  <a:cubicBezTo>
                    <a:pt x="4065" y="2584"/>
                    <a:pt x="4096" y="2521"/>
                    <a:pt x="4096" y="2395"/>
                  </a:cubicBezTo>
                  <a:cubicBezTo>
                    <a:pt x="4096" y="2206"/>
                    <a:pt x="3939" y="2049"/>
                    <a:pt x="3750" y="2049"/>
                  </a:cubicBezTo>
                  <a:cubicBezTo>
                    <a:pt x="3529" y="2049"/>
                    <a:pt x="3371" y="2206"/>
                    <a:pt x="3371" y="2395"/>
                  </a:cubicBezTo>
                  <a:cubicBezTo>
                    <a:pt x="3371" y="2584"/>
                    <a:pt x="3214" y="2742"/>
                    <a:pt x="3025" y="2742"/>
                  </a:cubicBezTo>
                  <a:cubicBezTo>
                    <a:pt x="2836" y="2742"/>
                    <a:pt x="2678" y="2584"/>
                    <a:pt x="2678" y="2395"/>
                  </a:cubicBezTo>
                  <a:cubicBezTo>
                    <a:pt x="2741" y="1828"/>
                    <a:pt x="3214" y="1356"/>
                    <a:pt x="3781" y="1356"/>
                  </a:cubicBezTo>
                  <a:close/>
                  <a:moveTo>
                    <a:pt x="3781" y="4758"/>
                  </a:moveTo>
                  <a:cubicBezTo>
                    <a:pt x="3970" y="4758"/>
                    <a:pt x="4128" y="4916"/>
                    <a:pt x="4128" y="5105"/>
                  </a:cubicBezTo>
                  <a:cubicBezTo>
                    <a:pt x="4128" y="5294"/>
                    <a:pt x="3970" y="5451"/>
                    <a:pt x="3781" y="5451"/>
                  </a:cubicBezTo>
                  <a:cubicBezTo>
                    <a:pt x="3592" y="5451"/>
                    <a:pt x="3434" y="5294"/>
                    <a:pt x="3434" y="5105"/>
                  </a:cubicBezTo>
                  <a:cubicBezTo>
                    <a:pt x="3434" y="4916"/>
                    <a:pt x="3592" y="4758"/>
                    <a:pt x="3781" y="4758"/>
                  </a:cubicBezTo>
                  <a:close/>
                  <a:moveTo>
                    <a:pt x="1733" y="1"/>
                  </a:moveTo>
                  <a:cubicBezTo>
                    <a:pt x="788" y="1"/>
                    <a:pt x="0" y="789"/>
                    <a:pt x="0" y="1734"/>
                  </a:cubicBezTo>
                  <a:lnTo>
                    <a:pt x="0" y="5136"/>
                  </a:lnTo>
                  <a:cubicBezTo>
                    <a:pt x="0" y="5987"/>
                    <a:pt x="631" y="6649"/>
                    <a:pt x="1418" y="6806"/>
                  </a:cubicBezTo>
                  <a:lnTo>
                    <a:pt x="1418" y="7846"/>
                  </a:lnTo>
                  <a:cubicBezTo>
                    <a:pt x="1418" y="8003"/>
                    <a:pt x="1481" y="8129"/>
                    <a:pt x="1607" y="8161"/>
                  </a:cubicBezTo>
                  <a:cubicBezTo>
                    <a:pt x="1659" y="8187"/>
                    <a:pt x="1717" y="8202"/>
                    <a:pt x="1771" y="8202"/>
                  </a:cubicBezTo>
                  <a:cubicBezTo>
                    <a:pt x="1848" y="8202"/>
                    <a:pt x="1917" y="8172"/>
                    <a:pt x="1954" y="8098"/>
                  </a:cubicBezTo>
                  <a:lnTo>
                    <a:pt x="3214" y="6838"/>
                  </a:lnTo>
                  <a:lnTo>
                    <a:pt x="4096" y="6838"/>
                  </a:lnTo>
                  <a:lnTo>
                    <a:pt x="4096" y="5798"/>
                  </a:lnTo>
                  <a:cubicBezTo>
                    <a:pt x="4096" y="4475"/>
                    <a:pt x="5167" y="3404"/>
                    <a:pt x="6490" y="3404"/>
                  </a:cubicBezTo>
                  <a:lnTo>
                    <a:pt x="7530" y="3404"/>
                  </a:lnTo>
                  <a:lnTo>
                    <a:pt x="7530" y="1734"/>
                  </a:lnTo>
                  <a:cubicBezTo>
                    <a:pt x="7530" y="789"/>
                    <a:pt x="6774" y="1"/>
                    <a:pt x="5829" y="1"/>
                  </a:cubicBezTo>
                  <a:close/>
                </a:path>
              </a:pathLst>
            </a:custGeom>
            <a:grpFill/>
            <a:ln>
              <a:noFill/>
            </a:ln>
          </p:spPr>
          <p:txBody>
            <a:bodyPr spcFirstLastPara="1" wrap="square" lIns="91417" tIns="91417" rIns="91417" bIns="91417" anchor="ctr" anchorCtr="0">
              <a:noAutofit/>
            </a:bodyPr>
            <a:lstStyle/>
            <a:p>
              <a:endParaRPr sz="1400"/>
            </a:p>
          </p:txBody>
        </p:sp>
      </p:grpSp>
      <p:sp>
        <p:nvSpPr>
          <p:cNvPr id="132" name="Google Shape;6799;p88"/>
          <p:cNvSpPr/>
          <p:nvPr/>
        </p:nvSpPr>
        <p:spPr>
          <a:xfrm>
            <a:off x="5795496" y="2277305"/>
            <a:ext cx="593567" cy="595145"/>
          </a:xfrm>
          <a:custGeom>
            <a:rect l="l" t="t" r="r" b="b"/>
            <a:pathLst>
              <a:path w="11658" h="11689" extrusionOk="0">
                <a:moveTo>
                  <a:pt x="7877" y="1386"/>
                </a:moveTo>
                <a:cubicBezTo>
                  <a:pt x="9232" y="1386"/>
                  <a:pt x="10303" y="2458"/>
                  <a:pt x="10303" y="3781"/>
                </a:cubicBezTo>
                <a:lnTo>
                  <a:pt x="10303" y="4883"/>
                </a:lnTo>
                <a:cubicBezTo>
                  <a:pt x="10240" y="4883"/>
                  <a:pt x="10209" y="4946"/>
                  <a:pt x="10177" y="4946"/>
                </a:cubicBezTo>
                <a:cubicBezTo>
                  <a:pt x="10019" y="4190"/>
                  <a:pt x="9704" y="3529"/>
                  <a:pt x="9200" y="2962"/>
                </a:cubicBezTo>
                <a:lnTo>
                  <a:pt x="7720" y="4442"/>
                </a:lnTo>
                <a:cubicBezTo>
                  <a:pt x="8192" y="5072"/>
                  <a:pt x="8318" y="5860"/>
                  <a:pt x="8098" y="6648"/>
                </a:cubicBezTo>
                <a:cubicBezTo>
                  <a:pt x="8003" y="6868"/>
                  <a:pt x="7877" y="7057"/>
                  <a:pt x="7720" y="7278"/>
                </a:cubicBezTo>
                <a:lnTo>
                  <a:pt x="9200" y="8727"/>
                </a:lnTo>
                <a:cubicBezTo>
                  <a:pt x="9673" y="8160"/>
                  <a:pt x="10019" y="7498"/>
                  <a:pt x="10177" y="6742"/>
                </a:cubicBezTo>
                <a:cubicBezTo>
                  <a:pt x="10209" y="6742"/>
                  <a:pt x="10240" y="6805"/>
                  <a:pt x="10303" y="6805"/>
                </a:cubicBezTo>
                <a:lnTo>
                  <a:pt x="10303" y="7908"/>
                </a:lnTo>
                <a:cubicBezTo>
                  <a:pt x="10303" y="9231"/>
                  <a:pt x="9232" y="10302"/>
                  <a:pt x="7877" y="10302"/>
                </a:cubicBezTo>
                <a:lnTo>
                  <a:pt x="6774" y="10302"/>
                </a:lnTo>
                <a:cubicBezTo>
                  <a:pt x="6774" y="10271"/>
                  <a:pt x="6743" y="10208"/>
                  <a:pt x="6743" y="10176"/>
                </a:cubicBezTo>
                <a:cubicBezTo>
                  <a:pt x="7499" y="10019"/>
                  <a:pt x="8161" y="9704"/>
                  <a:pt x="8728" y="9200"/>
                </a:cubicBezTo>
                <a:lnTo>
                  <a:pt x="7279" y="7750"/>
                </a:lnTo>
                <a:cubicBezTo>
                  <a:pt x="7058" y="7908"/>
                  <a:pt x="6869" y="8002"/>
                  <a:pt x="6648" y="8097"/>
                </a:cubicBezTo>
                <a:cubicBezTo>
                  <a:pt x="6365" y="8160"/>
                  <a:pt x="6081" y="8223"/>
                  <a:pt x="5861" y="8223"/>
                </a:cubicBezTo>
                <a:cubicBezTo>
                  <a:pt x="5325" y="8223"/>
                  <a:pt x="4821" y="8065"/>
                  <a:pt x="4443" y="7750"/>
                </a:cubicBezTo>
                <a:lnTo>
                  <a:pt x="2962" y="9200"/>
                </a:lnTo>
                <a:cubicBezTo>
                  <a:pt x="3529" y="9672"/>
                  <a:pt x="4191" y="10019"/>
                  <a:pt x="4947" y="10176"/>
                </a:cubicBezTo>
                <a:cubicBezTo>
                  <a:pt x="4947" y="10208"/>
                  <a:pt x="4916" y="10271"/>
                  <a:pt x="4916" y="10302"/>
                </a:cubicBezTo>
                <a:lnTo>
                  <a:pt x="3813" y="10302"/>
                </a:lnTo>
                <a:cubicBezTo>
                  <a:pt x="2458" y="10302"/>
                  <a:pt x="1387" y="9231"/>
                  <a:pt x="1387" y="7908"/>
                </a:cubicBezTo>
                <a:lnTo>
                  <a:pt x="1387" y="6805"/>
                </a:lnTo>
                <a:cubicBezTo>
                  <a:pt x="1450" y="6805"/>
                  <a:pt x="1482" y="6742"/>
                  <a:pt x="1513" y="6742"/>
                </a:cubicBezTo>
                <a:cubicBezTo>
                  <a:pt x="1671" y="7498"/>
                  <a:pt x="1986" y="8160"/>
                  <a:pt x="2490" y="8727"/>
                </a:cubicBezTo>
                <a:lnTo>
                  <a:pt x="3971" y="7278"/>
                </a:lnTo>
                <a:cubicBezTo>
                  <a:pt x="3498" y="6648"/>
                  <a:pt x="3372" y="5860"/>
                  <a:pt x="3592" y="5072"/>
                </a:cubicBezTo>
                <a:cubicBezTo>
                  <a:pt x="3687" y="4820"/>
                  <a:pt x="3813" y="4631"/>
                  <a:pt x="3971" y="4442"/>
                </a:cubicBezTo>
                <a:lnTo>
                  <a:pt x="2490" y="2962"/>
                </a:lnTo>
                <a:cubicBezTo>
                  <a:pt x="2017" y="3529"/>
                  <a:pt x="1671" y="4190"/>
                  <a:pt x="1513" y="4946"/>
                </a:cubicBezTo>
                <a:cubicBezTo>
                  <a:pt x="1482" y="4946"/>
                  <a:pt x="1450" y="4883"/>
                  <a:pt x="1387" y="4883"/>
                </a:cubicBezTo>
                <a:lnTo>
                  <a:pt x="1387" y="3781"/>
                </a:lnTo>
                <a:cubicBezTo>
                  <a:pt x="1387" y="2458"/>
                  <a:pt x="2458" y="1386"/>
                  <a:pt x="3813" y="1386"/>
                </a:cubicBezTo>
                <a:lnTo>
                  <a:pt x="4916" y="1386"/>
                </a:lnTo>
                <a:cubicBezTo>
                  <a:pt x="4916" y="1418"/>
                  <a:pt x="4947" y="1481"/>
                  <a:pt x="4947" y="1512"/>
                </a:cubicBezTo>
                <a:cubicBezTo>
                  <a:pt x="4191" y="1670"/>
                  <a:pt x="3529" y="1985"/>
                  <a:pt x="2962" y="2489"/>
                </a:cubicBezTo>
                <a:lnTo>
                  <a:pt x="4443" y="3938"/>
                </a:lnTo>
                <a:cubicBezTo>
                  <a:pt x="4632" y="3781"/>
                  <a:pt x="4821" y="3686"/>
                  <a:pt x="5073" y="3592"/>
                </a:cubicBezTo>
                <a:cubicBezTo>
                  <a:pt x="5339" y="3496"/>
                  <a:pt x="5605" y="3451"/>
                  <a:pt x="5865" y="3451"/>
                </a:cubicBezTo>
                <a:cubicBezTo>
                  <a:pt x="6375" y="3451"/>
                  <a:pt x="6861" y="3625"/>
                  <a:pt x="7279" y="3938"/>
                </a:cubicBezTo>
                <a:lnTo>
                  <a:pt x="8728" y="2489"/>
                </a:lnTo>
                <a:cubicBezTo>
                  <a:pt x="8161" y="2016"/>
                  <a:pt x="7499" y="1670"/>
                  <a:pt x="6743" y="1512"/>
                </a:cubicBezTo>
                <a:cubicBezTo>
                  <a:pt x="6743" y="1481"/>
                  <a:pt x="6774" y="1418"/>
                  <a:pt x="6774" y="1386"/>
                </a:cubicBezTo>
                <a:close/>
                <a:moveTo>
                  <a:pt x="5829" y="0"/>
                </a:moveTo>
                <a:cubicBezTo>
                  <a:pt x="5420" y="0"/>
                  <a:pt x="5010" y="315"/>
                  <a:pt x="4884" y="725"/>
                </a:cubicBezTo>
                <a:lnTo>
                  <a:pt x="3782" y="725"/>
                </a:lnTo>
                <a:cubicBezTo>
                  <a:pt x="2112" y="725"/>
                  <a:pt x="726" y="2111"/>
                  <a:pt x="726" y="3781"/>
                </a:cubicBezTo>
                <a:lnTo>
                  <a:pt x="726" y="4883"/>
                </a:lnTo>
                <a:cubicBezTo>
                  <a:pt x="316" y="5041"/>
                  <a:pt x="1" y="5419"/>
                  <a:pt x="1" y="5829"/>
                </a:cubicBezTo>
                <a:cubicBezTo>
                  <a:pt x="1" y="6270"/>
                  <a:pt x="316" y="6679"/>
                  <a:pt x="726" y="6774"/>
                </a:cubicBezTo>
                <a:lnTo>
                  <a:pt x="726" y="7876"/>
                </a:lnTo>
                <a:cubicBezTo>
                  <a:pt x="726" y="9578"/>
                  <a:pt x="2112" y="10964"/>
                  <a:pt x="3782" y="10964"/>
                </a:cubicBezTo>
                <a:lnTo>
                  <a:pt x="4884" y="10964"/>
                </a:lnTo>
                <a:cubicBezTo>
                  <a:pt x="5042" y="11342"/>
                  <a:pt x="5420" y="11688"/>
                  <a:pt x="5829" y="11688"/>
                </a:cubicBezTo>
                <a:cubicBezTo>
                  <a:pt x="6270" y="11688"/>
                  <a:pt x="6680" y="11342"/>
                  <a:pt x="6774" y="10964"/>
                </a:cubicBezTo>
                <a:lnTo>
                  <a:pt x="7877" y="10964"/>
                </a:lnTo>
                <a:cubicBezTo>
                  <a:pt x="9578" y="10964"/>
                  <a:pt x="10965" y="9578"/>
                  <a:pt x="10965" y="7876"/>
                </a:cubicBezTo>
                <a:lnTo>
                  <a:pt x="10965" y="6774"/>
                </a:lnTo>
                <a:cubicBezTo>
                  <a:pt x="11343" y="6616"/>
                  <a:pt x="11658" y="6270"/>
                  <a:pt x="11658" y="5829"/>
                </a:cubicBezTo>
                <a:cubicBezTo>
                  <a:pt x="11658" y="5419"/>
                  <a:pt x="11343" y="5072"/>
                  <a:pt x="10965" y="4883"/>
                </a:cubicBezTo>
                <a:lnTo>
                  <a:pt x="10965" y="3781"/>
                </a:lnTo>
                <a:cubicBezTo>
                  <a:pt x="10965" y="2111"/>
                  <a:pt x="9578" y="725"/>
                  <a:pt x="7877" y="725"/>
                </a:cubicBezTo>
                <a:lnTo>
                  <a:pt x="6774" y="725"/>
                </a:lnTo>
                <a:cubicBezTo>
                  <a:pt x="6617" y="315"/>
                  <a:pt x="6270" y="0"/>
                  <a:pt x="5829" y="0"/>
                </a:cubicBezTo>
                <a:close/>
              </a:path>
            </a:pathLst>
          </a:custGeom>
          <a:solidFill>
            <a:srgbClr val="00677F"/>
          </a:solidFill>
          <a:ln>
            <a:noFill/>
          </a:ln>
        </p:spPr>
        <p:txBody>
          <a:bodyPr spcFirstLastPara="1" wrap="square" lIns="91417" tIns="91417" rIns="91417" bIns="91417" anchor="ctr" anchorCtr="0">
            <a:noAutofit/>
          </a:bodyPr>
          <a:lstStyle/>
          <a:p>
            <a:endParaRPr sz="1400"/>
          </a:p>
        </p:txBody>
      </p:sp>
      <p:grpSp>
        <p:nvGrpSpPr>
          <p:cNvPr id="195" name="Google Shape;6862;p88"/>
          <p:cNvGrpSpPr/>
          <p:nvPr/>
        </p:nvGrpSpPr>
        <p:grpSpPr>
          <a:xfrm>
            <a:off x="6543540" y="2275288"/>
            <a:ext cx="614391" cy="598915"/>
            <a:chOff x="-31817401" y="3910025"/>
            <a:chExt cx="301675" cy="294075"/>
          </a:xfrm>
          <a:solidFill>
            <a:srgbClr val="00677F"/>
          </a:solidFill>
        </p:grpSpPr>
        <p:sp>
          <p:nvSpPr>
            <p:cNvPr id="196" name="Google Shape;6863;p88"/>
            <p:cNvSpPr/>
            <p:nvPr/>
          </p:nvSpPr>
          <p:spPr>
            <a:xfrm>
              <a:off x="-31817401" y="3911550"/>
              <a:ext cx="301675" cy="292550"/>
            </a:xfrm>
            <a:custGeom>
              <a:rect l="l" t="t" r="r" b="b"/>
              <a:pathLst>
                <a:path w="12067" h="11702" extrusionOk="0">
                  <a:moveTo>
                    <a:pt x="2558" y="0"/>
                  </a:moveTo>
                  <a:cubicBezTo>
                    <a:pt x="2357" y="0"/>
                    <a:pt x="2155" y="24"/>
                    <a:pt x="1954" y="70"/>
                  </a:cubicBezTo>
                  <a:cubicBezTo>
                    <a:pt x="1828" y="102"/>
                    <a:pt x="1733" y="196"/>
                    <a:pt x="1702" y="322"/>
                  </a:cubicBezTo>
                  <a:cubicBezTo>
                    <a:pt x="1670" y="448"/>
                    <a:pt x="1702" y="543"/>
                    <a:pt x="1796" y="637"/>
                  </a:cubicBezTo>
                  <a:lnTo>
                    <a:pt x="2679" y="1551"/>
                  </a:lnTo>
                  <a:cubicBezTo>
                    <a:pt x="2962" y="1803"/>
                    <a:pt x="2962" y="2244"/>
                    <a:pt x="2679" y="2528"/>
                  </a:cubicBezTo>
                  <a:cubicBezTo>
                    <a:pt x="2553" y="2669"/>
                    <a:pt x="2379" y="2740"/>
                    <a:pt x="2202" y="2740"/>
                  </a:cubicBezTo>
                  <a:cubicBezTo>
                    <a:pt x="2025" y="2740"/>
                    <a:pt x="1844" y="2669"/>
                    <a:pt x="1702" y="2528"/>
                  </a:cubicBezTo>
                  <a:lnTo>
                    <a:pt x="788" y="1614"/>
                  </a:lnTo>
                  <a:cubicBezTo>
                    <a:pt x="744" y="1569"/>
                    <a:pt x="668" y="1525"/>
                    <a:pt x="582" y="1525"/>
                  </a:cubicBezTo>
                  <a:cubicBezTo>
                    <a:pt x="547" y="1525"/>
                    <a:pt x="510" y="1532"/>
                    <a:pt x="473" y="1551"/>
                  </a:cubicBezTo>
                  <a:cubicBezTo>
                    <a:pt x="347" y="1582"/>
                    <a:pt x="284" y="1645"/>
                    <a:pt x="253" y="1771"/>
                  </a:cubicBezTo>
                  <a:cubicBezTo>
                    <a:pt x="1" y="2591"/>
                    <a:pt x="253" y="3473"/>
                    <a:pt x="883" y="4103"/>
                  </a:cubicBezTo>
                  <a:cubicBezTo>
                    <a:pt x="1366" y="4494"/>
                    <a:pt x="1932" y="4750"/>
                    <a:pt x="2619" y="4750"/>
                  </a:cubicBezTo>
                  <a:cubicBezTo>
                    <a:pt x="2874" y="4750"/>
                    <a:pt x="3145" y="4715"/>
                    <a:pt x="3435" y="4638"/>
                  </a:cubicBezTo>
                  <a:lnTo>
                    <a:pt x="7247" y="8482"/>
                  </a:lnTo>
                  <a:cubicBezTo>
                    <a:pt x="6963" y="9522"/>
                    <a:pt x="7215" y="10372"/>
                    <a:pt x="7814" y="10971"/>
                  </a:cubicBezTo>
                  <a:cubicBezTo>
                    <a:pt x="8291" y="11472"/>
                    <a:pt x="8895" y="11702"/>
                    <a:pt x="9516" y="11702"/>
                  </a:cubicBezTo>
                  <a:cubicBezTo>
                    <a:pt x="9714" y="11702"/>
                    <a:pt x="9915" y="11678"/>
                    <a:pt x="10114" y="11632"/>
                  </a:cubicBezTo>
                  <a:cubicBezTo>
                    <a:pt x="10240" y="11569"/>
                    <a:pt x="10334" y="11506"/>
                    <a:pt x="10366" y="11380"/>
                  </a:cubicBezTo>
                  <a:cubicBezTo>
                    <a:pt x="10397" y="11254"/>
                    <a:pt x="10366" y="11128"/>
                    <a:pt x="10271" y="11065"/>
                  </a:cubicBezTo>
                  <a:lnTo>
                    <a:pt x="9389" y="10152"/>
                  </a:lnTo>
                  <a:cubicBezTo>
                    <a:pt x="9106" y="9868"/>
                    <a:pt x="9106" y="9459"/>
                    <a:pt x="9389" y="9175"/>
                  </a:cubicBezTo>
                  <a:cubicBezTo>
                    <a:pt x="9515" y="9033"/>
                    <a:pt x="9688" y="8962"/>
                    <a:pt x="9866" y="8962"/>
                  </a:cubicBezTo>
                  <a:cubicBezTo>
                    <a:pt x="10043" y="8962"/>
                    <a:pt x="10224" y="9033"/>
                    <a:pt x="10366" y="9175"/>
                  </a:cubicBezTo>
                  <a:lnTo>
                    <a:pt x="11279" y="10089"/>
                  </a:lnTo>
                  <a:cubicBezTo>
                    <a:pt x="11326" y="10135"/>
                    <a:pt x="11405" y="10164"/>
                    <a:pt x="11494" y="10164"/>
                  </a:cubicBezTo>
                  <a:cubicBezTo>
                    <a:pt x="11527" y="10164"/>
                    <a:pt x="11561" y="10160"/>
                    <a:pt x="11594" y="10152"/>
                  </a:cubicBezTo>
                  <a:cubicBezTo>
                    <a:pt x="11720" y="10120"/>
                    <a:pt x="11783" y="10026"/>
                    <a:pt x="11815" y="9931"/>
                  </a:cubicBezTo>
                  <a:cubicBezTo>
                    <a:pt x="12067" y="9081"/>
                    <a:pt x="11815" y="8230"/>
                    <a:pt x="11185" y="7600"/>
                  </a:cubicBezTo>
                  <a:cubicBezTo>
                    <a:pt x="10778" y="7170"/>
                    <a:pt x="10224" y="6903"/>
                    <a:pt x="9537" y="6903"/>
                  </a:cubicBezTo>
                  <a:cubicBezTo>
                    <a:pt x="9266" y="6903"/>
                    <a:pt x="8975" y="6944"/>
                    <a:pt x="8665" y="7033"/>
                  </a:cubicBezTo>
                  <a:lnTo>
                    <a:pt x="4852" y="3221"/>
                  </a:lnTo>
                  <a:lnTo>
                    <a:pt x="4884" y="3032"/>
                  </a:lnTo>
                  <a:cubicBezTo>
                    <a:pt x="5136" y="2213"/>
                    <a:pt x="4884" y="1330"/>
                    <a:pt x="4254" y="700"/>
                  </a:cubicBezTo>
                  <a:cubicBezTo>
                    <a:pt x="3778" y="225"/>
                    <a:pt x="3177" y="0"/>
                    <a:pt x="2558" y="0"/>
                  </a:cubicBezTo>
                  <a:close/>
                </a:path>
              </a:pathLst>
            </a:custGeom>
            <a:grpFill/>
            <a:ln>
              <a:noFill/>
            </a:ln>
          </p:spPr>
          <p:txBody>
            <a:bodyPr spcFirstLastPara="1" wrap="square" lIns="91417" tIns="91417" rIns="91417" bIns="91417" anchor="ctr" anchorCtr="0">
              <a:noAutofit/>
            </a:bodyPr>
            <a:lstStyle/>
            <a:p>
              <a:endParaRPr sz="1400"/>
            </a:p>
          </p:txBody>
        </p:sp>
        <p:sp>
          <p:nvSpPr>
            <p:cNvPr id="197" name="Google Shape;6864;p88"/>
            <p:cNvSpPr/>
            <p:nvPr/>
          </p:nvSpPr>
          <p:spPr>
            <a:xfrm>
              <a:off x="-31816601" y="4062950"/>
              <a:ext cx="144150" cy="140600"/>
            </a:xfrm>
            <a:custGeom>
              <a:rect l="l" t="t" r="r" b="b"/>
              <a:pathLst>
                <a:path w="5766" h="5624" extrusionOk="0">
                  <a:moveTo>
                    <a:pt x="4080" y="1504"/>
                  </a:moveTo>
                  <a:cubicBezTo>
                    <a:pt x="4167" y="1504"/>
                    <a:pt x="4253" y="1528"/>
                    <a:pt x="4316" y="1575"/>
                  </a:cubicBezTo>
                  <a:cubicBezTo>
                    <a:pt x="4442" y="1701"/>
                    <a:pt x="4442" y="1953"/>
                    <a:pt x="4316" y="2048"/>
                  </a:cubicBezTo>
                  <a:lnTo>
                    <a:pt x="2205" y="4159"/>
                  </a:lnTo>
                  <a:cubicBezTo>
                    <a:pt x="2158" y="4206"/>
                    <a:pt x="2072" y="4230"/>
                    <a:pt x="1985" y="4230"/>
                  </a:cubicBezTo>
                  <a:cubicBezTo>
                    <a:pt x="1898" y="4230"/>
                    <a:pt x="1812" y="4206"/>
                    <a:pt x="1764" y="4159"/>
                  </a:cubicBezTo>
                  <a:cubicBezTo>
                    <a:pt x="1638" y="4033"/>
                    <a:pt x="1638" y="3781"/>
                    <a:pt x="1764" y="3686"/>
                  </a:cubicBezTo>
                  <a:lnTo>
                    <a:pt x="3844" y="1575"/>
                  </a:lnTo>
                  <a:cubicBezTo>
                    <a:pt x="3907" y="1528"/>
                    <a:pt x="3993" y="1504"/>
                    <a:pt x="4080" y="1504"/>
                  </a:cubicBezTo>
                  <a:close/>
                  <a:moveTo>
                    <a:pt x="3844" y="0"/>
                  </a:moveTo>
                  <a:lnTo>
                    <a:pt x="567" y="3277"/>
                  </a:lnTo>
                  <a:cubicBezTo>
                    <a:pt x="0" y="3844"/>
                    <a:pt x="0" y="4694"/>
                    <a:pt x="567" y="5198"/>
                  </a:cubicBezTo>
                  <a:cubicBezTo>
                    <a:pt x="835" y="5482"/>
                    <a:pt x="1189" y="5624"/>
                    <a:pt x="1540" y="5624"/>
                  </a:cubicBezTo>
                  <a:cubicBezTo>
                    <a:pt x="1890" y="5624"/>
                    <a:pt x="2237" y="5482"/>
                    <a:pt x="2489" y="5198"/>
                  </a:cubicBezTo>
                  <a:lnTo>
                    <a:pt x="5766" y="1953"/>
                  </a:lnTo>
                  <a:lnTo>
                    <a:pt x="3844" y="0"/>
                  </a:lnTo>
                  <a:close/>
                </a:path>
              </a:pathLst>
            </a:custGeom>
            <a:grpFill/>
            <a:ln>
              <a:noFill/>
            </a:ln>
          </p:spPr>
          <p:txBody>
            <a:bodyPr spcFirstLastPara="1" wrap="square" lIns="91417" tIns="91417" rIns="91417" bIns="91417" anchor="ctr" anchorCtr="0">
              <a:noAutofit/>
            </a:bodyPr>
            <a:lstStyle/>
            <a:p>
              <a:endParaRPr sz="1400"/>
            </a:p>
          </p:txBody>
        </p:sp>
        <p:sp>
          <p:nvSpPr>
            <p:cNvPr id="198" name="Google Shape;6865;p88"/>
            <p:cNvSpPr/>
            <p:nvPr/>
          </p:nvSpPr>
          <p:spPr>
            <a:xfrm>
              <a:off x="-31648050" y="3910025"/>
              <a:ext cx="129175" cy="127725"/>
            </a:xfrm>
            <a:custGeom>
              <a:rect l="l" t="t" r="r" b="b"/>
              <a:pathLst>
                <a:path w="5167" h="5109" extrusionOk="0">
                  <a:moveTo>
                    <a:pt x="4249" y="1"/>
                  </a:moveTo>
                  <a:cubicBezTo>
                    <a:pt x="4179" y="1"/>
                    <a:pt x="4106" y="24"/>
                    <a:pt x="4033" y="68"/>
                  </a:cubicBezTo>
                  <a:lnTo>
                    <a:pt x="2206" y="1171"/>
                  </a:lnTo>
                  <a:cubicBezTo>
                    <a:pt x="2017" y="1265"/>
                    <a:pt x="1985" y="1549"/>
                    <a:pt x="2143" y="1706"/>
                  </a:cubicBezTo>
                  <a:lnTo>
                    <a:pt x="2300" y="1864"/>
                  </a:lnTo>
                  <a:lnTo>
                    <a:pt x="0" y="4164"/>
                  </a:lnTo>
                  <a:lnTo>
                    <a:pt x="945" y="5109"/>
                  </a:lnTo>
                  <a:lnTo>
                    <a:pt x="3245" y="2809"/>
                  </a:lnTo>
                  <a:lnTo>
                    <a:pt x="3434" y="2998"/>
                  </a:lnTo>
                  <a:cubicBezTo>
                    <a:pt x="3502" y="3066"/>
                    <a:pt x="3594" y="3099"/>
                    <a:pt x="3684" y="3099"/>
                  </a:cubicBezTo>
                  <a:cubicBezTo>
                    <a:pt x="3802" y="3099"/>
                    <a:pt x="3916" y="3042"/>
                    <a:pt x="3970" y="2935"/>
                  </a:cubicBezTo>
                  <a:lnTo>
                    <a:pt x="5073" y="1108"/>
                  </a:lnTo>
                  <a:cubicBezTo>
                    <a:pt x="5167" y="1013"/>
                    <a:pt x="5167" y="793"/>
                    <a:pt x="5041" y="698"/>
                  </a:cubicBezTo>
                  <a:lnTo>
                    <a:pt x="4474" y="100"/>
                  </a:lnTo>
                  <a:cubicBezTo>
                    <a:pt x="4406" y="32"/>
                    <a:pt x="4330" y="1"/>
                    <a:pt x="4249" y="1"/>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246" name="Google Shape;6913;p88"/>
          <p:cNvGrpSpPr/>
          <p:nvPr/>
        </p:nvGrpSpPr>
        <p:grpSpPr>
          <a:xfrm>
            <a:off x="7300389" y="2275565"/>
            <a:ext cx="599983" cy="598353"/>
            <a:chOff x="-31455100" y="3909350"/>
            <a:chExt cx="294600" cy="293800"/>
          </a:xfrm>
          <a:solidFill>
            <a:srgbClr val="00677F"/>
          </a:solidFill>
        </p:grpSpPr>
        <p:sp>
          <p:nvSpPr>
            <p:cNvPr id="247" name="Google Shape;6914;p88"/>
            <p:cNvSpPr/>
            <p:nvPr/>
          </p:nvSpPr>
          <p:spPr>
            <a:xfrm>
              <a:off x="-31455100" y="3909350"/>
              <a:ext cx="294600" cy="293800"/>
            </a:xfrm>
            <a:custGeom>
              <a:rect l="l" t="t" r="r" b="b"/>
              <a:pathLst>
                <a:path w="11784" h="11752" extrusionOk="0">
                  <a:moveTo>
                    <a:pt x="5199" y="1"/>
                  </a:moveTo>
                  <a:cubicBezTo>
                    <a:pt x="5042" y="1"/>
                    <a:pt x="4916" y="127"/>
                    <a:pt x="4884" y="284"/>
                  </a:cubicBezTo>
                  <a:lnTo>
                    <a:pt x="4727" y="883"/>
                  </a:lnTo>
                  <a:cubicBezTo>
                    <a:pt x="4191" y="977"/>
                    <a:pt x="3655" y="1229"/>
                    <a:pt x="3151" y="1513"/>
                  </a:cubicBezTo>
                  <a:lnTo>
                    <a:pt x="2647" y="1229"/>
                  </a:lnTo>
                  <a:cubicBezTo>
                    <a:pt x="2599" y="1205"/>
                    <a:pt x="2542" y="1195"/>
                    <a:pt x="2482" y="1195"/>
                  </a:cubicBezTo>
                  <a:cubicBezTo>
                    <a:pt x="2386" y="1195"/>
                    <a:pt x="2284" y="1222"/>
                    <a:pt x="2206" y="1261"/>
                  </a:cubicBezTo>
                  <a:lnTo>
                    <a:pt x="1261" y="2206"/>
                  </a:lnTo>
                  <a:cubicBezTo>
                    <a:pt x="1135" y="2332"/>
                    <a:pt x="1135" y="2490"/>
                    <a:pt x="1230" y="2647"/>
                  </a:cubicBezTo>
                  <a:lnTo>
                    <a:pt x="1513" y="3151"/>
                  </a:lnTo>
                  <a:cubicBezTo>
                    <a:pt x="1198" y="3624"/>
                    <a:pt x="978" y="4191"/>
                    <a:pt x="883" y="4726"/>
                  </a:cubicBezTo>
                  <a:lnTo>
                    <a:pt x="284" y="4884"/>
                  </a:lnTo>
                  <a:cubicBezTo>
                    <a:pt x="127" y="4947"/>
                    <a:pt x="1" y="5041"/>
                    <a:pt x="1" y="5199"/>
                  </a:cubicBezTo>
                  <a:lnTo>
                    <a:pt x="1" y="6585"/>
                  </a:lnTo>
                  <a:cubicBezTo>
                    <a:pt x="1" y="6743"/>
                    <a:pt x="127" y="6869"/>
                    <a:pt x="284" y="6900"/>
                  </a:cubicBezTo>
                  <a:lnTo>
                    <a:pt x="883" y="7058"/>
                  </a:lnTo>
                  <a:cubicBezTo>
                    <a:pt x="946" y="7404"/>
                    <a:pt x="1072" y="7782"/>
                    <a:pt x="1230" y="8129"/>
                  </a:cubicBezTo>
                  <a:cubicBezTo>
                    <a:pt x="1504" y="7854"/>
                    <a:pt x="2843" y="6486"/>
                    <a:pt x="2841" y="6486"/>
                  </a:cubicBezTo>
                  <a:lnTo>
                    <a:pt x="2841" y="6486"/>
                  </a:lnTo>
                  <a:cubicBezTo>
                    <a:pt x="2841" y="6486"/>
                    <a:pt x="2839" y="6488"/>
                    <a:pt x="2836" y="6491"/>
                  </a:cubicBezTo>
                  <a:cubicBezTo>
                    <a:pt x="2836" y="6459"/>
                    <a:pt x="2805" y="6050"/>
                    <a:pt x="2805" y="5955"/>
                  </a:cubicBezTo>
                  <a:cubicBezTo>
                    <a:pt x="2773" y="4222"/>
                    <a:pt x="4191" y="2836"/>
                    <a:pt x="5861" y="2836"/>
                  </a:cubicBezTo>
                  <a:cubicBezTo>
                    <a:pt x="7562" y="2836"/>
                    <a:pt x="8948" y="4222"/>
                    <a:pt x="8948" y="5924"/>
                  </a:cubicBezTo>
                  <a:cubicBezTo>
                    <a:pt x="8948" y="7499"/>
                    <a:pt x="7751" y="8822"/>
                    <a:pt x="6113" y="8948"/>
                  </a:cubicBezTo>
                  <a:cubicBezTo>
                    <a:pt x="6066" y="8948"/>
                    <a:pt x="5963" y="8956"/>
                    <a:pt x="5821" y="8956"/>
                  </a:cubicBezTo>
                  <a:cubicBezTo>
                    <a:pt x="5680" y="8956"/>
                    <a:pt x="5499" y="8948"/>
                    <a:pt x="5294" y="8917"/>
                  </a:cubicBezTo>
                  <a:lnTo>
                    <a:pt x="3655" y="10523"/>
                  </a:lnTo>
                  <a:cubicBezTo>
                    <a:pt x="4034" y="10681"/>
                    <a:pt x="4349" y="10807"/>
                    <a:pt x="4727" y="10870"/>
                  </a:cubicBezTo>
                  <a:lnTo>
                    <a:pt x="4884" y="11468"/>
                  </a:lnTo>
                  <a:cubicBezTo>
                    <a:pt x="4916" y="11626"/>
                    <a:pt x="5042" y="11752"/>
                    <a:pt x="5199" y="11752"/>
                  </a:cubicBezTo>
                  <a:lnTo>
                    <a:pt x="6585" y="11752"/>
                  </a:lnTo>
                  <a:cubicBezTo>
                    <a:pt x="6743" y="11752"/>
                    <a:pt x="6869" y="11626"/>
                    <a:pt x="6901" y="11468"/>
                  </a:cubicBezTo>
                  <a:lnTo>
                    <a:pt x="7058" y="10870"/>
                  </a:lnTo>
                  <a:cubicBezTo>
                    <a:pt x="7594" y="10775"/>
                    <a:pt x="8129" y="10523"/>
                    <a:pt x="8633" y="10240"/>
                  </a:cubicBezTo>
                  <a:lnTo>
                    <a:pt x="9137" y="10523"/>
                  </a:lnTo>
                  <a:cubicBezTo>
                    <a:pt x="9185" y="10547"/>
                    <a:pt x="9243" y="10558"/>
                    <a:pt x="9302" y="10558"/>
                  </a:cubicBezTo>
                  <a:cubicBezTo>
                    <a:pt x="9399" y="10558"/>
                    <a:pt x="9501" y="10531"/>
                    <a:pt x="9578" y="10492"/>
                  </a:cubicBezTo>
                  <a:lnTo>
                    <a:pt x="10524" y="9547"/>
                  </a:lnTo>
                  <a:cubicBezTo>
                    <a:pt x="10650" y="9421"/>
                    <a:pt x="10650" y="9263"/>
                    <a:pt x="10555" y="9106"/>
                  </a:cubicBezTo>
                  <a:lnTo>
                    <a:pt x="10303" y="8601"/>
                  </a:lnTo>
                  <a:cubicBezTo>
                    <a:pt x="10618" y="8129"/>
                    <a:pt x="10807" y="7562"/>
                    <a:pt x="10933" y="7026"/>
                  </a:cubicBezTo>
                  <a:lnTo>
                    <a:pt x="11500" y="6869"/>
                  </a:lnTo>
                  <a:cubicBezTo>
                    <a:pt x="11658" y="6806"/>
                    <a:pt x="11784" y="6711"/>
                    <a:pt x="11784" y="6554"/>
                  </a:cubicBezTo>
                  <a:lnTo>
                    <a:pt x="11784" y="5167"/>
                  </a:lnTo>
                  <a:cubicBezTo>
                    <a:pt x="11752" y="5041"/>
                    <a:pt x="11658" y="4915"/>
                    <a:pt x="11500" y="4884"/>
                  </a:cubicBezTo>
                  <a:lnTo>
                    <a:pt x="10902" y="4726"/>
                  </a:lnTo>
                  <a:cubicBezTo>
                    <a:pt x="10807" y="4191"/>
                    <a:pt x="10555" y="3687"/>
                    <a:pt x="10272" y="3151"/>
                  </a:cubicBezTo>
                  <a:lnTo>
                    <a:pt x="10555" y="2647"/>
                  </a:lnTo>
                  <a:cubicBezTo>
                    <a:pt x="10650" y="2521"/>
                    <a:pt x="10587" y="2332"/>
                    <a:pt x="10524" y="2206"/>
                  </a:cubicBezTo>
                  <a:lnTo>
                    <a:pt x="9578" y="1261"/>
                  </a:lnTo>
                  <a:cubicBezTo>
                    <a:pt x="9509" y="1209"/>
                    <a:pt x="9430" y="1185"/>
                    <a:pt x="9347" y="1185"/>
                  </a:cubicBezTo>
                  <a:cubicBezTo>
                    <a:pt x="9279" y="1185"/>
                    <a:pt x="9208" y="1201"/>
                    <a:pt x="9137" y="1229"/>
                  </a:cubicBezTo>
                  <a:lnTo>
                    <a:pt x="8633" y="1513"/>
                  </a:lnTo>
                  <a:cubicBezTo>
                    <a:pt x="8161" y="1198"/>
                    <a:pt x="7594" y="977"/>
                    <a:pt x="7058" y="883"/>
                  </a:cubicBezTo>
                  <a:lnTo>
                    <a:pt x="6901" y="284"/>
                  </a:lnTo>
                  <a:cubicBezTo>
                    <a:pt x="6869" y="127"/>
                    <a:pt x="6743" y="1"/>
                    <a:pt x="6585" y="1"/>
                  </a:cubicBezTo>
                  <a:close/>
                </a:path>
              </a:pathLst>
            </a:custGeom>
            <a:grpFill/>
            <a:ln>
              <a:noFill/>
            </a:ln>
          </p:spPr>
          <p:txBody>
            <a:bodyPr spcFirstLastPara="1" wrap="square" lIns="91417" tIns="91417" rIns="91417" bIns="91417" anchor="ctr" anchorCtr="0">
              <a:noAutofit/>
            </a:bodyPr>
            <a:lstStyle/>
            <a:p>
              <a:endParaRPr sz="1400"/>
            </a:p>
          </p:txBody>
        </p:sp>
        <p:sp>
          <p:nvSpPr>
            <p:cNvPr id="248" name="Google Shape;6915;p88"/>
            <p:cNvSpPr/>
            <p:nvPr/>
          </p:nvSpPr>
          <p:spPr>
            <a:xfrm>
              <a:off x="-31455100" y="3997350"/>
              <a:ext cx="215050" cy="205025"/>
            </a:xfrm>
            <a:custGeom>
              <a:rect l="l" t="t" r="r" b="b"/>
              <a:pathLst>
                <a:path w="8602" h="8201" extrusionOk="0">
                  <a:moveTo>
                    <a:pt x="5939" y="0"/>
                  </a:moveTo>
                  <a:cubicBezTo>
                    <a:pt x="4729" y="0"/>
                    <a:pt x="3750" y="854"/>
                    <a:pt x="3561" y="1963"/>
                  </a:cubicBezTo>
                  <a:cubicBezTo>
                    <a:pt x="3466" y="2404"/>
                    <a:pt x="3498" y="2813"/>
                    <a:pt x="3624" y="3223"/>
                  </a:cubicBezTo>
                  <a:lnTo>
                    <a:pt x="410" y="6468"/>
                  </a:lnTo>
                  <a:cubicBezTo>
                    <a:pt x="1" y="6846"/>
                    <a:pt x="1" y="7507"/>
                    <a:pt x="410" y="7917"/>
                  </a:cubicBezTo>
                  <a:cubicBezTo>
                    <a:pt x="600" y="8106"/>
                    <a:pt x="852" y="8200"/>
                    <a:pt x="1111" y="8200"/>
                  </a:cubicBezTo>
                  <a:cubicBezTo>
                    <a:pt x="1371" y="8200"/>
                    <a:pt x="1639" y="8106"/>
                    <a:pt x="1860" y="7917"/>
                  </a:cubicBezTo>
                  <a:lnTo>
                    <a:pt x="5136" y="4640"/>
                  </a:lnTo>
                  <a:cubicBezTo>
                    <a:pt x="5388" y="4735"/>
                    <a:pt x="5664" y="4782"/>
                    <a:pt x="5947" y="4782"/>
                  </a:cubicBezTo>
                  <a:cubicBezTo>
                    <a:pt x="6231" y="4782"/>
                    <a:pt x="6522" y="4735"/>
                    <a:pt x="6806" y="4640"/>
                  </a:cubicBezTo>
                  <a:cubicBezTo>
                    <a:pt x="7846" y="4294"/>
                    <a:pt x="8602" y="3065"/>
                    <a:pt x="8224" y="1773"/>
                  </a:cubicBezTo>
                  <a:cubicBezTo>
                    <a:pt x="8192" y="1647"/>
                    <a:pt x="8129" y="1553"/>
                    <a:pt x="8003" y="1521"/>
                  </a:cubicBezTo>
                  <a:cubicBezTo>
                    <a:pt x="7972" y="1514"/>
                    <a:pt x="7942" y="1510"/>
                    <a:pt x="7914" y="1510"/>
                  </a:cubicBezTo>
                  <a:cubicBezTo>
                    <a:pt x="7830" y="1510"/>
                    <a:pt x="7759" y="1545"/>
                    <a:pt x="7688" y="1616"/>
                  </a:cubicBezTo>
                  <a:lnTo>
                    <a:pt x="6901" y="2404"/>
                  </a:lnTo>
                  <a:cubicBezTo>
                    <a:pt x="6759" y="2530"/>
                    <a:pt x="6578" y="2593"/>
                    <a:pt x="6400" y="2593"/>
                  </a:cubicBezTo>
                  <a:cubicBezTo>
                    <a:pt x="6223" y="2593"/>
                    <a:pt x="6050" y="2530"/>
                    <a:pt x="5924" y="2404"/>
                  </a:cubicBezTo>
                  <a:cubicBezTo>
                    <a:pt x="5640" y="2120"/>
                    <a:pt x="5640" y="1679"/>
                    <a:pt x="5924" y="1395"/>
                  </a:cubicBezTo>
                  <a:lnTo>
                    <a:pt x="6711" y="608"/>
                  </a:lnTo>
                  <a:cubicBezTo>
                    <a:pt x="6774" y="545"/>
                    <a:pt x="6806" y="419"/>
                    <a:pt x="6774" y="293"/>
                  </a:cubicBezTo>
                  <a:cubicBezTo>
                    <a:pt x="6743" y="198"/>
                    <a:pt x="6648" y="104"/>
                    <a:pt x="6554" y="72"/>
                  </a:cubicBezTo>
                  <a:cubicBezTo>
                    <a:pt x="6344" y="23"/>
                    <a:pt x="6139" y="0"/>
                    <a:pt x="5939" y="0"/>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280" name="Google Shape;6947;p88"/>
          <p:cNvGrpSpPr/>
          <p:nvPr/>
        </p:nvGrpSpPr>
        <p:grpSpPr>
          <a:xfrm>
            <a:off x="4197302" y="2301144"/>
            <a:ext cx="595145" cy="596775"/>
            <a:chOff x="-32927950" y="3944800"/>
            <a:chExt cx="292225" cy="293025"/>
          </a:xfrm>
          <a:solidFill>
            <a:srgbClr val="00677F"/>
          </a:solidFill>
        </p:grpSpPr>
        <p:sp>
          <p:nvSpPr>
            <p:cNvPr id="281" name="Google Shape;6948;p88"/>
            <p:cNvSpPr/>
            <p:nvPr/>
          </p:nvSpPr>
          <p:spPr>
            <a:xfrm>
              <a:off x="-32927950" y="3944800"/>
              <a:ext cx="69325" cy="292225"/>
            </a:xfrm>
            <a:custGeom>
              <a:rect l="l" t="t" r="r" b="b"/>
              <a:pathLst>
                <a:path w="2773" h="11689" extrusionOk="0">
                  <a:moveTo>
                    <a:pt x="1418" y="0"/>
                  </a:moveTo>
                  <a:cubicBezTo>
                    <a:pt x="1072" y="0"/>
                    <a:pt x="757" y="315"/>
                    <a:pt x="757" y="662"/>
                  </a:cubicBezTo>
                  <a:lnTo>
                    <a:pt x="757" y="9578"/>
                  </a:lnTo>
                  <a:cubicBezTo>
                    <a:pt x="757" y="9830"/>
                    <a:pt x="914" y="10050"/>
                    <a:pt x="1103" y="10176"/>
                  </a:cubicBezTo>
                  <a:lnTo>
                    <a:pt x="1103" y="10996"/>
                  </a:lnTo>
                  <a:lnTo>
                    <a:pt x="347" y="10996"/>
                  </a:lnTo>
                  <a:cubicBezTo>
                    <a:pt x="158" y="10996"/>
                    <a:pt x="1" y="11153"/>
                    <a:pt x="1" y="11342"/>
                  </a:cubicBezTo>
                  <a:cubicBezTo>
                    <a:pt x="1" y="11531"/>
                    <a:pt x="158" y="11689"/>
                    <a:pt x="347" y="11689"/>
                  </a:cubicBezTo>
                  <a:lnTo>
                    <a:pt x="2395" y="11689"/>
                  </a:lnTo>
                  <a:cubicBezTo>
                    <a:pt x="2616" y="11689"/>
                    <a:pt x="2773" y="11531"/>
                    <a:pt x="2773" y="11342"/>
                  </a:cubicBezTo>
                  <a:cubicBezTo>
                    <a:pt x="2773" y="11153"/>
                    <a:pt x="2616" y="10996"/>
                    <a:pt x="2395" y="10996"/>
                  </a:cubicBezTo>
                  <a:lnTo>
                    <a:pt x="1733" y="10996"/>
                  </a:lnTo>
                  <a:lnTo>
                    <a:pt x="1733" y="10176"/>
                  </a:lnTo>
                  <a:cubicBezTo>
                    <a:pt x="1922" y="10050"/>
                    <a:pt x="2080" y="9861"/>
                    <a:pt x="2080" y="9578"/>
                  </a:cubicBezTo>
                  <a:lnTo>
                    <a:pt x="2080" y="662"/>
                  </a:lnTo>
                  <a:cubicBezTo>
                    <a:pt x="2080" y="284"/>
                    <a:pt x="1765" y="0"/>
                    <a:pt x="1418" y="0"/>
                  </a:cubicBezTo>
                  <a:close/>
                </a:path>
              </a:pathLst>
            </a:custGeom>
            <a:grpFill/>
            <a:ln>
              <a:noFill/>
            </a:ln>
          </p:spPr>
          <p:txBody>
            <a:bodyPr spcFirstLastPara="1" wrap="square" lIns="91417" tIns="91417" rIns="91417" bIns="91417" anchor="ctr" anchorCtr="0">
              <a:noAutofit/>
            </a:bodyPr>
            <a:lstStyle/>
            <a:p>
              <a:endParaRPr sz="1400"/>
            </a:p>
          </p:txBody>
        </p:sp>
        <p:sp>
          <p:nvSpPr>
            <p:cNvPr id="282" name="Google Shape;6949;p88"/>
            <p:cNvSpPr/>
            <p:nvPr/>
          </p:nvSpPr>
          <p:spPr>
            <a:xfrm>
              <a:off x="-32720800" y="4057425"/>
              <a:ext cx="85075" cy="25225"/>
            </a:xfrm>
            <a:custGeom>
              <a:rect l="l" t="t" r="r" b="b"/>
              <a:pathLst>
                <a:path w="3403" h="1009" extrusionOk="0">
                  <a:moveTo>
                    <a:pt x="505" y="1"/>
                  </a:moveTo>
                  <a:cubicBezTo>
                    <a:pt x="221" y="1"/>
                    <a:pt x="0" y="221"/>
                    <a:pt x="0" y="505"/>
                  </a:cubicBezTo>
                  <a:cubicBezTo>
                    <a:pt x="0" y="788"/>
                    <a:pt x="221" y="1009"/>
                    <a:pt x="505" y="1009"/>
                  </a:cubicBezTo>
                  <a:lnTo>
                    <a:pt x="2899" y="1009"/>
                  </a:lnTo>
                  <a:cubicBezTo>
                    <a:pt x="3182" y="1009"/>
                    <a:pt x="3403" y="788"/>
                    <a:pt x="3403" y="505"/>
                  </a:cubicBezTo>
                  <a:cubicBezTo>
                    <a:pt x="3403" y="190"/>
                    <a:pt x="3182" y="1"/>
                    <a:pt x="2899" y="1"/>
                  </a:cubicBezTo>
                  <a:close/>
                </a:path>
              </a:pathLst>
            </a:custGeom>
            <a:grpFill/>
            <a:ln>
              <a:noFill/>
            </a:ln>
          </p:spPr>
          <p:txBody>
            <a:bodyPr spcFirstLastPara="1" wrap="square" lIns="91417" tIns="91417" rIns="91417" bIns="91417" anchor="ctr" anchorCtr="0">
              <a:noAutofit/>
            </a:bodyPr>
            <a:lstStyle/>
            <a:p>
              <a:endParaRPr sz="1400"/>
            </a:p>
          </p:txBody>
        </p:sp>
        <p:sp>
          <p:nvSpPr>
            <p:cNvPr id="283" name="Google Shape;6950;p88"/>
            <p:cNvSpPr/>
            <p:nvPr/>
          </p:nvSpPr>
          <p:spPr>
            <a:xfrm>
              <a:off x="-32720800" y="4099950"/>
              <a:ext cx="85075" cy="25225"/>
            </a:xfrm>
            <a:custGeom>
              <a:rect l="l" t="t" r="r" b="b"/>
              <a:pathLst>
                <a:path w="3403" h="1009" extrusionOk="0">
                  <a:moveTo>
                    <a:pt x="505" y="1"/>
                  </a:moveTo>
                  <a:cubicBezTo>
                    <a:pt x="221" y="1"/>
                    <a:pt x="0" y="221"/>
                    <a:pt x="0" y="505"/>
                  </a:cubicBezTo>
                  <a:cubicBezTo>
                    <a:pt x="0" y="788"/>
                    <a:pt x="221" y="1009"/>
                    <a:pt x="505" y="1009"/>
                  </a:cubicBezTo>
                  <a:lnTo>
                    <a:pt x="2899" y="1009"/>
                  </a:lnTo>
                  <a:cubicBezTo>
                    <a:pt x="3182" y="1009"/>
                    <a:pt x="3403" y="788"/>
                    <a:pt x="3403" y="505"/>
                  </a:cubicBezTo>
                  <a:cubicBezTo>
                    <a:pt x="3403" y="221"/>
                    <a:pt x="3182" y="1"/>
                    <a:pt x="2899" y="1"/>
                  </a:cubicBezTo>
                  <a:close/>
                </a:path>
              </a:pathLst>
            </a:custGeom>
            <a:grpFill/>
            <a:ln>
              <a:noFill/>
            </a:ln>
          </p:spPr>
          <p:txBody>
            <a:bodyPr spcFirstLastPara="1" wrap="square" lIns="91417" tIns="91417" rIns="91417" bIns="91417" anchor="ctr" anchorCtr="0">
              <a:noAutofit/>
            </a:bodyPr>
            <a:lstStyle/>
            <a:p>
              <a:endParaRPr sz="1400"/>
            </a:p>
          </p:txBody>
        </p:sp>
        <p:sp>
          <p:nvSpPr>
            <p:cNvPr id="284" name="Google Shape;6951;p88"/>
            <p:cNvSpPr/>
            <p:nvPr/>
          </p:nvSpPr>
          <p:spPr>
            <a:xfrm>
              <a:off x="-32720800" y="4141700"/>
              <a:ext cx="67750" cy="26025"/>
            </a:xfrm>
            <a:custGeom>
              <a:rect l="l" t="t" r="r" b="b"/>
              <a:pathLst>
                <a:path w="2710" h="1041" extrusionOk="0">
                  <a:moveTo>
                    <a:pt x="505" y="1"/>
                  </a:moveTo>
                  <a:cubicBezTo>
                    <a:pt x="221" y="1"/>
                    <a:pt x="0" y="253"/>
                    <a:pt x="0" y="536"/>
                  </a:cubicBezTo>
                  <a:cubicBezTo>
                    <a:pt x="0" y="788"/>
                    <a:pt x="221" y="1040"/>
                    <a:pt x="505" y="1040"/>
                  </a:cubicBezTo>
                  <a:lnTo>
                    <a:pt x="2206" y="1040"/>
                  </a:lnTo>
                  <a:cubicBezTo>
                    <a:pt x="2458" y="1040"/>
                    <a:pt x="2710" y="788"/>
                    <a:pt x="2710" y="536"/>
                  </a:cubicBezTo>
                  <a:cubicBezTo>
                    <a:pt x="2710" y="253"/>
                    <a:pt x="2521" y="1"/>
                    <a:pt x="2206" y="1"/>
                  </a:cubicBezTo>
                  <a:close/>
                </a:path>
              </a:pathLst>
            </a:custGeom>
            <a:grpFill/>
            <a:ln>
              <a:noFill/>
            </a:ln>
          </p:spPr>
          <p:txBody>
            <a:bodyPr spcFirstLastPara="1" wrap="square" lIns="91417" tIns="91417" rIns="91417" bIns="91417" anchor="ctr" anchorCtr="0">
              <a:noAutofit/>
            </a:bodyPr>
            <a:lstStyle/>
            <a:p>
              <a:endParaRPr sz="1400"/>
            </a:p>
          </p:txBody>
        </p:sp>
        <p:sp>
          <p:nvSpPr>
            <p:cNvPr id="285" name="Google Shape;6952;p88"/>
            <p:cNvSpPr/>
            <p:nvPr/>
          </p:nvSpPr>
          <p:spPr>
            <a:xfrm>
              <a:off x="-32754674" y="3944800"/>
              <a:ext cx="51225" cy="52000"/>
            </a:xfrm>
            <a:custGeom>
              <a:rect l="l" t="t" r="r" b="b"/>
              <a:pathLst>
                <a:path w="2049" h="2080" extrusionOk="0">
                  <a:moveTo>
                    <a:pt x="1702" y="0"/>
                  </a:moveTo>
                  <a:cubicBezTo>
                    <a:pt x="757" y="0"/>
                    <a:pt x="1" y="788"/>
                    <a:pt x="1" y="1733"/>
                  </a:cubicBezTo>
                  <a:lnTo>
                    <a:pt x="1" y="2080"/>
                  </a:lnTo>
                  <a:lnTo>
                    <a:pt x="2049" y="2080"/>
                  </a:lnTo>
                  <a:lnTo>
                    <a:pt x="2049" y="0"/>
                  </a:lnTo>
                  <a:close/>
                </a:path>
              </a:pathLst>
            </a:custGeom>
            <a:grpFill/>
            <a:ln>
              <a:noFill/>
            </a:ln>
          </p:spPr>
          <p:txBody>
            <a:bodyPr spcFirstLastPara="1" wrap="square" lIns="91417" tIns="91417" rIns="91417" bIns="91417" anchor="ctr" anchorCtr="0">
              <a:noAutofit/>
            </a:bodyPr>
            <a:lstStyle/>
            <a:p>
              <a:endParaRPr sz="1400"/>
            </a:p>
          </p:txBody>
        </p:sp>
        <p:sp>
          <p:nvSpPr>
            <p:cNvPr id="286" name="Google Shape;6953;p88"/>
            <p:cNvSpPr/>
            <p:nvPr/>
          </p:nvSpPr>
          <p:spPr>
            <a:xfrm>
              <a:off x="-32687726" y="3944800"/>
              <a:ext cx="34675" cy="55150"/>
            </a:xfrm>
            <a:custGeom>
              <a:rect l="l" t="t" r="r" b="b"/>
              <a:pathLst>
                <a:path w="1387" h="2206" extrusionOk="0">
                  <a:moveTo>
                    <a:pt x="1" y="0"/>
                  </a:moveTo>
                  <a:lnTo>
                    <a:pt x="1" y="2111"/>
                  </a:lnTo>
                  <a:lnTo>
                    <a:pt x="883" y="2111"/>
                  </a:lnTo>
                  <a:cubicBezTo>
                    <a:pt x="1072" y="2111"/>
                    <a:pt x="1261" y="2143"/>
                    <a:pt x="1387" y="2206"/>
                  </a:cubicBezTo>
                  <a:lnTo>
                    <a:pt x="1387" y="1040"/>
                  </a:lnTo>
                  <a:cubicBezTo>
                    <a:pt x="1387" y="473"/>
                    <a:pt x="914" y="0"/>
                    <a:pt x="347" y="0"/>
                  </a:cubicBezTo>
                  <a:close/>
                </a:path>
              </a:pathLst>
            </a:custGeom>
            <a:grpFill/>
            <a:ln>
              <a:noFill/>
            </a:ln>
          </p:spPr>
          <p:txBody>
            <a:bodyPr spcFirstLastPara="1" wrap="square" lIns="91417" tIns="91417" rIns="91417" bIns="91417" anchor="ctr" anchorCtr="0">
              <a:noAutofit/>
            </a:bodyPr>
            <a:lstStyle/>
            <a:p>
              <a:endParaRPr sz="1400"/>
            </a:p>
          </p:txBody>
        </p:sp>
        <p:sp>
          <p:nvSpPr>
            <p:cNvPr id="287" name="Google Shape;6954;p88"/>
            <p:cNvSpPr/>
            <p:nvPr/>
          </p:nvSpPr>
          <p:spPr>
            <a:xfrm>
              <a:off x="-32860199" y="4014100"/>
              <a:ext cx="207150" cy="153625"/>
            </a:xfrm>
            <a:custGeom>
              <a:rect l="l" t="t" r="r" b="b"/>
              <a:pathLst>
                <a:path w="8286" h="6145" extrusionOk="0">
                  <a:moveTo>
                    <a:pt x="0" y="1"/>
                  </a:moveTo>
                  <a:lnTo>
                    <a:pt x="0" y="6144"/>
                  </a:lnTo>
                  <a:lnTo>
                    <a:pt x="378" y="6144"/>
                  </a:lnTo>
                  <a:cubicBezTo>
                    <a:pt x="756" y="6144"/>
                    <a:pt x="1071" y="5892"/>
                    <a:pt x="1260" y="5577"/>
                  </a:cubicBezTo>
                  <a:lnTo>
                    <a:pt x="2016" y="5955"/>
                  </a:lnTo>
                  <a:cubicBezTo>
                    <a:pt x="2268" y="6050"/>
                    <a:pt x="2552" y="6144"/>
                    <a:pt x="2773" y="6144"/>
                  </a:cubicBezTo>
                  <a:lnTo>
                    <a:pt x="3497" y="6144"/>
                  </a:lnTo>
                  <a:lnTo>
                    <a:pt x="3497" y="3057"/>
                  </a:lnTo>
                  <a:cubicBezTo>
                    <a:pt x="3214" y="3309"/>
                    <a:pt x="2867" y="3435"/>
                    <a:pt x="2457" y="3435"/>
                  </a:cubicBezTo>
                  <a:cubicBezTo>
                    <a:pt x="2268" y="3435"/>
                    <a:pt x="2111" y="3277"/>
                    <a:pt x="2111" y="3057"/>
                  </a:cubicBezTo>
                  <a:cubicBezTo>
                    <a:pt x="2111" y="2868"/>
                    <a:pt x="2268" y="2710"/>
                    <a:pt x="2457" y="2710"/>
                  </a:cubicBezTo>
                  <a:cubicBezTo>
                    <a:pt x="3025" y="2710"/>
                    <a:pt x="3497" y="2238"/>
                    <a:pt x="3497" y="1702"/>
                  </a:cubicBezTo>
                  <a:lnTo>
                    <a:pt x="3497" y="1009"/>
                  </a:lnTo>
                  <a:lnTo>
                    <a:pt x="7782" y="1009"/>
                  </a:lnTo>
                  <a:cubicBezTo>
                    <a:pt x="8065" y="1009"/>
                    <a:pt x="8286" y="788"/>
                    <a:pt x="8286" y="505"/>
                  </a:cubicBezTo>
                  <a:cubicBezTo>
                    <a:pt x="8286" y="221"/>
                    <a:pt x="8065" y="1"/>
                    <a:pt x="7782" y="1"/>
                  </a:cubicBezTo>
                  <a:lnTo>
                    <a:pt x="3560" y="1"/>
                  </a:lnTo>
                  <a:cubicBezTo>
                    <a:pt x="3308" y="1"/>
                    <a:pt x="2899" y="158"/>
                    <a:pt x="2583" y="442"/>
                  </a:cubicBezTo>
                  <a:cubicBezTo>
                    <a:pt x="2426" y="599"/>
                    <a:pt x="2205" y="662"/>
                    <a:pt x="1985" y="662"/>
                  </a:cubicBezTo>
                  <a:lnTo>
                    <a:pt x="1323" y="662"/>
                  </a:lnTo>
                  <a:cubicBezTo>
                    <a:pt x="1166" y="284"/>
                    <a:pt x="788" y="1"/>
                    <a:pt x="378" y="1"/>
                  </a:cubicBezTo>
                  <a:close/>
                </a:path>
              </a:pathLst>
            </a:custGeom>
            <a:grpFill/>
            <a:ln>
              <a:noFill/>
            </a:ln>
          </p:spPr>
          <p:txBody>
            <a:bodyPr spcFirstLastPara="1" wrap="square" lIns="91417" tIns="91417" rIns="91417" bIns="91417" anchor="ctr" anchorCtr="0">
              <a:noAutofit/>
            </a:bodyPr>
            <a:lstStyle/>
            <a:p>
              <a:endParaRPr sz="1400"/>
            </a:p>
          </p:txBody>
        </p:sp>
        <p:sp>
          <p:nvSpPr>
            <p:cNvPr id="288" name="Google Shape;6955;p88"/>
            <p:cNvSpPr/>
            <p:nvPr/>
          </p:nvSpPr>
          <p:spPr>
            <a:xfrm>
              <a:off x="-32755449" y="4055850"/>
              <a:ext cx="51200" cy="181175"/>
            </a:xfrm>
            <a:custGeom>
              <a:rect l="l" t="t" r="r" b="b"/>
              <a:pathLst>
                <a:path w="2048" h="7246" extrusionOk="0">
                  <a:moveTo>
                    <a:pt x="0" y="1"/>
                  </a:moveTo>
                  <a:lnTo>
                    <a:pt x="0" y="64"/>
                  </a:lnTo>
                  <a:lnTo>
                    <a:pt x="0" y="5514"/>
                  </a:lnTo>
                  <a:cubicBezTo>
                    <a:pt x="0" y="6459"/>
                    <a:pt x="756" y="7247"/>
                    <a:pt x="1701" y="7247"/>
                  </a:cubicBezTo>
                  <a:lnTo>
                    <a:pt x="2048" y="7247"/>
                  </a:lnTo>
                  <a:lnTo>
                    <a:pt x="2048" y="5167"/>
                  </a:lnTo>
                  <a:lnTo>
                    <a:pt x="1891" y="5167"/>
                  </a:lnTo>
                  <a:cubicBezTo>
                    <a:pt x="1229" y="5167"/>
                    <a:pt x="725" y="4632"/>
                    <a:pt x="725" y="4002"/>
                  </a:cubicBezTo>
                  <a:cubicBezTo>
                    <a:pt x="725" y="3624"/>
                    <a:pt x="882" y="3372"/>
                    <a:pt x="1071" y="3120"/>
                  </a:cubicBezTo>
                  <a:cubicBezTo>
                    <a:pt x="819" y="2899"/>
                    <a:pt x="725" y="2615"/>
                    <a:pt x="725" y="2269"/>
                  </a:cubicBezTo>
                  <a:cubicBezTo>
                    <a:pt x="725" y="1922"/>
                    <a:pt x="882" y="1639"/>
                    <a:pt x="1071" y="1387"/>
                  </a:cubicBezTo>
                  <a:cubicBezTo>
                    <a:pt x="819" y="1166"/>
                    <a:pt x="725" y="883"/>
                    <a:pt x="725" y="536"/>
                  </a:cubicBezTo>
                  <a:cubicBezTo>
                    <a:pt x="725" y="316"/>
                    <a:pt x="756" y="190"/>
                    <a:pt x="819" y="1"/>
                  </a:cubicBezTo>
                  <a:close/>
                </a:path>
              </a:pathLst>
            </a:custGeom>
            <a:grpFill/>
            <a:ln>
              <a:noFill/>
            </a:ln>
          </p:spPr>
          <p:txBody>
            <a:bodyPr spcFirstLastPara="1" wrap="square" lIns="91417" tIns="91417" rIns="91417" bIns="91417" anchor="ctr" anchorCtr="0">
              <a:noAutofit/>
            </a:bodyPr>
            <a:lstStyle/>
            <a:p>
              <a:endParaRPr sz="1400"/>
            </a:p>
          </p:txBody>
        </p:sp>
        <p:sp>
          <p:nvSpPr>
            <p:cNvPr id="289" name="Google Shape;6956;p88"/>
            <p:cNvSpPr/>
            <p:nvPr/>
          </p:nvSpPr>
          <p:spPr>
            <a:xfrm>
              <a:off x="-32686926" y="4182650"/>
              <a:ext cx="34675" cy="55175"/>
            </a:xfrm>
            <a:custGeom>
              <a:rect l="l" t="t" r="r" b="b"/>
              <a:pathLst>
                <a:path w="1387" h="2207" extrusionOk="0">
                  <a:moveTo>
                    <a:pt x="1386" y="1"/>
                  </a:moveTo>
                  <a:cubicBezTo>
                    <a:pt x="1229" y="64"/>
                    <a:pt x="1071" y="95"/>
                    <a:pt x="882" y="95"/>
                  </a:cubicBezTo>
                  <a:lnTo>
                    <a:pt x="0" y="95"/>
                  </a:lnTo>
                  <a:lnTo>
                    <a:pt x="0" y="2206"/>
                  </a:lnTo>
                  <a:lnTo>
                    <a:pt x="378" y="2206"/>
                  </a:lnTo>
                  <a:cubicBezTo>
                    <a:pt x="914" y="2206"/>
                    <a:pt x="1386" y="1734"/>
                    <a:pt x="1386" y="1167"/>
                  </a:cubicBezTo>
                  <a:lnTo>
                    <a:pt x="1386" y="1"/>
                  </a:lnTo>
                  <a:close/>
                </a:path>
              </a:pathLst>
            </a:custGeom>
            <a:grpFill/>
            <a:ln>
              <a:noFill/>
            </a:ln>
          </p:spPr>
          <p:txBody>
            <a:bodyPr spcFirstLastPara="1" wrap="square" lIns="91417" tIns="91417" rIns="91417" bIns="91417" anchor="ctr" anchorCtr="0">
              <a:noAutofit/>
            </a:bodyPr>
            <a:lstStyle/>
            <a:p>
              <a:endParaRPr sz="1400"/>
            </a:p>
          </p:txBody>
        </p:sp>
      </p:grpSp>
      <p:grpSp>
        <p:nvGrpSpPr>
          <p:cNvPr id="304" name="Google Shape;6971;p88"/>
          <p:cNvGrpSpPr/>
          <p:nvPr/>
        </p:nvGrpSpPr>
        <p:grpSpPr>
          <a:xfrm>
            <a:off x="8143489" y="2267060"/>
            <a:ext cx="593567" cy="593517"/>
            <a:chOff x="-31093575" y="3911725"/>
            <a:chExt cx="291450" cy="291425"/>
          </a:xfrm>
          <a:solidFill>
            <a:srgbClr val="00677F"/>
          </a:solidFill>
        </p:grpSpPr>
        <p:sp>
          <p:nvSpPr>
            <p:cNvPr id="305" name="Google Shape;6972;p88"/>
            <p:cNvSpPr/>
            <p:nvPr/>
          </p:nvSpPr>
          <p:spPr>
            <a:xfrm>
              <a:off x="-31093575" y="3911725"/>
              <a:ext cx="291450" cy="291425"/>
            </a:xfrm>
            <a:custGeom>
              <a:rect l="l" t="t" r="r" b="b"/>
              <a:pathLst>
                <a:path w="11658" h="11657" extrusionOk="0">
                  <a:moveTo>
                    <a:pt x="5829" y="0"/>
                  </a:moveTo>
                  <a:cubicBezTo>
                    <a:pt x="3372" y="0"/>
                    <a:pt x="1261" y="1796"/>
                    <a:pt x="788" y="4159"/>
                  </a:cubicBezTo>
                  <a:cubicBezTo>
                    <a:pt x="347" y="4285"/>
                    <a:pt x="1" y="4694"/>
                    <a:pt x="1" y="5167"/>
                  </a:cubicBezTo>
                  <a:lnTo>
                    <a:pt x="1" y="7876"/>
                  </a:lnTo>
                  <a:cubicBezTo>
                    <a:pt x="1" y="8412"/>
                    <a:pt x="473" y="8885"/>
                    <a:pt x="1009" y="8885"/>
                  </a:cubicBezTo>
                  <a:lnTo>
                    <a:pt x="1702" y="8885"/>
                  </a:lnTo>
                  <a:cubicBezTo>
                    <a:pt x="1891" y="8885"/>
                    <a:pt x="2049" y="8727"/>
                    <a:pt x="2049" y="8538"/>
                  </a:cubicBezTo>
                  <a:lnTo>
                    <a:pt x="2049" y="4442"/>
                  </a:lnTo>
                  <a:cubicBezTo>
                    <a:pt x="2049" y="4253"/>
                    <a:pt x="1891" y="4096"/>
                    <a:pt x="1702" y="4096"/>
                  </a:cubicBezTo>
                  <a:lnTo>
                    <a:pt x="1481" y="4096"/>
                  </a:lnTo>
                  <a:cubicBezTo>
                    <a:pt x="1954" y="2111"/>
                    <a:pt x="3781" y="630"/>
                    <a:pt x="5829" y="630"/>
                  </a:cubicBezTo>
                  <a:cubicBezTo>
                    <a:pt x="7877" y="630"/>
                    <a:pt x="9673" y="2111"/>
                    <a:pt x="10145" y="4096"/>
                  </a:cubicBezTo>
                  <a:lnTo>
                    <a:pt x="9956" y="4096"/>
                  </a:lnTo>
                  <a:cubicBezTo>
                    <a:pt x="9767" y="4096"/>
                    <a:pt x="9610" y="4253"/>
                    <a:pt x="9610" y="4442"/>
                  </a:cubicBezTo>
                  <a:lnTo>
                    <a:pt x="9610" y="8538"/>
                  </a:lnTo>
                  <a:cubicBezTo>
                    <a:pt x="9610" y="8727"/>
                    <a:pt x="9767" y="8885"/>
                    <a:pt x="9956" y="8885"/>
                  </a:cubicBezTo>
                  <a:lnTo>
                    <a:pt x="10271" y="8885"/>
                  </a:lnTo>
                  <a:cubicBezTo>
                    <a:pt x="10114" y="9672"/>
                    <a:pt x="9421" y="10271"/>
                    <a:pt x="8570" y="10271"/>
                  </a:cubicBezTo>
                  <a:lnTo>
                    <a:pt x="6774" y="10271"/>
                  </a:lnTo>
                  <a:cubicBezTo>
                    <a:pt x="6617" y="9893"/>
                    <a:pt x="6270" y="9609"/>
                    <a:pt x="5829" y="9609"/>
                  </a:cubicBezTo>
                  <a:cubicBezTo>
                    <a:pt x="5262" y="9609"/>
                    <a:pt x="4789" y="10082"/>
                    <a:pt x="4789" y="10617"/>
                  </a:cubicBezTo>
                  <a:cubicBezTo>
                    <a:pt x="4789" y="11184"/>
                    <a:pt x="5262" y="11657"/>
                    <a:pt x="5829" y="11657"/>
                  </a:cubicBezTo>
                  <a:cubicBezTo>
                    <a:pt x="6270" y="11657"/>
                    <a:pt x="6648" y="11373"/>
                    <a:pt x="6774" y="10995"/>
                  </a:cubicBezTo>
                  <a:lnTo>
                    <a:pt x="8570" y="10995"/>
                  </a:lnTo>
                  <a:cubicBezTo>
                    <a:pt x="9799" y="10995"/>
                    <a:pt x="10775" y="10082"/>
                    <a:pt x="10933" y="8885"/>
                  </a:cubicBezTo>
                  <a:cubicBezTo>
                    <a:pt x="11342" y="8790"/>
                    <a:pt x="11658" y="8380"/>
                    <a:pt x="11658" y="7908"/>
                  </a:cubicBezTo>
                  <a:lnTo>
                    <a:pt x="11658" y="5198"/>
                  </a:lnTo>
                  <a:cubicBezTo>
                    <a:pt x="11658" y="4694"/>
                    <a:pt x="11311" y="4253"/>
                    <a:pt x="10870" y="4159"/>
                  </a:cubicBezTo>
                  <a:cubicBezTo>
                    <a:pt x="10397" y="1796"/>
                    <a:pt x="8255" y="0"/>
                    <a:pt x="5829" y="0"/>
                  </a:cubicBezTo>
                  <a:close/>
                </a:path>
              </a:pathLst>
            </a:custGeom>
            <a:grpFill/>
            <a:ln>
              <a:noFill/>
            </a:ln>
          </p:spPr>
          <p:txBody>
            <a:bodyPr spcFirstLastPara="1" wrap="square" lIns="91417" tIns="91417" rIns="91417" bIns="91417" anchor="ctr" anchorCtr="0">
              <a:noAutofit/>
            </a:bodyPr>
            <a:lstStyle/>
            <a:p>
              <a:endParaRPr sz="1400"/>
            </a:p>
          </p:txBody>
        </p:sp>
        <p:sp>
          <p:nvSpPr>
            <p:cNvPr id="306" name="Google Shape;6973;p88"/>
            <p:cNvSpPr/>
            <p:nvPr/>
          </p:nvSpPr>
          <p:spPr>
            <a:xfrm>
              <a:off x="-31025824" y="3980250"/>
              <a:ext cx="156750" cy="154250"/>
            </a:xfrm>
            <a:custGeom>
              <a:rect l="l" t="t" r="r" b="b"/>
              <a:pathLst>
                <a:path w="6270" h="6170" extrusionOk="0">
                  <a:moveTo>
                    <a:pt x="3119" y="1386"/>
                  </a:moveTo>
                  <a:cubicBezTo>
                    <a:pt x="3308" y="1386"/>
                    <a:pt x="3466" y="1544"/>
                    <a:pt x="3466" y="1733"/>
                  </a:cubicBezTo>
                  <a:cubicBezTo>
                    <a:pt x="3466" y="1953"/>
                    <a:pt x="3308" y="2079"/>
                    <a:pt x="3119" y="2079"/>
                  </a:cubicBezTo>
                  <a:cubicBezTo>
                    <a:pt x="2930" y="2079"/>
                    <a:pt x="2773" y="1953"/>
                    <a:pt x="2773" y="1733"/>
                  </a:cubicBezTo>
                  <a:cubicBezTo>
                    <a:pt x="2773" y="1544"/>
                    <a:pt x="2930" y="1386"/>
                    <a:pt x="3119" y="1386"/>
                  </a:cubicBezTo>
                  <a:close/>
                  <a:moveTo>
                    <a:pt x="3119" y="2741"/>
                  </a:moveTo>
                  <a:cubicBezTo>
                    <a:pt x="3308" y="2741"/>
                    <a:pt x="3466" y="2867"/>
                    <a:pt x="3466" y="3088"/>
                  </a:cubicBezTo>
                  <a:lnTo>
                    <a:pt x="3466" y="4474"/>
                  </a:lnTo>
                  <a:cubicBezTo>
                    <a:pt x="3466" y="4663"/>
                    <a:pt x="3308" y="4820"/>
                    <a:pt x="3119" y="4820"/>
                  </a:cubicBezTo>
                  <a:cubicBezTo>
                    <a:pt x="2930" y="4820"/>
                    <a:pt x="2773" y="4663"/>
                    <a:pt x="2773" y="4474"/>
                  </a:cubicBezTo>
                  <a:lnTo>
                    <a:pt x="2773" y="3088"/>
                  </a:lnTo>
                  <a:cubicBezTo>
                    <a:pt x="2773" y="2867"/>
                    <a:pt x="2930" y="2741"/>
                    <a:pt x="3119" y="2741"/>
                  </a:cubicBezTo>
                  <a:close/>
                  <a:moveTo>
                    <a:pt x="3151" y="0"/>
                  </a:moveTo>
                  <a:cubicBezTo>
                    <a:pt x="1449" y="0"/>
                    <a:pt x="63" y="1386"/>
                    <a:pt x="63" y="3088"/>
                  </a:cubicBezTo>
                  <a:cubicBezTo>
                    <a:pt x="63" y="3592"/>
                    <a:pt x="158" y="4096"/>
                    <a:pt x="441" y="4568"/>
                  </a:cubicBezTo>
                  <a:lnTo>
                    <a:pt x="63" y="5734"/>
                  </a:lnTo>
                  <a:cubicBezTo>
                    <a:pt x="0" y="5828"/>
                    <a:pt x="0" y="5955"/>
                    <a:pt x="126" y="6081"/>
                  </a:cubicBezTo>
                  <a:cubicBezTo>
                    <a:pt x="171" y="6125"/>
                    <a:pt x="263" y="6170"/>
                    <a:pt x="357" y="6170"/>
                  </a:cubicBezTo>
                  <a:cubicBezTo>
                    <a:pt x="396" y="6170"/>
                    <a:pt x="436" y="6162"/>
                    <a:pt x="473" y="6144"/>
                  </a:cubicBezTo>
                  <a:lnTo>
                    <a:pt x="1638" y="5765"/>
                  </a:lnTo>
                  <a:cubicBezTo>
                    <a:pt x="2079" y="6049"/>
                    <a:pt x="2615" y="6144"/>
                    <a:pt x="3151" y="6144"/>
                  </a:cubicBezTo>
                  <a:cubicBezTo>
                    <a:pt x="4852" y="6144"/>
                    <a:pt x="6270" y="4789"/>
                    <a:pt x="6270" y="3088"/>
                  </a:cubicBezTo>
                  <a:cubicBezTo>
                    <a:pt x="6270" y="1386"/>
                    <a:pt x="4852" y="0"/>
                    <a:pt x="3151" y="0"/>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337" name="Google Shape;7004;p88"/>
          <p:cNvGrpSpPr/>
          <p:nvPr/>
        </p:nvGrpSpPr>
        <p:grpSpPr>
          <a:xfrm>
            <a:off x="5042136" y="2277374"/>
            <a:ext cx="625643" cy="594739"/>
            <a:chOff x="-32576675" y="3944600"/>
            <a:chExt cx="307200" cy="292025"/>
          </a:xfrm>
          <a:solidFill>
            <a:srgbClr val="00677F"/>
          </a:solidFill>
        </p:grpSpPr>
        <p:sp>
          <p:nvSpPr>
            <p:cNvPr id="338" name="Google Shape;7005;p88"/>
            <p:cNvSpPr/>
            <p:nvPr/>
          </p:nvSpPr>
          <p:spPr>
            <a:xfrm>
              <a:off x="-32482951" y="3944600"/>
              <a:ext cx="213475" cy="214650"/>
            </a:xfrm>
            <a:custGeom>
              <a:rect l="l" t="t" r="r" b="b"/>
              <a:pathLst>
                <a:path w="8539" h="8586" extrusionOk="0">
                  <a:moveTo>
                    <a:pt x="5156" y="1"/>
                  </a:moveTo>
                  <a:cubicBezTo>
                    <a:pt x="4372" y="1"/>
                    <a:pt x="3593" y="308"/>
                    <a:pt x="2994" y="922"/>
                  </a:cubicBezTo>
                  <a:lnTo>
                    <a:pt x="1450" y="2466"/>
                  </a:lnTo>
                  <a:cubicBezTo>
                    <a:pt x="1681" y="2417"/>
                    <a:pt x="1916" y="2392"/>
                    <a:pt x="2152" y="2392"/>
                  </a:cubicBezTo>
                  <a:cubicBezTo>
                    <a:pt x="2529" y="2392"/>
                    <a:pt x="2909" y="2456"/>
                    <a:pt x="3277" y="2592"/>
                  </a:cubicBezTo>
                  <a:lnTo>
                    <a:pt x="3939" y="1899"/>
                  </a:lnTo>
                  <a:cubicBezTo>
                    <a:pt x="4270" y="1568"/>
                    <a:pt x="4703" y="1402"/>
                    <a:pt x="5136" y="1402"/>
                  </a:cubicBezTo>
                  <a:cubicBezTo>
                    <a:pt x="5569" y="1402"/>
                    <a:pt x="6003" y="1568"/>
                    <a:pt x="6333" y="1899"/>
                  </a:cubicBezTo>
                  <a:cubicBezTo>
                    <a:pt x="7027" y="2592"/>
                    <a:pt x="7027" y="3631"/>
                    <a:pt x="6333" y="4325"/>
                  </a:cubicBezTo>
                  <a:lnTo>
                    <a:pt x="3939" y="6719"/>
                  </a:lnTo>
                  <a:cubicBezTo>
                    <a:pt x="3608" y="7050"/>
                    <a:pt x="3175" y="7215"/>
                    <a:pt x="2742" y="7215"/>
                  </a:cubicBezTo>
                  <a:cubicBezTo>
                    <a:pt x="2309" y="7215"/>
                    <a:pt x="1875" y="7050"/>
                    <a:pt x="1545" y="6719"/>
                  </a:cubicBezTo>
                  <a:cubicBezTo>
                    <a:pt x="1261" y="6435"/>
                    <a:pt x="1104" y="6089"/>
                    <a:pt x="1072" y="5742"/>
                  </a:cubicBezTo>
                  <a:lnTo>
                    <a:pt x="1" y="6782"/>
                  </a:lnTo>
                  <a:cubicBezTo>
                    <a:pt x="158" y="7097"/>
                    <a:pt x="348" y="7381"/>
                    <a:pt x="600" y="7664"/>
                  </a:cubicBezTo>
                  <a:cubicBezTo>
                    <a:pt x="1214" y="8278"/>
                    <a:pt x="2002" y="8586"/>
                    <a:pt x="2781" y="8586"/>
                  </a:cubicBezTo>
                  <a:cubicBezTo>
                    <a:pt x="3561" y="8586"/>
                    <a:pt x="4333" y="8278"/>
                    <a:pt x="4916" y="7664"/>
                  </a:cubicBezTo>
                  <a:lnTo>
                    <a:pt x="7342" y="5270"/>
                  </a:lnTo>
                  <a:cubicBezTo>
                    <a:pt x="8539" y="4073"/>
                    <a:pt x="8539" y="2151"/>
                    <a:pt x="7342" y="922"/>
                  </a:cubicBezTo>
                  <a:cubicBezTo>
                    <a:pt x="6727" y="308"/>
                    <a:pt x="5940" y="1"/>
                    <a:pt x="5156" y="1"/>
                  </a:cubicBezTo>
                  <a:close/>
                </a:path>
              </a:pathLst>
            </a:custGeom>
            <a:grpFill/>
            <a:ln>
              <a:noFill/>
            </a:ln>
          </p:spPr>
          <p:txBody>
            <a:bodyPr spcFirstLastPara="1" wrap="square" lIns="91417" tIns="91417" rIns="91417" bIns="91417" anchor="ctr" anchorCtr="0">
              <a:noAutofit/>
            </a:bodyPr>
            <a:lstStyle/>
            <a:p>
              <a:endParaRPr sz="1400"/>
            </a:p>
          </p:txBody>
        </p:sp>
        <p:sp>
          <p:nvSpPr>
            <p:cNvPr id="339" name="Google Shape;7006;p88"/>
            <p:cNvSpPr/>
            <p:nvPr/>
          </p:nvSpPr>
          <p:spPr>
            <a:xfrm>
              <a:off x="-32576675" y="4020200"/>
              <a:ext cx="215850" cy="216425"/>
            </a:xfrm>
            <a:custGeom>
              <a:rect l="l" t="t" r="r" b="b"/>
              <a:pathLst>
                <a:path w="8634" h="8657" extrusionOk="0">
                  <a:moveTo>
                    <a:pt x="5865" y="1"/>
                  </a:moveTo>
                  <a:cubicBezTo>
                    <a:pt x="5081" y="1"/>
                    <a:pt x="4301" y="308"/>
                    <a:pt x="3718" y="922"/>
                  </a:cubicBezTo>
                  <a:lnTo>
                    <a:pt x="1230" y="3411"/>
                  </a:lnTo>
                  <a:cubicBezTo>
                    <a:pt x="1" y="4640"/>
                    <a:pt x="1" y="6562"/>
                    <a:pt x="1230" y="7759"/>
                  </a:cubicBezTo>
                  <a:cubicBezTo>
                    <a:pt x="1844" y="8358"/>
                    <a:pt x="2632" y="8657"/>
                    <a:pt x="3415" y="8657"/>
                  </a:cubicBezTo>
                  <a:cubicBezTo>
                    <a:pt x="4199" y="8657"/>
                    <a:pt x="4979" y="8358"/>
                    <a:pt x="5577" y="7759"/>
                  </a:cubicBezTo>
                  <a:lnTo>
                    <a:pt x="7152" y="6184"/>
                  </a:lnTo>
                  <a:lnTo>
                    <a:pt x="7152" y="6184"/>
                  </a:lnTo>
                  <a:cubicBezTo>
                    <a:pt x="6938" y="6218"/>
                    <a:pt x="6719" y="6235"/>
                    <a:pt x="6499" y="6235"/>
                  </a:cubicBezTo>
                  <a:cubicBezTo>
                    <a:pt x="6106" y="6235"/>
                    <a:pt x="5709" y="6179"/>
                    <a:pt x="5325" y="6058"/>
                  </a:cubicBezTo>
                  <a:lnTo>
                    <a:pt x="4569" y="6814"/>
                  </a:lnTo>
                  <a:cubicBezTo>
                    <a:pt x="4238" y="7145"/>
                    <a:pt x="3805" y="7310"/>
                    <a:pt x="3372" y="7310"/>
                  </a:cubicBezTo>
                  <a:cubicBezTo>
                    <a:pt x="2939" y="7310"/>
                    <a:pt x="2505" y="7145"/>
                    <a:pt x="2175" y="6814"/>
                  </a:cubicBezTo>
                  <a:cubicBezTo>
                    <a:pt x="1513" y="6121"/>
                    <a:pt x="1513" y="5081"/>
                    <a:pt x="2175" y="4388"/>
                  </a:cubicBezTo>
                  <a:lnTo>
                    <a:pt x="4664" y="1899"/>
                  </a:lnTo>
                  <a:cubicBezTo>
                    <a:pt x="4994" y="1568"/>
                    <a:pt x="5428" y="1403"/>
                    <a:pt x="5861" y="1403"/>
                  </a:cubicBezTo>
                  <a:cubicBezTo>
                    <a:pt x="6294" y="1403"/>
                    <a:pt x="6727" y="1568"/>
                    <a:pt x="7058" y="1899"/>
                  </a:cubicBezTo>
                  <a:cubicBezTo>
                    <a:pt x="7342" y="2183"/>
                    <a:pt x="7499" y="2561"/>
                    <a:pt x="7531" y="2907"/>
                  </a:cubicBezTo>
                  <a:lnTo>
                    <a:pt x="8287" y="2151"/>
                  </a:lnTo>
                  <a:lnTo>
                    <a:pt x="8633" y="1805"/>
                  </a:lnTo>
                  <a:cubicBezTo>
                    <a:pt x="8476" y="1490"/>
                    <a:pt x="8287" y="1206"/>
                    <a:pt x="8035" y="922"/>
                  </a:cubicBezTo>
                  <a:cubicBezTo>
                    <a:pt x="7436" y="308"/>
                    <a:pt x="6648" y="1"/>
                    <a:pt x="5865" y="1"/>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351" name="Google Shape;7018;p88"/>
          <p:cNvGrpSpPr/>
          <p:nvPr/>
        </p:nvGrpSpPr>
        <p:grpSpPr>
          <a:xfrm>
            <a:off x="8973547" y="2276418"/>
            <a:ext cx="595145" cy="593567"/>
            <a:chOff x="-30735200" y="3910925"/>
            <a:chExt cx="292225" cy="291450"/>
          </a:xfrm>
          <a:solidFill>
            <a:srgbClr val="00677F"/>
          </a:solidFill>
        </p:grpSpPr>
        <p:sp>
          <p:nvSpPr>
            <p:cNvPr id="352" name="Google Shape;7019;p88"/>
            <p:cNvSpPr/>
            <p:nvPr/>
          </p:nvSpPr>
          <p:spPr>
            <a:xfrm>
              <a:off x="-30683225" y="3962900"/>
              <a:ext cx="188275" cy="186700"/>
            </a:xfrm>
            <a:custGeom>
              <a:rect l="l" t="t" r="r" b="b"/>
              <a:pathLst>
                <a:path w="7531" h="7468" extrusionOk="0">
                  <a:moveTo>
                    <a:pt x="3750" y="663"/>
                  </a:moveTo>
                  <a:cubicBezTo>
                    <a:pt x="3939" y="663"/>
                    <a:pt x="4096" y="820"/>
                    <a:pt x="4096" y="1009"/>
                  </a:cubicBezTo>
                  <a:lnTo>
                    <a:pt x="4096" y="3624"/>
                  </a:lnTo>
                  <a:lnTo>
                    <a:pt x="5357" y="4884"/>
                  </a:lnTo>
                  <a:cubicBezTo>
                    <a:pt x="5514" y="5042"/>
                    <a:pt x="5514" y="5231"/>
                    <a:pt x="5357" y="5357"/>
                  </a:cubicBezTo>
                  <a:cubicBezTo>
                    <a:pt x="5294" y="5420"/>
                    <a:pt x="5207" y="5451"/>
                    <a:pt x="5120" y="5451"/>
                  </a:cubicBezTo>
                  <a:cubicBezTo>
                    <a:pt x="5034" y="5451"/>
                    <a:pt x="4947" y="5420"/>
                    <a:pt x="4884" y="5357"/>
                  </a:cubicBezTo>
                  <a:lnTo>
                    <a:pt x="3498" y="3971"/>
                  </a:lnTo>
                  <a:cubicBezTo>
                    <a:pt x="3435" y="3908"/>
                    <a:pt x="3403" y="3813"/>
                    <a:pt x="3403" y="3719"/>
                  </a:cubicBezTo>
                  <a:lnTo>
                    <a:pt x="3403" y="1009"/>
                  </a:lnTo>
                  <a:cubicBezTo>
                    <a:pt x="3403" y="820"/>
                    <a:pt x="3561" y="663"/>
                    <a:pt x="3750" y="663"/>
                  </a:cubicBezTo>
                  <a:close/>
                  <a:moveTo>
                    <a:pt x="3750" y="1"/>
                  </a:moveTo>
                  <a:cubicBezTo>
                    <a:pt x="1671" y="1"/>
                    <a:pt x="1" y="1702"/>
                    <a:pt x="1" y="3750"/>
                  </a:cubicBezTo>
                  <a:cubicBezTo>
                    <a:pt x="1" y="5829"/>
                    <a:pt x="1702" y="7468"/>
                    <a:pt x="3750" y="7468"/>
                  </a:cubicBezTo>
                  <a:cubicBezTo>
                    <a:pt x="5798" y="7468"/>
                    <a:pt x="7499" y="5798"/>
                    <a:pt x="7499" y="3750"/>
                  </a:cubicBezTo>
                  <a:cubicBezTo>
                    <a:pt x="7530" y="1702"/>
                    <a:pt x="5829" y="1"/>
                    <a:pt x="3750" y="1"/>
                  </a:cubicBezTo>
                  <a:close/>
                </a:path>
              </a:pathLst>
            </a:custGeom>
            <a:grpFill/>
            <a:ln>
              <a:noFill/>
            </a:ln>
          </p:spPr>
          <p:txBody>
            <a:bodyPr spcFirstLastPara="1" wrap="square" lIns="91417" tIns="91417" rIns="91417" bIns="91417" anchor="ctr" anchorCtr="0">
              <a:noAutofit/>
            </a:bodyPr>
            <a:lstStyle/>
            <a:p>
              <a:endParaRPr sz="1400"/>
            </a:p>
          </p:txBody>
        </p:sp>
        <p:sp>
          <p:nvSpPr>
            <p:cNvPr id="353" name="Google Shape;7020;p88"/>
            <p:cNvSpPr/>
            <p:nvPr/>
          </p:nvSpPr>
          <p:spPr>
            <a:xfrm>
              <a:off x="-30735200" y="3910925"/>
              <a:ext cx="292225" cy="291450"/>
            </a:xfrm>
            <a:custGeom>
              <a:rect l="l" t="t" r="r" b="b"/>
              <a:pathLst>
                <a:path w="11689" h="11658" extrusionOk="0">
                  <a:moveTo>
                    <a:pt x="5829" y="1355"/>
                  </a:moveTo>
                  <a:cubicBezTo>
                    <a:pt x="8286" y="1355"/>
                    <a:pt x="10271" y="3372"/>
                    <a:pt x="10271" y="5829"/>
                  </a:cubicBezTo>
                  <a:cubicBezTo>
                    <a:pt x="10271" y="8286"/>
                    <a:pt x="8318" y="10271"/>
                    <a:pt x="5829" y="10271"/>
                  </a:cubicBezTo>
                  <a:cubicBezTo>
                    <a:pt x="3403" y="10271"/>
                    <a:pt x="1387" y="8255"/>
                    <a:pt x="1387" y="5829"/>
                  </a:cubicBezTo>
                  <a:cubicBezTo>
                    <a:pt x="1387" y="3372"/>
                    <a:pt x="3371" y="1355"/>
                    <a:pt x="5829" y="1355"/>
                  </a:cubicBezTo>
                  <a:close/>
                  <a:moveTo>
                    <a:pt x="5829" y="1"/>
                  </a:moveTo>
                  <a:cubicBezTo>
                    <a:pt x="2647" y="1"/>
                    <a:pt x="0" y="2616"/>
                    <a:pt x="0" y="5829"/>
                  </a:cubicBezTo>
                  <a:cubicBezTo>
                    <a:pt x="0" y="9011"/>
                    <a:pt x="2647" y="11657"/>
                    <a:pt x="5829" y="11657"/>
                  </a:cubicBezTo>
                  <a:cubicBezTo>
                    <a:pt x="9011" y="11657"/>
                    <a:pt x="11657" y="9011"/>
                    <a:pt x="11657" y="5829"/>
                  </a:cubicBezTo>
                  <a:cubicBezTo>
                    <a:pt x="11689" y="2616"/>
                    <a:pt x="9042" y="1"/>
                    <a:pt x="5829" y="1"/>
                  </a:cubicBezTo>
                  <a:close/>
                </a:path>
              </a:pathLst>
            </a:custGeom>
            <a:grpFill/>
            <a:ln>
              <a:noFill/>
            </a:ln>
          </p:spPr>
          <p:txBody>
            <a:bodyPr spcFirstLastPara="1" wrap="square" lIns="91417" tIns="91417" rIns="91417" bIns="91417" anchor="ctr" anchorCtr="0">
              <a:noAutofit/>
            </a:bodyPr>
            <a:lstStyle/>
            <a:p>
              <a:endParaRPr sz="1400"/>
            </a:p>
          </p:txBody>
        </p:sp>
      </p:grpSp>
      <p:sp>
        <p:nvSpPr>
          <p:cNvPr id="355" name="Google Shape;5917;p86"/>
          <p:cNvSpPr/>
          <p:nvPr/>
        </p:nvSpPr>
        <p:spPr>
          <a:xfrm>
            <a:off x="5786394" y="3436130"/>
            <a:ext cx="601325" cy="617511"/>
          </a:xfrm>
          <a:custGeom>
            <a:rect l="l" t="t" r="r" b="b"/>
            <a:pathLst>
              <a:path w="12446" h="12698" extrusionOk="0">
                <a:moveTo>
                  <a:pt x="6239" y="1"/>
                </a:moveTo>
                <a:cubicBezTo>
                  <a:pt x="5105" y="1"/>
                  <a:pt x="4191" y="915"/>
                  <a:pt x="4159" y="2112"/>
                </a:cubicBezTo>
                <a:cubicBezTo>
                  <a:pt x="4159" y="3088"/>
                  <a:pt x="4852" y="3939"/>
                  <a:pt x="5798" y="4097"/>
                </a:cubicBezTo>
                <a:lnTo>
                  <a:pt x="5798" y="5294"/>
                </a:lnTo>
                <a:cubicBezTo>
                  <a:pt x="4852" y="5483"/>
                  <a:pt x="4159" y="6333"/>
                  <a:pt x="4159" y="7310"/>
                </a:cubicBezTo>
                <a:cubicBezTo>
                  <a:pt x="4159" y="7657"/>
                  <a:pt x="4222" y="7972"/>
                  <a:pt x="4380" y="8255"/>
                </a:cubicBezTo>
                <a:lnTo>
                  <a:pt x="3403" y="9043"/>
                </a:lnTo>
                <a:cubicBezTo>
                  <a:pt x="3057" y="8728"/>
                  <a:pt x="2584" y="8570"/>
                  <a:pt x="2112" y="8570"/>
                </a:cubicBezTo>
                <a:cubicBezTo>
                  <a:pt x="946" y="8602"/>
                  <a:pt x="1" y="9515"/>
                  <a:pt x="1" y="10650"/>
                </a:cubicBezTo>
                <a:cubicBezTo>
                  <a:pt x="1" y="11784"/>
                  <a:pt x="946" y="12697"/>
                  <a:pt x="2112" y="12697"/>
                </a:cubicBezTo>
                <a:cubicBezTo>
                  <a:pt x="3246" y="12697"/>
                  <a:pt x="4128" y="11752"/>
                  <a:pt x="4191" y="10650"/>
                </a:cubicBezTo>
                <a:cubicBezTo>
                  <a:pt x="4191" y="10303"/>
                  <a:pt x="4096" y="9988"/>
                  <a:pt x="3939" y="9704"/>
                </a:cubicBezTo>
                <a:lnTo>
                  <a:pt x="4947" y="8917"/>
                </a:lnTo>
                <a:cubicBezTo>
                  <a:pt x="5294" y="9232"/>
                  <a:pt x="5766" y="9389"/>
                  <a:pt x="6239" y="9389"/>
                </a:cubicBezTo>
                <a:cubicBezTo>
                  <a:pt x="6743" y="9389"/>
                  <a:pt x="7184" y="9200"/>
                  <a:pt x="7530" y="8917"/>
                </a:cubicBezTo>
                <a:lnTo>
                  <a:pt x="8507" y="9704"/>
                </a:lnTo>
                <a:cubicBezTo>
                  <a:pt x="8350" y="9988"/>
                  <a:pt x="8287" y="10303"/>
                  <a:pt x="8287" y="10650"/>
                </a:cubicBezTo>
                <a:cubicBezTo>
                  <a:pt x="8287" y="11784"/>
                  <a:pt x="9232" y="12697"/>
                  <a:pt x="10366" y="12697"/>
                </a:cubicBezTo>
                <a:cubicBezTo>
                  <a:pt x="11500" y="12697"/>
                  <a:pt x="12414" y="11752"/>
                  <a:pt x="12445" y="10650"/>
                </a:cubicBezTo>
                <a:cubicBezTo>
                  <a:pt x="12445" y="9515"/>
                  <a:pt x="11563" y="8602"/>
                  <a:pt x="10366" y="8570"/>
                </a:cubicBezTo>
                <a:cubicBezTo>
                  <a:pt x="9862" y="8570"/>
                  <a:pt x="9421" y="8759"/>
                  <a:pt x="9074" y="9043"/>
                </a:cubicBezTo>
                <a:lnTo>
                  <a:pt x="8097" y="8255"/>
                </a:lnTo>
                <a:cubicBezTo>
                  <a:pt x="8255" y="7972"/>
                  <a:pt x="8318" y="7657"/>
                  <a:pt x="8318" y="7310"/>
                </a:cubicBezTo>
                <a:cubicBezTo>
                  <a:pt x="8318" y="6333"/>
                  <a:pt x="7625" y="5451"/>
                  <a:pt x="6680" y="5294"/>
                </a:cubicBezTo>
                <a:lnTo>
                  <a:pt x="6680" y="4097"/>
                </a:lnTo>
                <a:cubicBezTo>
                  <a:pt x="7625" y="3908"/>
                  <a:pt x="8318" y="3088"/>
                  <a:pt x="8318" y="2112"/>
                </a:cubicBezTo>
                <a:cubicBezTo>
                  <a:pt x="8318" y="946"/>
                  <a:pt x="7404" y="64"/>
                  <a:pt x="6239" y="1"/>
                </a:cubicBezTo>
                <a:close/>
              </a:path>
            </a:pathLst>
          </a:custGeom>
          <a:solidFill>
            <a:srgbClr val="00677F"/>
          </a:solidFill>
          <a:ln>
            <a:noFill/>
          </a:ln>
        </p:spPr>
        <p:txBody>
          <a:bodyPr spcFirstLastPara="1" wrap="square" lIns="91417" tIns="91417" rIns="91417" bIns="91417" anchor="ctr" anchorCtr="0">
            <a:noAutofit/>
          </a:bodyPr>
          <a:lstStyle/>
          <a:p>
            <a:endParaRPr sz="1400"/>
          </a:p>
        </p:txBody>
      </p:sp>
      <p:sp>
        <p:nvSpPr>
          <p:cNvPr id="356" name="Google Shape;5955;p86"/>
          <p:cNvSpPr/>
          <p:nvPr/>
        </p:nvSpPr>
        <p:spPr>
          <a:xfrm>
            <a:off x="6505799" y="3532652"/>
            <a:ext cx="611954" cy="520979"/>
          </a:xfrm>
          <a:custGeom>
            <a:rect l="l" t="t" r="r" b="b"/>
            <a:pathLst>
              <a:path w="12666" h="10713" extrusionOk="0">
                <a:moveTo>
                  <a:pt x="1765" y="3309"/>
                </a:moveTo>
                <a:lnTo>
                  <a:pt x="1765" y="7058"/>
                </a:lnTo>
                <a:cubicBezTo>
                  <a:pt x="1765" y="7278"/>
                  <a:pt x="1954" y="7436"/>
                  <a:pt x="2206" y="7436"/>
                </a:cubicBezTo>
                <a:lnTo>
                  <a:pt x="2615" y="7436"/>
                </a:lnTo>
                <a:lnTo>
                  <a:pt x="2615" y="9925"/>
                </a:lnTo>
                <a:lnTo>
                  <a:pt x="788" y="9925"/>
                </a:lnTo>
                <a:lnTo>
                  <a:pt x="788" y="3309"/>
                </a:lnTo>
                <a:close/>
                <a:moveTo>
                  <a:pt x="5073" y="3309"/>
                </a:moveTo>
                <a:lnTo>
                  <a:pt x="5073" y="7058"/>
                </a:lnTo>
                <a:cubicBezTo>
                  <a:pt x="5073" y="7278"/>
                  <a:pt x="5262" y="7436"/>
                  <a:pt x="5514" y="7436"/>
                </a:cubicBezTo>
                <a:lnTo>
                  <a:pt x="5892" y="7436"/>
                </a:lnTo>
                <a:lnTo>
                  <a:pt x="5892" y="9925"/>
                </a:lnTo>
                <a:lnTo>
                  <a:pt x="3403" y="9925"/>
                </a:lnTo>
                <a:lnTo>
                  <a:pt x="3403" y="7436"/>
                </a:lnTo>
                <a:lnTo>
                  <a:pt x="3813" y="7436"/>
                </a:lnTo>
                <a:cubicBezTo>
                  <a:pt x="4033" y="7436"/>
                  <a:pt x="4254" y="7247"/>
                  <a:pt x="4254" y="7058"/>
                </a:cubicBezTo>
                <a:lnTo>
                  <a:pt x="4254" y="3309"/>
                </a:lnTo>
                <a:close/>
                <a:moveTo>
                  <a:pt x="8412" y="3309"/>
                </a:moveTo>
                <a:lnTo>
                  <a:pt x="8412" y="7058"/>
                </a:lnTo>
                <a:cubicBezTo>
                  <a:pt x="8412" y="7278"/>
                  <a:pt x="8601" y="7436"/>
                  <a:pt x="8853" y="7436"/>
                </a:cubicBezTo>
                <a:lnTo>
                  <a:pt x="9294" y="7436"/>
                </a:lnTo>
                <a:lnTo>
                  <a:pt x="9294" y="9925"/>
                </a:lnTo>
                <a:lnTo>
                  <a:pt x="6711" y="9925"/>
                </a:lnTo>
                <a:lnTo>
                  <a:pt x="6711" y="7436"/>
                </a:lnTo>
                <a:lnTo>
                  <a:pt x="7152" y="7436"/>
                </a:lnTo>
                <a:cubicBezTo>
                  <a:pt x="7404" y="7436"/>
                  <a:pt x="7593" y="7247"/>
                  <a:pt x="7593" y="7058"/>
                </a:cubicBezTo>
                <a:lnTo>
                  <a:pt x="7593" y="3309"/>
                </a:lnTo>
                <a:close/>
                <a:moveTo>
                  <a:pt x="11815" y="3309"/>
                </a:moveTo>
                <a:lnTo>
                  <a:pt x="11815" y="9925"/>
                </a:lnTo>
                <a:lnTo>
                  <a:pt x="9988" y="9925"/>
                </a:lnTo>
                <a:lnTo>
                  <a:pt x="9988" y="7436"/>
                </a:lnTo>
                <a:lnTo>
                  <a:pt x="10429" y="7436"/>
                </a:lnTo>
                <a:cubicBezTo>
                  <a:pt x="10649" y="7436"/>
                  <a:pt x="10870" y="7247"/>
                  <a:pt x="10870" y="7058"/>
                </a:cubicBezTo>
                <a:lnTo>
                  <a:pt x="10870" y="3309"/>
                </a:lnTo>
                <a:close/>
                <a:moveTo>
                  <a:pt x="379" y="1"/>
                </a:moveTo>
                <a:cubicBezTo>
                  <a:pt x="158" y="1"/>
                  <a:pt x="1" y="190"/>
                  <a:pt x="1" y="379"/>
                </a:cubicBezTo>
                <a:lnTo>
                  <a:pt x="1" y="10334"/>
                </a:lnTo>
                <a:cubicBezTo>
                  <a:pt x="1" y="10555"/>
                  <a:pt x="190" y="10712"/>
                  <a:pt x="379" y="10712"/>
                </a:cubicBezTo>
                <a:lnTo>
                  <a:pt x="12224" y="10712"/>
                </a:lnTo>
                <a:cubicBezTo>
                  <a:pt x="12476" y="10712"/>
                  <a:pt x="12665" y="10523"/>
                  <a:pt x="12665" y="10334"/>
                </a:cubicBezTo>
                <a:lnTo>
                  <a:pt x="12665" y="379"/>
                </a:lnTo>
                <a:cubicBezTo>
                  <a:pt x="12634" y="190"/>
                  <a:pt x="12445" y="1"/>
                  <a:pt x="12224" y="1"/>
                </a:cubicBezTo>
                <a:close/>
              </a:path>
            </a:pathLst>
          </a:custGeom>
          <a:solidFill>
            <a:srgbClr val="00677F"/>
          </a:solidFill>
          <a:ln>
            <a:noFill/>
          </a:ln>
        </p:spPr>
        <p:txBody>
          <a:bodyPr spcFirstLastPara="1" wrap="square" lIns="91417" tIns="91417" rIns="91417" bIns="91417" anchor="ctr" anchorCtr="0">
            <a:noAutofit/>
          </a:bodyPr>
          <a:lstStyle/>
          <a:p>
            <a:endParaRPr sz="1400"/>
          </a:p>
        </p:txBody>
      </p:sp>
      <p:grpSp>
        <p:nvGrpSpPr>
          <p:cNvPr id="357" name="Google Shape;5983;p86"/>
          <p:cNvGrpSpPr/>
          <p:nvPr/>
        </p:nvGrpSpPr>
        <p:grpSpPr>
          <a:xfrm>
            <a:off x="7369004" y="3452313"/>
            <a:ext cx="614997" cy="615953"/>
            <a:chOff x="-38538975" y="3954250"/>
            <a:chExt cx="318225" cy="316650"/>
          </a:xfrm>
          <a:solidFill>
            <a:srgbClr val="00677F"/>
          </a:solidFill>
        </p:grpSpPr>
        <p:sp>
          <p:nvSpPr>
            <p:cNvPr id="358" name="Google Shape;5984;p86"/>
            <p:cNvSpPr/>
            <p:nvPr/>
          </p:nvSpPr>
          <p:spPr>
            <a:xfrm>
              <a:off x="-38538975" y="3954250"/>
              <a:ext cx="254425" cy="253625"/>
            </a:xfrm>
            <a:custGeom>
              <a:rect l="l" t="t" r="r" b="b"/>
              <a:pathLst>
                <a:path w="10177" h="10145" extrusionOk="0">
                  <a:moveTo>
                    <a:pt x="5104" y="3813"/>
                  </a:moveTo>
                  <a:cubicBezTo>
                    <a:pt x="5797" y="3813"/>
                    <a:pt x="6364" y="4348"/>
                    <a:pt x="6364" y="5073"/>
                  </a:cubicBezTo>
                  <a:cubicBezTo>
                    <a:pt x="6364" y="5766"/>
                    <a:pt x="5797" y="6333"/>
                    <a:pt x="5104" y="6333"/>
                  </a:cubicBezTo>
                  <a:cubicBezTo>
                    <a:pt x="4379" y="6333"/>
                    <a:pt x="3844" y="5766"/>
                    <a:pt x="3844" y="5073"/>
                  </a:cubicBezTo>
                  <a:cubicBezTo>
                    <a:pt x="3844" y="4411"/>
                    <a:pt x="4411" y="3813"/>
                    <a:pt x="5104" y="3813"/>
                  </a:cubicBezTo>
                  <a:close/>
                  <a:moveTo>
                    <a:pt x="5104" y="0"/>
                  </a:moveTo>
                  <a:cubicBezTo>
                    <a:pt x="2300" y="0"/>
                    <a:pt x="0" y="2269"/>
                    <a:pt x="0" y="5073"/>
                  </a:cubicBezTo>
                  <a:cubicBezTo>
                    <a:pt x="63" y="7908"/>
                    <a:pt x="2300" y="10145"/>
                    <a:pt x="5104" y="10145"/>
                  </a:cubicBezTo>
                  <a:cubicBezTo>
                    <a:pt x="7877" y="10145"/>
                    <a:pt x="10176" y="7877"/>
                    <a:pt x="10176" y="5073"/>
                  </a:cubicBezTo>
                  <a:cubicBezTo>
                    <a:pt x="10176" y="2269"/>
                    <a:pt x="7877" y="0"/>
                    <a:pt x="5104" y="0"/>
                  </a:cubicBezTo>
                  <a:close/>
                </a:path>
              </a:pathLst>
            </a:custGeom>
            <a:grpFill/>
            <a:ln>
              <a:noFill/>
            </a:ln>
          </p:spPr>
          <p:txBody>
            <a:bodyPr spcFirstLastPara="1" wrap="square" lIns="91417" tIns="91417" rIns="91417" bIns="91417" anchor="ctr" anchorCtr="0">
              <a:noAutofit/>
            </a:bodyPr>
            <a:lstStyle/>
            <a:p>
              <a:endParaRPr sz="1400"/>
            </a:p>
          </p:txBody>
        </p:sp>
        <p:sp>
          <p:nvSpPr>
            <p:cNvPr id="359" name="Google Shape;5985;p86"/>
            <p:cNvSpPr/>
            <p:nvPr/>
          </p:nvSpPr>
          <p:spPr>
            <a:xfrm>
              <a:off x="-38496450" y="4081725"/>
              <a:ext cx="275700" cy="189175"/>
            </a:xfrm>
            <a:custGeom>
              <a:rect l="l" t="t" r="r" b="b"/>
              <a:pathLst>
                <a:path w="11028" h="7566" extrusionOk="0">
                  <a:moveTo>
                    <a:pt x="9774" y="0"/>
                  </a:moveTo>
                  <a:cubicBezTo>
                    <a:pt x="9040" y="0"/>
                    <a:pt x="8444" y="548"/>
                    <a:pt x="8444" y="1265"/>
                  </a:cubicBezTo>
                  <a:cubicBezTo>
                    <a:pt x="8444" y="1801"/>
                    <a:pt x="8790" y="2305"/>
                    <a:pt x="9295" y="2463"/>
                  </a:cubicBezTo>
                  <a:lnTo>
                    <a:pt x="9295" y="2967"/>
                  </a:lnTo>
                  <a:cubicBezTo>
                    <a:pt x="9295" y="4416"/>
                    <a:pt x="8192" y="5645"/>
                    <a:pt x="6774" y="5834"/>
                  </a:cubicBezTo>
                  <a:lnTo>
                    <a:pt x="6774" y="4825"/>
                  </a:lnTo>
                  <a:cubicBezTo>
                    <a:pt x="5829" y="5487"/>
                    <a:pt x="4663" y="5865"/>
                    <a:pt x="3403" y="5865"/>
                  </a:cubicBezTo>
                  <a:cubicBezTo>
                    <a:pt x="2143" y="5865"/>
                    <a:pt x="977" y="5487"/>
                    <a:pt x="1" y="4825"/>
                  </a:cubicBezTo>
                  <a:lnTo>
                    <a:pt x="1" y="6306"/>
                  </a:lnTo>
                  <a:cubicBezTo>
                    <a:pt x="1" y="7031"/>
                    <a:pt x="568" y="7566"/>
                    <a:pt x="1261" y="7566"/>
                  </a:cubicBezTo>
                  <a:lnTo>
                    <a:pt x="5388" y="7566"/>
                  </a:lnTo>
                  <a:cubicBezTo>
                    <a:pt x="5955" y="7566"/>
                    <a:pt x="6459" y="7220"/>
                    <a:pt x="6617" y="6716"/>
                  </a:cubicBezTo>
                  <a:cubicBezTo>
                    <a:pt x="8601" y="6495"/>
                    <a:pt x="10082" y="4920"/>
                    <a:pt x="10114" y="2904"/>
                  </a:cubicBezTo>
                  <a:lnTo>
                    <a:pt x="10114" y="2400"/>
                  </a:lnTo>
                  <a:cubicBezTo>
                    <a:pt x="10649" y="2211"/>
                    <a:pt x="11027" y="1706"/>
                    <a:pt x="10996" y="1108"/>
                  </a:cubicBezTo>
                  <a:cubicBezTo>
                    <a:pt x="10964" y="572"/>
                    <a:pt x="10492" y="100"/>
                    <a:pt x="9893" y="5"/>
                  </a:cubicBezTo>
                  <a:cubicBezTo>
                    <a:pt x="9853" y="2"/>
                    <a:pt x="9813" y="0"/>
                    <a:pt x="9774" y="0"/>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360" name="Google Shape;5986;p86"/>
          <p:cNvGrpSpPr/>
          <p:nvPr/>
        </p:nvGrpSpPr>
        <p:grpSpPr>
          <a:xfrm>
            <a:off x="9804816" y="3428810"/>
            <a:ext cx="621037" cy="619017"/>
            <a:chOff x="-37385101" y="3949908"/>
            <a:chExt cx="321350" cy="318225"/>
          </a:xfrm>
          <a:solidFill>
            <a:srgbClr val="00677F"/>
          </a:solidFill>
        </p:grpSpPr>
        <p:sp>
          <p:nvSpPr>
            <p:cNvPr id="361" name="Google Shape;5987;p86"/>
            <p:cNvSpPr/>
            <p:nvPr/>
          </p:nvSpPr>
          <p:spPr>
            <a:xfrm>
              <a:off x="-37190576" y="4145233"/>
              <a:ext cx="126825" cy="122900"/>
            </a:xfrm>
            <a:custGeom>
              <a:rect l="l" t="t" r="r" b="b"/>
              <a:pathLst>
                <a:path w="5073" h="4916" extrusionOk="0">
                  <a:moveTo>
                    <a:pt x="2238" y="1"/>
                  </a:moveTo>
                  <a:cubicBezTo>
                    <a:pt x="1986" y="442"/>
                    <a:pt x="1671" y="820"/>
                    <a:pt x="1324" y="1229"/>
                  </a:cubicBezTo>
                  <a:cubicBezTo>
                    <a:pt x="946" y="1671"/>
                    <a:pt x="473" y="1986"/>
                    <a:pt x="1" y="2238"/>
                  </a:cubicBezTo>
                  <a:lnTo>
                    <a:pt x="2206" y="4443"/>
                  </a:lnTo>
                  <a:cubicBezTo>
                    <a:pt x="2521" y="4758"/>
                    <a:pt x="2923" y="4916"/>
                    <a:pt x="3325" y="4916"/>
                  </a:cubicBezTo>
                  <a:cubicBezTo>
                    <a:pt x="3726" y="4916"/>
                    <a:pt x="4128" y="4758"/>
                    <a:pt x="4443" y="4443"/>
                  </a:cubicBezTo>
                  <a:cubicBezTo>
                    <a:pt x="5073" y="3813"/>
                    <a:pt x="5073" y="2836"/>
                    <a:pt x="4443" y="2206"/>
                  </a:cubicBezTo>
                  <a:lnTo>
                    <a:pt x="2238" y="1"/>
                  </a:lnTo>
                  <a:close/>
                </a:path>
              </a:pathLst>
            </a:custGeom>
            <a:grpFill/>
            <a:ln>
              <a:noFill/>
            </a:ln>
          </p:spPr>
          <p:txBody>
            <a:bodyPr spcFirstLastPara="1" wrap="square" lIns="91417" tIns="91417" rIns="91417" bIns="91417" anchor="ctr" anchorCtr="0">
              <a:noAutofit/>
            </a:bodyPr>
            <a:lstStyle/>
            <a:p>
              <a:endParaRPr sz="1400"/>
            </a:p>
          </p:txBody>
        </p:sp>
        <p:sp>
          <p:nvSpPr>
            <p:cNvPr id="362" name="Google Shape;5988;p86"/>
            <p:cNvSpPr/>
            <p:nvPr/>
          </p:nvSpPr>
          <p:spPr>
            <a:xfrm>
              <a:off x="-37385101" y="3949908"/>
              <a:ext cx="248125" cy="248950"/>
            </a:xfrm>
            <a:custGeom>
              <a:rect l="l" t="t" r="r" b="b"/>
              <a:pathLst>
                <a:path w="9925" h="9958" extrusionOk="0">
                  <a:moveTo>
                    <a:pt x="4978" y="1702"/>
                  </a:moveTo>
                  <a:cubicBezTo>
                    <a:pt x="6774" y="1702"/>
                    <a:pt x="8286" y="3214"/>
                    <a:pt x="8286" y="5010"/>
                  </a:cubicBezTo>
                  <a:cubicBezTo>
                    <a:pt x="8254" y="5892"/>
                    <a:pt x="7939" y="6711"/>
                    <a:pt x="7341" y="7310"/>
                  </a:cubicBezTo>
                  <a:cubicBezTo>
                    <a:pt x="6742" y="7908"/>
                    <a:pt x="5923" y="8318"/>
                    <a:pt x="4978" y="8318"/>
                  </a:cubicBezTo>
                  <a:cubicBezTo>
                    <a:pt x="3151" y="8318"/>
                    <a:pt x="1670" y="6837"/>
                    <a:pt x="1670" y="5010"/>
                  </a:cubicBezTo>
                  <a:cubicBezTo>
                    <a:pt x="1670" y="3214"/>
                    <a:pt x="3151" y="1702"/>
                    <a:pt x="4978" y="1702"/>
                  </a:cubicBezTo>
                  <a:close/>
                  <a:moveTo>
                    <a:pt x="4978" y="1"/>
                  </a:moveTo>
                  <a:cubicBezTo>
                    <a:pt x="2268" y="1"/>
                    <a:pt x="0" y="2269"/>
                    <a:pt x="0" y="4978"/>
                  </a:cubicBezTo>
                  <a:cubicBezTo>
                    <a:pt x="0" y="7688"/>
                    <a:pt x="2268" y="9956"/>
                    <a:pt x="4978" y="9956"/>
                  </a:cubicBezTo>
                  <a:cubicBezTo>
                    <a:pt x="5013" y="9957"/>
                    <a:pt x="5048" y="9957"/>
                    <a:pt x="5083" y="9957"/>
                  </a:cubicBezTo>
                  <a:cubicBezTo>
                    <a:pt x="6367" y="9957"/>
                    <a:pt x="7586" y="9395"/>
                    <a:pt x="8506" y="8444"/>
                  </a:cubicBezTo>
                  <a:cubicBezTo>
                    <a:pt x="9420" y="7499"/>
                    <a:pt x="9924" y="6270"/>
                    <a:pt x="9924" y="4978"/>
                  </a:cubicBezTo>
                  <a:cubicBezTo>
                    <a:pt x="9924" y="2269"/>
                    <a:pt x="7687" y="1"/>
                    <a:pt x="4978" y="1"/>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363" name="Google Shape;6005;p86"/>
          <p:cNvGrpSpPr/>
          <p:nvPr/>
        </p:nvGrpSpPr>
        <p:grpSpPr>
          <a:xfrm>
            <a:off x="6535095" y="4660280"/>
            <a:ext cx="541672" cy="545169"/>
            <a:chOff x="-40011049" y="3972375"/>
            <a:chExt cx="316650" cy="316625"/>
          </a:xfrm>
          <a:solidFill>
            <a:srgbClr val="00677F"/>
          </a:solidFill>
        </p:grpSpPr>
        <p:sp>
          <p:nvSpPr>
            <p:cNvPr id="364" name="Google Shape;6006;p86"/>
            <p:cNvSpPr/>
            <p:nvPr/>
          </p:nvSpPr>
          <p:spPr>
            <a:xfrm>
              <a:off x="-40011049" y="3972375"/>
              <a:ext cx="316650" cy="232350"/>
            </a:xfrm>
            <a:custGeom>
              <a:rect l="l" t="t" r="r" b="b"/>
              <a:pathLst>
                <a:path w="12666" h="9294" extrusionOk="0">
                  <a:moveTo>
                    <a:pt x="11405" y="1701"/>
                  </a:moveTo>
                  <a:cubicBezTo>
                    <a:pt x="11626" y="1701"/>
                    <a:pt x="11846" y="1890"/>
                    <a:pt x="11846" y="2142"/>
                  </a:cubicBezTo>
                  <a:cubicBezTo>
                    <a:pt x="11846" y="3749"/>
                    <a:pt x="11090" y="4663"/>
                    <a:pt x="9956" y="4978"/>
                  </a:cubicBezTo>
                  <a:cubicBezTo>
                    <a:pt x="10051" y="4631"/>
                    <a:pt x="10145" y="4222"/>
                    <a:pt x="10145" y="3844"/>
                  </a:cubicBezTo>
                  <a:lnTo>
                    <a:pt x="10145" y="1701"/>
                  </a:lnTo>
                  <a:close/>
                  <a:moveTo>
                    <a:pt x="2584" y="1701"/>
                  </a:moveTo>
                  <a:lnTo>
                    <a:pt x="2584" y="3812"/>
                  </a:lnTo>
                  <a:cubicBezTo>
                    <a:pt x="2584" y="4222"/>
                    <a:pt x="2647" y="4600"/>
                    <a:pt x="2773" y="5009"/>
                  </a:cubicBezTo>
                  <a:cubicBezTo>
                    <a:pt x="1639" y="4694"/>
                    <a:pt x="851" y="3781"/>
                    <a:pt x="851" y="2142"/>
                  </a:cubicBezTo>
                  <a:cubicBezTo>
                    <a:pt x="851" y="1890"/>
                    <a:pt x="1040" y="1701"/>
                    <a:pt x="1292" y="1701"/>
                  </a:cubicBezTo>
                  <a:close/>
                  <a:moveTo>
                    <a:pt x="4065" y="3655"/>
                  </a:moveTo>
                  <a:cubicBezTo>
                    <a:pt x="4317" y="3655"/>
                    <a:pt x="4506" y="3875"/>
                    <a:pt x="4506" y="4096"/>
                  </a:cubicBezTo>
                  <a:cubicBezTo>
                    <a:pt x="4506" y="4631"/>
                    <a:pt x="4821" y="5041"/>
                    <a:pt x="5262" y="5261"/>
                  </a:cubicBezTo>
                  <a:cubicBezTo>
                    <a:pt x="5451" y="5324"/>
                    <a:pt x="5577" y="5608"/>
                    <a:pt x="5482" y="5797"/>
                  </a:cubicBezTo>
                  <a:cubicBezTo>
                    <a:pt x="5431" y="5952"/>
                    <a:pt x="5229" y="6065"/>
                    <a:pt x="5054" y="6065"/>
                  </a:cubicBezTo>
                  <a:cubicBezTo>
                    <a:pt x="5017" y="6065"/>
                    <a:pt x="4980" y="6060"/>
                    <a:pt x="4947" y="6049"/>
                  </a:cubicBezTo>
                  <a:cubicBezTo>
                    <a:pt x="4128" y="5734"/>
                    <a:pt x="3655" y="4946"/>
                    <a:pt x="3655" y="4096"/>
                  </a:cubicBezTo>
                  <a:cubicBezTo>
                    <a:pt x="3655" y="3875"/>
                    <a:pt x="3844" y="3655"/>
                    <a:pt x="4065" y="3655"/>
                  </a:cubicBezTo>
                  <a:close/>
                  <a:moveTo>
                    <a:pt x="2993" y="0"/>
                  </a:moveTo>
                  <a:cubicBezTo>
                    <a:pt x="2741" y="0"/>
                    <a:pt x="2552" y="189"/>
                    <a:pt x="2552" y="441"/>
                  </a:cubicBezTo>
                  <a:lnTo>
                    <a:pt x="2552" y="882"/>
                  </a:lnTo>
                  <a:lnTo>
                    <a:pt x="1261" y="882"/>
                  </a:lnTo>
                  <a:cubicBezTo>
                    <a:pt x="536" y="882"/>
                    <a:pt x="1" y="1418"/>
                    <a:pt x="1" y="2142"/>
                  </a:cubicBezTo>
                  <a:cubicBezTo>
                    <a:pt x="1" y="4568"/>
                    <a:pt x="1513" y="5797"/>
                    <a:pt x="3183" y="5923"/>
                  </a:cubicBezTo>
                  <a:cubicBezTo>
                    <a:pt x="4159" y="7372"/>
                    <a:pt x="5073" y="7089"/>
                    <a:pt x="5073" y="7687"/>
                  </a:cubicBezTo>
                  <a:cubicBezTo>
                    <a:pt x="5073" y="8286"/>
                    <a:pt x="4821" y="8884"/>
                    <a:pt x="4443" y="9294"/>
                  </a:cubicBezTo>
                  <a:lnTo>
                    <a:pt x="8192" y="9294"/>
                  </a:lnTo>
                  <a:cubicBezTo>
                    <a:pt x="7782" y="8884"/>
                    <a:pt x="7562" y="8286"/>
                    <a:pt x="7562" y="7687"/>
                  </a:cubicBezTo>
                  <a:cubicBezTo>
                    <a:pt x="7562" y="7089"/>
                    <a:pt x="8507" y="7372"/>
                    <a:pt x="9484" y="5923"/>
                  </a:cubicBezTo>
                  <a:cubicBezTo>
                    <a:pt x="11216" y="5797"/>
                    <a:pt x="12666" y="4537"/>
                    <a:pt x="12666" y="2142"/>
                  </a:cubicBezTo>
                  <a:cubicBezTo>
                    <a:pt x="12666" y="1418"/>
                    <a:pt x="12098" y="882"/>
                    <a:pt x="11405" y="882"/>
                  </a:cubicBezTo>
                  <a:lnTo>
                    <a:pt x="10145" y="882"/>
                  </a:lnTo>
                  <a:lnTo>
                    <a:pt x="10145" y="441"/>
                  </a:lnTo>
                  <a:cubicBezTo>
                    <a:pt x="10145" y="189"/>
                    <a:pt x="9956" y="0"/>
                    <a:pt x="9704" y="0"/>
                  </a:cubicBezTo>
                  <a:close/>
                </a:path>
              </a:pathLst>
            </a:custGeom>
            <a:grpFill/>
            <a:ln>
              <a:noFill/>
            </a:ln>
          </p:spPr>
          <p:txBody>
            <a:bodyPr spcFirstLastPara="1" wrap="square" lIns="91417" tIns="91417" rIns="91417" bIns="91417" anchor="ctr" anchorCtr="0">
              <a:noAutofit/>
            </a:bodyPr>
            <a:lstStyle/>
            <a:p>
              <a:endParaRPr sz="1400"/>
            </a:p>
          </p:txBody>
        </p:sp>
        <p:sp>
          <p:nvSpPr>
            <p:cNvPr id="365" name="Google Shape;6007;p86"/>
            <p:cNvSpPr/>
            <p:nvPr/>
          </p:nvSpPr>
          <p:spPr>
            <a:xfrm>
              <a:off x="-39950399" y="4225975"/>
              <a:ext cx="194575" cy="63025"/>
            </a:xfrm>
            <a:custGeom>
              <a:rect l="l" t="t" r="r" b="b"/>
              <a:pathLst>
                <a:path w="7783" h="2521" extrusionOk="0">
                  <a:moveTo>
                    <a:pt x="757" y="1"/>
                  </a:moveTo>
                  <a:lnTo>
                    <a:pt x="63" y="1954"/>
                  </a:lnTo>
                  <a:cubicBezTo>
                    <a:pt x="0" y="2237"/>
                    <a:pt x="158" y="2521"/>
                    <a:pt x="473" y="2521"/>
                  </a:cubicBezTo>
                  <a:lnTo>
                    <a:pt x="7278" y="2521"/>
                  </a:lnTo>
                  <a:cubicBezTo>
                    <a:pt x="7593" y="2521"/>
                    <a:pt x="7782" y="2237"/>
                    <a:pt x="7688" y="1954"/>
                  </a:cubicBezTo>
                  <a:lnTo>
                    <a:pt x="6995" y="1"/>
                  </a:lnTo>
                  <a:close/>
                </a:path>
              </a:pathLst>
            </a:custGeom>
            <a:grpFill/>
            <a:ln>
              <a:noFill/>
            </a:ln>
          </p:spPr>
          <p:txBody>
            <a:bodyPr spcFirstLastPara="1" wrap="square" lIns="91417" tIns="91417" rIns="91417" bIns="91417" anchor="ctr" anchorCtr="0">
              <a:noAutofit/>
            </a:bodyPr>
            <a:lstStyle/>
            <a:p>
              <a:endParaRPr sz="1400"/>
            </a:p>
          </p:txBody>
        </p:sp>
      </p:grpSp>
      <p:grpSp>
        <p:nvGrpSpPr>
          <p:cNvPr id="366" name="Google Shape;6020;p86"/>
          <p:cNvGrpSpPr/>
          <p:nvPr/>
        </p:nvGrpSpPr>
        <p:grpSpPr>
          <a:xfrm>
            <a:off x="8197568" y="3444014"/>
            <a:ext cx="363859" cy="615953"/>
            <a:chOff x="-38109727" y="3955025"/>
            <a:chExt cx="188275" cy="316650"/>
          </a:xfrm>
          <a:solidFill>
            <a:srgbClr val="00677F"/>
          </a:solidFill>
        </p:grpSpPr>
        <p:sp>
          <p:nvSpPr>
            <p:cNvPr id="367" name="Google Shape;6021;p86"/>
            <p:cNvSpPr/>
            <p:nvPr/>
          </p:nvSpPr>
          <p:spPr>
            <a:xfrm>
              <a:off x="-38109727" y="3955025"/>
              <a:ext cx="188275" cy="220575"/>
            </a:xfrm>
            <a:custGeom>
              <a:rect l="l" t="t" r="r" b="b"/>
              <a:pathLst>
                <a:path w="7531" h="8823" extrusionOk="0">
                  <a:moveTo>
                    <a:pt x="3372" y="1"/>
                  </a:moveTo>
                  <a:lnTo>
                    <a:pt x="95" y="5703"/>
                  </a:lnTo>
                  <a:cubicBezTo>
                    <a:pt x="1" y="5829"/>
                    <a:pt x="1" y="5987"/>
                    <a:pt x="95" y="6113"/>
                  </a:cubicBezTo>
                  <a:lnTo>
                    <a:pt x="1418" y="8822"/>
                  </a:lnTo>
                  <a:lnTo>
                    <a:pt x="6081" y="8822"/>
                  </a:lnTo>
                  <a:lnTo>
                    <a:pt x="7467" y="6113"/>
                  </a:lnTo>
                  <a:cubicBezTo>
                    <a:pt x="7530" y="5987"/>
                    <a:pt x="7499" y="5829"/>
                    <a:pt x="7467" y="5703"/>
                  </a:cubicBezTo>
                  <a:lnTo>
                    <a:pt x="4191" y="1"/>
                  </a:lnTo>
                  <a:lnTo>
                    <a:pt x="4191" y="4727"/>
                  </a:lnTo>
                  <a:cubicBezTo>
                    <a:pt x="4663" y="4884"/>
                    <a:pt x="5010" y="5357"/>
                    <a:pt x="5010" y="5892"/>
                  </a:cubicBezTo>
                  <a:cubicBezTo>
                    <a:pt x="5010" y="6585"/>
                    <a:pt x="4474" y="7121"/>
                    <a:pt x="3750" y="7121"/>
                  </a:cubicBezTo>
                  <a:cubicBezTo>
                    <a:pt x="3088" y="7121"/>
                    <a:pt x="2521" y="6585"/>
                    <a:pt x="2521" y="5892"/>
                  </a:cubicBezTo>
                  <a:cubicBezTo>
                    <a:pt x="2521" y="5357"/>
                    <a:pt x="2899" y="4916"/>
                    <a:pt x="3372" y="4727"/>
                  </a:cubicBezTo>
                  <a:lnTo>
                    <a:pt x="3372" y="1"/>
                  </a:lnTo>
                  <a:close/>
                </a:path>
              </a:pathLst>
            </a:custGeom>
            <a:grpFill/>
            <a:ln>
              <a:noFill/>
            </a:ln>
          </p:spPr>
          <p:txBody>
            <a:bodyPr spcFirstLastPara="1" wrap="square" lIns="91417" tIns="91417" rIns="91417" bIns="91417" anchor="ctr" anchorCtr="0">
              <a:noAutofit/>
            </a:bodyPr>
            <a:lstStyle/>
            <a:p>
              <a:endParaRPr sz="1400"/>
            </a:p>
          </p:txBody>
        </p:sp>
        <p:sp>
          <p:nvSpPr>
            <p:cNvPr id="368" name="Google Shape;6022;p86"/>
            <p:cNvSpPr/>
            <p:nvPr/>
          </p:nvSpPr>
          <p:spPr>
            <a:xfrm>
              <a:off x="-38067199" y="4196050"/>
              <a:ext cx="104775" cy="75625"/>
            </a:xfrm>
            <a:custGeom>
              <a:rect l="l" t="t" r="r" b="b"/>
              <a:pathLst>
                <a:path w="4191" h="3025" extrusionOk="0">
                  <a:moveTo>
                    <a:pt x="32" y="0"/>
                  </a:moveTo>
                  <a:lnTo>
                    <a:pt x="32" y="2615"/>
                  </a:lnTo>
                  <a:cubicBezTo>
                    <a:pt x="1" y="2836"/>
                    <a:pt x="190" y="3025"/>
                    <a:pt x="442" y="3025"/>
                  </a:cubicBezTo>
                  <a:lnTo>
                    <a:pt x="3750" y="3025"/>
                  </a:lnTo>
                  <a:cubicBezTo>
                    <a:pt x="3970" y="3025"/>
                    <a:pt x="4191" y="2836"/>
                    <a:pt x="4191" y="2615"/>
                  </a:cubicBezTo>
                  <a:lnTo>
                    <a:pt x="4191" y="0"/>
                  </a:lnTo>
                  <a:close/>
                </a:path>
              </a:pathLst>
            </a:custGeom>
            <a:grpFill/>
            <a:ln>
              <a:noFill/>
            </a:ln>
          </p:spPr>
          <p:txBody>
            <a:bodyPr spcFirstLastPara="1" wrap="square" lIns="91417" tIns="91417" rIns="91417" bIns="91417" anchor="ctr" anchorCtr="0">
              <a:noAutofit/>
            </a:bodyPr>
            <a:lstStyle/>
            <a:p>
              <a:endParaRPr sz="1400"/>
            </a:p>
          </p:txBody>
        </p:sp>
      </p:grpSp>
      <p:grpSp>
        <p:nvGrpSpPr>
          <p:cNvPr id="369" name="Google Shape;6038;p86"/>
          <p:cNvGrpSpPr/>
          <p:nvPr/>
        </p:nvGrpSpPr>
        <p:grpSpPr>
          <a:xfrm>
            <a:off x="5061499" y="3472661"/>
            <a:ext cx="605867" cy="616731"/>
            <a:chOff x="-39647174" y="3972000"/>
            <a:chExt cx="313500" cy="317050"/>
          </a:xfrm>
          <a:solidFill>
            <a:srgbClr val="00677F"/>
          </a:solidFill>
        </p:grpSpPr>
        <p:sp>
          <p:nvSpPr>
            <p:cNvPr id="370" name="Google Shape;6039;p86"/>
            <p:cNvSpPr/>
            <p:nvPr/>
          </p:nvSpPr>
          <p:spPr>
            <a:xfrm>
              <a:off x="-39647174" y="3972000"/>
              <a:ext cx="95325" cy="153975"/>
            </a:xfrm>
            <a:custGeom>
              <a:rect l="l" t="t" r="r" b="b"/>
              <a:pathLst>
                <a:path w="3812" h="6159" extrusionOk="0">
                  <a:moveTo>
                    <a:pt x="1698" y="1"/>
                  </a:moveTo>
                  <a:cubicBezTo>
                    <a:pt x="1520" y="1"/>
                    <a:pt x="1373" y="138"/>
                    <a:pt x="1293" y="299"/>
                  </a:cubicBezTo>
                  <a:lnTo>
                    <a:pt x="1" y="5119"/>
                  </a:lnTo>
                  <a:cubicBezTo>
                    <a:pt x="1" y="5308"/>
                    <a:pt x="127" y="5528"/>
                    <a:pt x="316" y="5623"/>
                  </a:cubicBezTo>
                  <a:lnTo>
                    <a:pt x="2332" y="6158"/>
                  </a:lnTo>
                  <a:cubicBezTo>
                    <a:pt x="3277" y="2630"/>
                    <a:pt x="2868" y="4111"/>
                    <a:pt x="3813" y="582"/>
                  </a:cubicBezTo>
                  <a:lnTo>
                    <a:pt x="1797" y="15"/>
                  </a:lnTo>
                  <a:cubicBezTo>
                    <a:pt x="1763" y="5"/>
                    <a:pt x="1730" y="1"/>
                    <a:pt x="1698" y="1"/>
                  </a:cubicBezTo>
                  <a:close/>
                </a:path>
              </a:pathLst>
            </a:custGeom>
            <a:grpFill/>
            <a:ln>
              <a:noFill/>
            </a:ln>
          </p:spPr>
          <p:txBody>
            <a:bodyPr spcFirstLastPara="1" wrap="square" lIns="91417" tIns="91417" rIns="91417" bIns="91417" anchor="ctr" anchorCtr="0">
              <a:noAutofit/>
            </a:bodyPr>
            <a:lstStyle/>
            <a:p>
              <a:endParaRPr sz="1400"/>
            </a:p>
          </p:txBody>
        </p:sp>
        <p:sp>
          <p:nvSpPr>
            <p:cNvPr id="371" name="Google Shape;6040;p86"/>
            <p:cNvSpPr/>
            <p:nvPr/>
          </p:nvSpPr>
          <p:spPr>
            <a:xfrm>
              <a:off x="-39588873" y="4011750"/>
              <a:ext cx="216600" cy="277300"/>
            </a:xfrm>
            <a:custGeom>
              <a:rect l="l" t="t" r="r" b="b"/>
              <a:pathLst>
                <a:path w="8664" h="11092" extrusionOk="0">
                  <a:moveTo>
                    <a:pt x="4348" y="3466"/>
                  </a:moveTo>
                  <a:cubicBezTo>
                    <a:pt x="4820" y="3466"/>
                    <a:pt x="5199" y="3844"/>
                    <a:pt x="5199" y="4316"/>
                  </a:cubicBezTo>
                  <a:cubicBezTo>
                    <a:pt x="5199" y="4789"/>
                    <a:pt x="4820" y="5136"/>
                    <a:pt x="4348" y="5136"/>
                  </a:cubicBezTo>
                  <a:cubicBezTo>
                    <a:pt x="3907" y="5136"/>
                    <a:pt x="3529" y="4789"/>
                    <a:pt x="3529" y="4316"/>
                  </a:cubicBezTo>
                  <a:cubicBezTo>
                    <a:pt x="3529" y="3875"/>
                    <a:pt x="3875" y="3466"/>
                    <a:pt x="4348" y="3466"/>
                  </a:cubicBezTo>
                  <a:close/>
                  <a:moveTo>
                    <a:pt x="5104" y="5766"/>
                  </a:moveTo>
                  <a:lnTo>
                    <a:pt x="6081" y="7624"/>
                  </a:lnTo>
                  <a:lnTo>
                    <a:pt x="2615" y="7624"/>
                  </a:lnTo>
                  <a:lnTo>
                    <a:pt x="3560" y="5766"/>
                  </a:lnTo>
                  <a:cubicBezTo>
                    <a:pt x="3812" y="5892"/>
                    <a:pt x="4096" y="5955"/>
                    <a:pt x="4348" y="5955"/>
                  </a:cubicBezTo>
                  <a:cubicBezTo>
                    <a:pt x="4631" y="5955"/>
                    <a:pt x="4883" y="5892"/>
                    <a:pt x="5104" y="5766"/>
                  </a:cubicBezTo>
                  <a:close/>
                  <a:moveTo>
                    <a:pt x="2048" y="0"/>
                  </a:moveTo>
                  <a:cubicBezTo>
                    <a:pt x="1386" y="2458"/>
                    <a:pt x="1638" y="1544"/>
                    <a:pt x="977" y="4001"/>
                  </a:cubicBezTo>
                  <a:lnTo>
                    <a:pt x="2678" y="4474"/>
                  </a:lnTo>
                  <a:cubicBezTo>
                    <a:pt x="2678" y="4726"/>
                    <a:pt x="2741" y="5010"/>
                    <a:pt x="2899" y="5199"/>
                  </a:cubicBezTo>
                  <a:lnTo>
                    <a:pt x="32" y="10523"/>
                  </a:lnTo>
                  <a:cubicBezTo>
                    <a:pt x="0" y="10680"/>
                    <a:pt x="63" y="10964"/>
                    <a:pt x="252" y="11027"/>
                  </a:cubicBezTo>
                  <a:cubicBezTo>
                    <a:pt x="328" y="11070"/>
                    <a:pt x="404" y="11091"/>
                    <a:pt x="475" y="11091"/>
                  </a:cubicBezTo>
                  <a:cubicBezTo>
                    <a:pt x="613" y="11091"/>
                    <a:pt x="737" y="11014"/>
                    <a:pt x="819" y="10869"/>
                  </a:cubicBezTo>
                  <a:lnTo>
                    <a:pt x="2143" y="8475"/>
                  </a:lnTo>
                  <a:lnTo>
                    <a:pt x="6490" y="8475"/>
                  </a:lnTo>
                  <a:lnTo>
                    <a:pt x="7845" y="10869"/>
                  </a:lnTo>
                  <a:cubicBezTo>
                    <a:pt x="7907" y="11014"/>
                    <a:pt x="8037" y="11091"/>
                    <a:pt x="8173" y="11091"/>
                  </a:cubicBezTo>
                  <a:cubicBezTo>
                    <a:pt x="8243" y="11091"/>
                    <a:pt x="8316" y="11070"/>
                    <a:pt x="8381" y="11027"/>
                  </a:cubicBezTo>
                  <a:cubicBezTo>
                    <a:pt x="8570" y="10932"/>
                    <a:pt x="8664" y="10680"/>
                    <a:pt x="8538" y="10491"/>
                  </a:cubicBezTo>
                  <a:lnTo>
                    <a:pt x="5734" y="5262"/>
                  </a:lnTo>
                  <a:lnTo>
                    <a:pt x="6585" y="5482"/>
                  </a:lnTo>
                  <a:cubicBezTo>
                    <a:pt x="7120" y="3434"/>
                    <a:pt x="6931" y="4222"/>
                    <a:pt x="7624" y="1513"/>
                  </a:cubicBezTo>
                  <a:lnTo>
                    <a:pt x="2048" y="0"/>
                  </a:lnTo>
                  <a:close/>
                </a:path>
              </a:pathLst>
            </a:custGeom>
            <a:grpFill/>
            <a:ln>
              <a:noFill/>
            </a:ln>
          </p:spPr>
          <p:txBody>
            <a:bodyPr spcFirstLastPara="1" wrap="square" lIns="91417" tIns="91417" rIns="91417" bIns="91417" anchor="ctr" anchorCtr="0">
              <a:noAutofit/>
            </a:bodyPr>
            <a:lstStyle/>
            <a:p>
              <a:endParaRPr sz="1400"/>
            </a:p>
          </p:txBody>
        </p:sp>
        <p:sp>
          <p:nvSpPr>
            <p:cNvPr id="372" name="Google Shape;6041;p86"/>
            <p:cNvSpPr/>
            <p:nvPr/>
          </p:nvSpPr>
          <p:spPr>
            <a:xfrm>
              <a:off x="-39398274" y="4073975"/>
              <a:ext cx="64600" cy="71600"/>
            </a:xfrm>
            <a:custGeom>
              <a:rect l="l" t="t" r="r" b="b"/>
              <a:pathLst>
                <a:path w="2584" h="2864" extrusionOk="0">
                  <a:moveTo>
                    <a:pt x="630" y="0"/>
                  </a:moveTo>
                  <a:cubicBezTo>
                    <a:pt x="252" y="1449"/>
                    <a:pt x="410" y="945"/>
                    <a:pt x="0" y="2395"/>
                  </a:cubicBezTo>
                  <a:lnTo>
                    <a:pt x="1607" y="2836"/>
                  </a:lnTo>
                  <a:cubicBezTo>
                    <a:pt x="1658" y="2855"/>
                    <a:pt x="1707" y="2864"/>
                    <a:pt x="1753" y="2864"/>
                  </a:cubicBezTo>
                  <a:cubicBezTo>
                    <a:pt x="1932" y="2864"/>
                    <a:pt x="2067" y="2728"/>
                    <a:pt x="2143" y="2552"/>
                  </a:cubicBezTo>
                  <a:lnTo>
                    <a:pt x="2584" y="945"/>
                  </a:lnTo>
                  <a:cubicBezTo>
                    <a:pt x="2552" y="725"/>
                    <a:pt x="2458" y="473"/>
                    <a:pt x="2237" y="441"/>
                  </a:cubicBezTo>
                  <a:lnTo>
                    <a:pt x="630" y="0"/>
                  </a:lnTo>
                  <a:close/>
                </a:path>
              </a:pathLst>
            </a:custGeom>
            <a:grpFill/>
            <a:ln>
              <a:noFill/>
            </a:ln>
          </p:spPr>
          <p:txBody>
            <a:bodyPr spcFirstLastPara="1" wrap="square" lIns="91417" tIns="91417" rIns="91417" bIns="91417" anchor="ctr" anchorCtr="0">
              <a:noAutofit/>
            </a:bodyPr>
            <a:lstStyle/>
            <a:p>
              <a:endParaRPr sz="1400"/>
            </a:p>
          </p:txBody>
        </p:sp>
      </p:grpSp>
      <p:grpSp>
        <p:nvGrpSpPr>
          <p:cNvPr id="373" name="Google Shape;6048;p86"/>
          <p:cNvGrpSpPr/>
          <p:nvPr/>
        </p:nvGrpSpPr>
        <p:grpSpPr>
          <a:xfrm>
            <a:off x="8940131" y="3435037"/>
            <a:ext cx="608910" cy="619017"/>
            <a:chOff x="-37804927" y="3953450"/>
            <a:chExt cx="315075" cy="318225"/>
          </a:xfrm>
          <a:solidFill>
            <a:srgbClr val="00677F"/>
          </a:solidFill>
        </p:grpSpPr>
        <p:sp>
          <p:nvSpPr>
            <p:cNvPr id="374" name="Google Shape;6049;p86"/>
            <p:cNvSpPr/>
            <p:nvPr/>
          </p:nvSpPr>
          <p:spPr>
            <a:xfrm>
              <a:off x="-37614299" y="3955025"/>
              <a:ext cx="124450" cy="186200"/>
            </a:xfrm>
            <a:custGeom>
              <a:rect l="l" t="t" r="r" b="b"/>
              <a:pathLst>
                <a:path w="4978" h="7448" extrusionOk="0">
                  <a:moveTo>
                    <a:pt x="2489" y="820"/>
                  </a:moveTo>
                  <a:cubicBezTo>
                    <a:pt x="3403" y="820"/>
                    <a:pt x="4127" y="1576"/>
                    <a:pt x="4127" y="2490"/>
                  </a:cubicBezTo>
                  <a:cubicBezTo>
                    <a:pt x="4127" y="3372"/>
                    <a:pt x="3403" y="4128"/>
                    <a:pt x="2489" y="4128"/>
                  </a:cubicBezTo>
                  <a:cubicBezTo>
                    <a:pt x="1575" y="4128"/>
                    <a:pt x="819" y="3372"/>
                    <a:pt x="819" y="2490"/>
                  </a:cubicBezTo>
                  <a:cubicBezTo>
                    <a:pt x="819" y="1576"/>
                    <a:pt x="1575" y="820"/>
                    <a:pt x="2489" y="820"/>
                  </a:cubicBezTo>
                  <a:close/>
                  <a:moveTo>
                    <a:pt x="2489" y="1"/>
                  </a:moveTo>
                  <a:cubicBezTo>
                    <a:pt x="1103" y="1"/>
                    <a:pt x="0" y="1104"/>
                    <a:pt x="0" y="2490"/>
                  </a:cubicBezTo>
                  <a:cubicBezTo>
                    <a:pt x="0" y="3214"/>
                    <a:pt x="315" y="3845"/>
                    <a:pt x="819" y="4317"/>
                  </a:cubicBezTo>
                  <a:lnTo>
                    <a:pt x="819" y="7058"/>
                  </a:lnTo>
                  <a:cubicBezTo>
                    <a:pt x="819" y="7287"/>
                    <a:pt x="1012" y="7448"/>
                    <a:pt x="1225" y="7448"/>
                  </a:cubicBezTo>
                  <a:cubicBezTo>
                    <a:pt x="1334" y="7448"/>
                    <a:pt x="1448" y="7406"/>
                    <a:pt x="1544" y="7310"/>
                  </a:cubicBezTo>
                  <a:lnTo>
                    <a:pt x="2489" y="6365"/>
                  </a:lnTo>
                  <a:lnTo>
                    <a:pt x="3434" y="7310"/>
                  </a:lnTo>
                  <a:cubicBezTo>
                    <a:pt x="3530" y="7406"/>
                    <a:pt x="3640" y="7448"/>
                    <a:pt x="3744" y="7448"/>
                  </a:cubicBezTo>
                  <a:cubicBezTo>
                    <a:pt x="3948" y="7448"/>
                    <a:pt x="4127" y="7287"/>
                    <a:pt x="4127" y="7058"/>
                  </a:cubicBezTo>
                  <a:lnTo>
                    <a:pt x="4127" y="4317"/>
                  </a:lnTo>
                  <a:cubicBezTo>
                    <a:pt x="4663" y="3845"/>
                    <a:pt x="4978" y="3214"/>
                    <a:pt x="4978" y="2490"/>
                  </a:cubicBezTo>
                  <a:cubicBezTo>
                    <a:pt x="4978" y="1104"/>
                    <a:pt x="3875" y="1"/>
                    <a:pt x="2489" y="1"/>
                  </a:cubicBezTo>
                  <a:close/>
                </a:path>
              </a:pathLst>
            </a:custGeom>
            <a:grpFill/>
            <a:ln>
              <a:noFill/>
            </a:ln>
          </p:spPr>
          <p:txBody>
            <a:bodyPr spcFirstLastPara="1" wrap="square" lIns="91417" tIns="91417" rIns="91417" bIns="91417" anchor="ctr" anchorCtr="0">
              <a:noAutofit/>
            </a:bodyPr>
            <a:lstStyle/>
            <a:p>
              <a:endParaRPr sz="1400"/>
            </a:p>
          </p:txBody>
        </p:sp>
        <p:sp>
          <p:nvSpPr>
            <p:cNvPr id="375" name="Google Shape;6050;p86"/>
            <p:cNvSpPr/>
            <p:nvPr/>
          </p:nvSpPr>
          <p:spPr>
            <a:xfrm>
              <a:off x="-37761599" y="4230700"/>
              <a:ext cx="270175" cy="40975"/>
            </a:xfrm>
            <a:custGeom>
              <a:rect l="l" t="t" r="r" b="b"/>
              <a:pathLst>
                <a:path w="10807" h="1639" extrusionOk="0">
                  <a:moveTo>
                    <a:pt x="1450" y="1"/>
                  </a:moveTo>
                  <a:cubicBezTo>
                    <a:pt x="1292" y="788"/>
                    <a:pt x="662" y="1387"/>
                    <a:pt x="1" y="1639"/>
                  </a:cubicBezTo>
                  <a:lnTo>
                    <a:pt x="8822" y="1639"/>
                  </a:lnTo>
                  <a:cubicBezTo>
                    <a:pt x="9799" y="1639"/>
                    <a:pt x="10649" y="946"/>
                    <a:pt x="10807" y="1"/>
                  </a:cubicBezTo>
                  <a:close/>
                </a:path>
              </a:pathLst>
            </a:custGeom>
            <a:grpFill/>
            <a:ln>
              <a:noFill/>
            </a:ln>
          </p:spPr>
          <p:txBody>
            <a:bodyPr spcFirstLastPara="1" wrap="square" lIns="91417" tIns="91417" rIns="91417" bIns="91417" anchor="ctr" anchorCtr="0">
              <a:noAutofit/>
            </a:bodyPr>
            <a:lstStyle/>
            <a:p>
              <a:endParaRPr sz="1400"/>
            </a:p>
          </p:txBody>
        </p:sp>
        <p:sp>
          <p:nvSpPr>
            <p:cNvPr id="376" name="Google Shape;6051;p86"/>
            <p:cNvSpPr/>
            <p:nvPr/>
          </p:nvSpPr>
          <p:spPr>
            <a:xfrm>
              <a:off x="-37804927" y="3953450"/>
              <a:ext cx="274125" cy="295675"/>
            </a:xfrm>
            <a:custGeom>
              <a:rect l="l" t="t" r="r" b="b"/>
              <a:pathLst>
                <a:path w="10965" h="11827" extrusionOk="0">
                  <a:moveTo>
                    <a:pt x="379" y="1"/>
                  </a:moveTo>
                  <a:cubicBezTo>
                    <a:pt x="158" y="1"/>
                    <a:pt x="1" y="221"/>
                    <a:pt x="1" y="411"/>
                  </a:cubicBezTo>
                  <a:lnTo>
                    <a:pt x="1" y="10618"/>
                  </a:lnTo>
                  <a:cubicBezTo>
                    <a:pt x="1" y="11280"/>
                    <a:pt x="537" y="11815"/>
                    <a:pt x="1198" y="11815"/>
                  </a:cubicBezTo>
                  <a:cubicBezTo>
                    <a:pt x="1247" y="11823"/>
                    <a:pt x="1295" y="11826"/>
                    <a:pt x="1342" y="11826"/>
                  </a:cubicBezTo>
                  <a:cubicBezTo>
                    <a:pt x="1912" y="11826"/>
                    <a:pt x="2395" y="11318"/>
                    <a:pt x="2395" y="10650"/>
                  </a:cubicBezTo>
                  <a:cubicBezTo>
                    <a:pt x="2395" y="10398"/>
                    <a:pt x="2584" y="10272"/>
                    <a:pt x="2836" y="10272"/>
                  </a:cubicBezTo>
                  <a:lnTo>
                    <a:pt x="10965" y="10272"/>
                  </a:lnTo>
                  <a:lnTo>
                    <a:pt x="10965" y="8255"/>
                  </a:lnTo>
                  <a:cubicBezTo>
                    <a:pt x="10807" y="8161"/>
                    <a:pt x="10650" y="8098"/>
                    <a:pt x="10492" y="7972"/>
                  </a:cubicBezTo>
                  <a:lnTo>
                    <a:pt x="10146" y="7625"/>
                  </a:lnTo>
                  <a:lnTo>
                    <a:pt x="9799" y="7972"/>
                  </a:lnTo>
                  <a:cubicBezTo>
                    <a:pt x="9547" y="8224"/>
                    <a:pt x="9232" y="8318"/>
                    <a:pt x="8917" y="8318"/>
                  </a:cubicBezTo>
                  <a:cubicBezTo>
                    <a:pt x="8255" y="8318"/>
                    <a:pt x="7720" y="7783"/>
                    <a:pt x="7720" y="7058"/>
                  </a:cubicBezTo>
                  <a:lnTo>
                    <a:pt x="7720" y="4664"/>
                  </a:lnTo>
                  <a:cubicBezTo>
                    <a:pt x="7184" y="4065"/>
                    <a:pt x="6869" y="3309"/>
                    <a:pt x="6869" y="2490"/>
                  </a:cubicBezTo>
                  <a:cubicBezTo>
                    <a:pt x="6869" y="1513"/>
                    <a:pt x="7310" y="600"/>
                    <a:pt x="8035" y="1"/>
                  </a:cubicBezTo>
                  <a:close/>
                </a:path>
              </a:pathLst>
            </a:custGeom>
            <a:grpFill/>
            <a:ln>
              <a:noFill/>
            </a:ln>
          </p:spPr>
          <p:txBody>
            <a:bodyPr spcFirstLastPara="1" wrap="square" lIns="91417" tIns="91417" rIns="91417" bIns="91417" anchor="ctr" anchorCtr="0">
              <a:noAutofit/>
            </a:bodyPr>
            <a:lstStyle/>
            <a:p>
              <a:endParaRPr sz="1400"/>
            </a:p>
          </p:txBody>
        </p:sp>
      </p:grpSp>
      <p:grpSp>
        <p:nvGrpSpPr>
          <p:cNvPr id="377" name="Google Shape;5717;p85"/>
          <p:cNvGrpSpPr/>
          <p:nvPr/>
        </p:nvGrpSpPr>
        <p:grpSpPr>
          <a:xfrm>
            <a:off x="7423673" y="4697953"/>
            <a:ext cx="656428" cy="517207"/>
            <a:chOff x="5629975" y="3255775"/>
            <a:chExt cx="504500" cy="397500"/>
          </a:xfrm>
          <a:solidFill>
            <a:srgbClr val="00677F"/>
          </a:solidFill>
        </p:grpSpPr>
        <p:sp>
          <p:nvSpPr>
            <p:cNvPr id="378" name="Google Shape;5718;p85"/>
            <p:cNvSpPr/>
            <p:nvPr/>
          </p:nvSpPr>
          <p:spPr>
            <a:xfrm>
              <a:off x="5756375" y="3255775"/>
              <a:ext cx="112950" cy="143425"/>
            </a:xfrm>
            <a:custGeom>
              <a:rect l="l" t="t" r="r" b="b"/>
              <a:pathLst>
                <a:path w="4518" h="5737" extrusionOk="0">
                  <a:moveTo>
                    <a:pt x="2259" y="0"/>
                  </a:moveTo>
                  <a:cubicBezTo>
                    <a:pt x="793" y="0"/>
                    <a:pt x="1" y="2469"/>
                    <a:pt x="1" y="3478"/>
                  </a:cubicBezTo>
                  <a:cubicBezTo>
                    <a:pt x="1" y="4725"/>
                    <a:pt x="1013" y="5733"/>
                    <a:pt x="2259" y="5736"/>
                  </a:cubicBezTo>
                  <a:cubicBezTo>
                    <a:pt x="3506" y="5733"/>
                    <a:pt x="4518" y="4725"/>
                    <a:pt x="4518" y="3478"/>
                  </a:cubicBezTo>
                  <a:cubicBezTo>
                    <a:pt x="4518" y="2469"/>
                    <a:pt x="3729" y="0"/>
                    <a:pt x="2259" y="0"/>
                  </a:cubicBezTo>
                  <a:close/>
                </a:path>
              </a:pathLst>
            </a:custGeom>
            <a:grpFill/>
            <a:ln>
              <a:noFill/>
            </a:ln>
          </p:spPr>
          <p:txBody>
            <a:bodyPr spcFirstLastPara="1" wrap="square" lIns="91417" tIns="91417" rIns="91417" bIns="91417" anchor="ctr" anchorCtr="0">
              <a:noAutofit/>
            </a:bodyPr>
            <a:lstStyle/>
            <a:p>
              <a:endParaRPr sz="1400">
                <a:solidFill>
                  <a:srgbClr val="435D74"/>
                </a:solidFill>
              </a:endParaRPr>
            </a:p>
          </p:txBody>
        </p:sp>
        <p:sp>
          <p:nvSpPr>
            <p:cNvPr id="379" name="Google Shape;5719;p85"/>
            <p:cNvSpPr/>
            <p:nvPr/>
          </p:nvSpPr>
          <p:spPr>
            <a:xfrm>
              <a:off x="5629975" y="3374400"/>
              <a:ext cx="140575" cy="136175"/>
            </a:xfrm>
            <a:custGeom>
              <a:rect l="l" t="t" r="r" b="b"/>
              <a:pathLst>
                <a:path w="5623" h="5447" extrusionOk="0">
                  <a:moveTo>
                    <a:pt x="1951" y="0"/>
                  </a:moveTo>
                  <a:cubicBezTo>
                    <a:pt x="1711" y="0"/>
                    <a:pt x="1480" y="53"/>
                    <a:pt x="1269" y="175"/>
                  </a:cubicBezTo>
                  <a:cubicBezTo>
                    <a:pt x="1" y="907"/>
                    <a:pt x="582" y="3443"/>
                    <a:pt x="1088" y="4316"/>
                  </a:cubicBezTo>
                  <a:cubicBezTo>
                    <a:pt x="1506" y="5041"/>
                    <a:pt x="2265" y="5447"/>
                    <a:pt x="3045" y="5447"/>
                  </a:cubicBezTo>
                  <a:cubicBezTo>
                    <a:pt x="3428" y="5447"/>
                    <a:pt x="3816" y="5349"/>
                    <a:pt x="4172" y="5144"/>
                  </a:cubicBezTo>
                  <a:cubicBezTo>
                    <a:pt x="5253" y="4521"/>
                    <a:pt x="5623" y="3138"/>
                    <a:pt x="5000" y="2057"/>
                  </a:cubicBezTo>
                  <a:cubicBezTo>
                    <a:pt x="4578" y="1330"/>
                    <a:pt x="3149" y="0"/>
                    <a:pt x="1951" y="0"/>
                  </a:cubicBezTo>
                  <a:close/>
                </a:path>
              </a:pathLst>
            </a:custGeom>
            <a:grpFill/>
            <a:ln>
              <a:noFill/>
            </a:ln>
          </p:spPr>
          <p:txBody>
            <a:bodyPr spcFirstLastPara="1" wrap="square" lIns="91417" tIns="91417" rIns="91417" bIns="91417" anchor="ctr" anchorCtr="0">
              <a:noAutofit/>
            </a:bodyPr>
            <a:lstStyle/>
            <a:p>
              <a:endParaRPr sz="1400">
                <a:solidFill>
                  <a:srgbClr val="435D74"/>
                </a:solidFill>
              </a:endParaRPr>
            </a:p>
          </p:txBody>
        </p:sp>
        <p:sp>
          <p:nvSpPr>
            <p:cNvPr id="380" name="Google Shape;5720;p85"/>
            <p:cNvSpPr/>
            <p:nvPr/>
          </p:nvSpPr>
          <p:spPr>
            <a:xfrm>
              <a:off x="5897525" y="3255775"/>
              <a:ext cx="112950" cy="143425"/>
            </a:xfrm>
            <a:custGeom>
              <a:rect l="l" t="t" r="r" b="b"/>
              <a:pathLst>
                <a:path w="4518" h="5737" extrusionOk="0">
                  <a:moveTo>
                    <a:pt x="2259" y="0"/>
                  </a:moveTo>
                  <a:cubicBezTo>
                    <a:pt x="793" y="0"/>
                    <a:pt x="1" y="2469"/>
                    <a:pt x="1" y="3478"/>
                  </a:cubicBezTo>
                  <a:cubicBezTo>
                    <a:pt x="1" y="4725"/>
                    <a:pt x="1013" y="5736"/>
                    <a:pt x="2259" y="5736"/>
                  </a:cubicBezTo>
                  <a:cubicBezTo>
                    <a:pt x="3506" y="5736"/>
                    <a:pt x="4518" y="4725"/>
                    <a:pt x="4518" y="3478"/>
                  </a:cubicBezTo>
                  <a:cubicBezTo>
                    <a:pt x="4518" y="2469"/>
                    <a:pt x="3729" y="0"/>
                    <a:pt x="2259" y="0"/>
                  </a:cubicBezTo>
                  <a:close/>
                </a:path>
              </a:pathLst>
            </a:custGeom>
            <a:grpFill/>
            <a:ln>
              <a:noFill/>
            </a:ln>
          </p:spPr>
          <p:txBody>
            <a:bodyPr spcFirstLastPara="1" wrap="square" lIns="91417" tIns="91417" rIns="91417" bIns="91417" anchor="ctr" anchorCtr="0">
              <a:noAutofit/>
            </a:bodyPr>
            <a:lstStyle/>
            <a:p>
              <a:endParaRPr sz="1400">
                <a:solidFill>
                  <a:srgbClr val="435D74"/>
                </a:solidFill>
              </a:endParaRPr>
            </a:p>
          </p:txBody>
        </p:sp>
        <p:sp>
          <p:nvSpPr>
            <p:cNvPr id="381" name="Google Shape;5721;p85"/>
            <p:cNvSpPr/>
            <p:nvPr/>
          </p:nvSpPr>
          <p:spPr>
            <a:xfrm>
              <a:off x="5996075" y="3373900"/>
              <a:ext cx="138400" cy="136200"/>
            </a:xfrm>
            <a:custGeom>
              <a:rect l="l" t="t" r="r" b="b"/>
              <a:pathLst>
                <a:path w="5536" h="5448" extrusionOk="0">
                  <a:moveTo>
                    <a:pt x="3670" y="1"/>
                  </a:moveTo>
                  <a:cubicBezTo>
                    <a:pt x="2471" y="1"/>
                    <a:pt x="1045" y="1330"/>
                    <a:pt x="624" y="2059"/>
                  </a:cubicBezTo>
                  <a:cubicBezTo>
                    <a:pt x="1" y="3137"/>
                    <a:pt x="371" y="4523"/>
                    <a:pt x="1452" y="5146"/>
                  </a:cubicBezTo>
                  <a:cubicBezTo>
                    <a:pt x="1808" y="5351"/>
                    <a:pt x="2199" y="5448"/>
                    <a:pt x="2586" y="5448"/>
                  </a:cubicBezTo>
                  <a:cubicBezTo>
                    <a:pt x="3381" y="5448"/>
                    <a:pt x="4158" y="5039"/>
                    <a:pt x="4575" y="4318"/>
                  </a:cubicBezTo>
                  <a:cubicBezTo>
                    <a:pt x="5168" y="3288"/>
                    <a:pt x="5535" y="858"/>
                    <a:pt x="4355" y="177"/>
                  </a:cubicBezTo>
                  <a:cubicBezTo>
                    <a:pt x="4142" y="54"/>
                    <a:pt x="3911" y="1"/>
                    <a:pt x="3670" y="1"/>
                  </a:cubicBezTo>
                  <a:close/>
                </a:path>
              </a:pathLst>
            </a:custGeom>
            <a:grpFill/>
            <a:ln>
              <a:noFill/>
            </a:ln>
          </p:spPr>
          <p:txBody>
            <a:bodyPr spcFirstLastPara="1" wrap="square" lIns="91417" tIns="91417" rIns="91417" bIns="91417" anchor="ctr" anchorCtr="0">
              <a:noAutofit/>
            </a:bodyPr>
            <a:lstStyle/>
            <a:p>
              <a:endParaRPr sz="1400">
                <a:solidFill>
                  <a:srgbClr val="435D74"/>
                </a:solidFill>
              </a:endParaRPr>
            </a:p>
          </p:txBody>
        </p:sp>
        <p:sp>
          <p:nvSpPr>
            <p:cNvPr id="382" name="Google Shape;5722;p85"/>
            <p:cNvSpPr/>
            <p:nvPr/>
          </p:nvSpPr>
          <p:spPr>
            <a:xfrm>
              <a:off x="5728150" y="3427400"/>
              <a:ext cx="310575" cy="225875"/>
            </a:xfrm>
            <a:custGeom>
              <a:rect l="l" t="t" r="r" b="b"/>
              <a:pathLst>
                <a:path w="12423" h="9035" extrusionOk="0">
                  <a:moveTo>
                    <a:pt x="6213" y="1"/>
                  </a:moveTo>
                  <a:cubicBezTo>
                    <a:pt x="5234" y="1"/>
                    <a:pt x="2259" y="1"/>
                    <a:pt x="2259" y="2822"/>
                  </a:cubicBezTo>
                  <a:lnTo>
                    <a:pt x="2259" y="3147"/>
                  </a:lnTo>
                  <a:cubicBezTo>
                    <a:pt x="2259" y="3376"/>
                    <a:pt x="2121" y="3584"/>
                    <a:pt x="1907" y="3671"/>
                  </a:cubicBezTo>
                  <a:cubicBezTo>
                    <a:pt x="750" y="4144"/>
                    <a:pt x="1" y="5141"/>
                    <a:pt x="1" y="6210"/>
                  </a:cubicBezTo>
                  <a:cubicBezTo>
                    <a:pt x="1" y="7767"/>
                    <a:pt x="1521" y="9034"/>
                    <a:pt x="3388" y="9034"/>
                  </a:cubicBezTo>
                  <a:cubicBezTo>
                    <a:pt x="3400" y="9035"/>
                    <a:pt x="3413" y="9035"/>
                    <a:pt x="3425" y="9035"/>
                  </a:cubicBezTo>
                  <a:cubicBezTo>
                    <a:pt x="3753" y="9035"/>
                    <a:pt x="4081" y="8995"/>
                    <a:pt x="4400" y="8917"/>
                  </a:cubicBezTo>
                  <a:cubicBezTo>
                    <a:pt x="4995" y="8766"/>
                    <a:pt x="5604" y="8691"/>
                    <a:pt x="6213" y="8691"/>
                  </a:cubicBezTo>
                  <a:cubicBezTo>
                    <a:pt x="6823" y="8691"/>
                    <a:pt x="7432" y="8766"/>
                    <a:pt x="8029" y="8917"/>
                  </a:cubicBezTo>
                  <a:cubicBezTo>
                    <a:pt x="8345" y="8995"/>
                    <a:pt x="8670" y="9035"/>
                    <a:pt x="8998" y="9035"/>
                  </a:cubicBezTo>
                  <a:cubicBezTo>
                    <a:pt x="9010" y="9035"/>
                    <a:pt x="9022" y="9035"/>
                    <a:pt x="9034" y="9034"/>
                  </a:cubicBezTo>
                  <a:cubicBezTo>
                    <a:pt x="10901" y="9034"/>
                    <a:pt x="12422" y="7767"/>
                    <a:pt x="12422" y="6210"/>
                  </a:cubicBezTo>
                  <a:cubicBezTo>
                    <a:pt x="12422" y="5138"/>
                    <a:pt x="11675" y="4141"/>
                    <a:pt x="10516" y="3671"/>
                  </a:cubicBezTo>
                  <a:cubicBezTo>
                    <a:pt x="10302" y="3584"/>
                    <a:pt x="10164" y="3376"/>
                    <a:pt x="10164" y="3147"/>
                  </a:cubicBezTo>
                  <a:lnTo>
                    <a:pt x="10164" y="2822"/>
                  </a:lnTo>
                  <a:cubicBezTo>
                    <a:pt x="10164" y="1"/>
                    <a:pt x="7191" y="1"/>
                    <a:pt x="6213" y="1"/>
                  </a:cubicBezTo>
                  <a:close/>
                </a:path>
              </a:pathLst>
            </a:custGeom>
            <a:grpFill/>
            <a:ln>
              <a:noFill/>
            </a:ln>
          </p:spPr>
          <p:txBody>
            <a:bodyPr spcFirstLastPara="1" wrap="square" lIns="91417" tIns="91417" rIns="91417" bIns="91417" anchor="ctr" anchorCtr="0">
              <a:noAutofit/>
            </a:bodyPr>
            <a:lstStyle/>
            <a:p>
              <a:endParaRPr sz="1400">
                <a:solidFill>
                  <a:srgbClr val="435D74"/>
                </a:solidFill>
              </a:endParaRPr>
            </a:p>
          </p:txBody>
        </p:sp>
      </p:grpSp>
      <p:grpSp>
        <p:nvGrpSpPr>
          <p:cNvPr id="383" name="Google Shape;5723;p85"/>
          <p:cNvGrpSpPr/>
          <p:nvPr/>
        </p:nvGrpSpPr>
        <p:grpSpPr>
          <a:xfrm>
            <a:off x="4104103" y="3461124"/>
            <a:ext cx="741879" cy="609778"/>
            <a:chOff x="6234950" y="3255925"/>
            <a:chExt cx="483250" cy="397200"/>
          </a:xfrm>
          <a:solidFill>
            <a:srgbClr val="00677F"/>
          </a:solidFill>
        </p:grpSpPr>
        <p:sp>
          <p:nvSpPr>
            <p:cNvPr id="384" name="Google Shape;5724;p85"/>
            <p:cNvSpPr/>
            <p:nvPr/>
          </p:nvSpPr>
          <p:spPr>
            <a:xfrm>
              <a:off x="6444675" y="3255925"/>
              <a:ext cx="128300" cy="90200"/>
            </a:xfrm>
            <a:custGeom>
              <a:rect l="l" t="t" r="r" b="b"/>
              <a:pathLst>
                <a:path w="5132" h="3608" extrusionOk="0">
                  <a:moveTo>
                    <a:pt x="567" y="0"/>
                  </a:moveTo>
                  <a:cubicBezTo>
                    <a:pt x="254" y="0"/>
                    <a:pt x="1" y="253"/>
                    <a:pt x="1" y="563"/>
                  </a:cubicBezTo>
                  <a:cubicBezTo>
                    <a:pt x="7" y="1662"/>
                    <a:pt x="368" y="2731"/>
                    <a:pt x="1034" y="3608"/>
                  </a:cubicBezTo>
                  <a:cubicBezTo>
                    <a:pt x="2097" y="3138"/>
                    <a:pt x="3325" y="2864"/>
                    <a:pt x="5014" y="2864"/>
                  </a:cubicBezTo>
                  <a:cubicBezTo>
                    <a:pt x="5054" y="2864"/>
                    <a:pt x="5093" y="2873"/>
                    <a:pt x="5132" y="2873"/>
                  </a:cubicBezTo>
                  <a:cubicBezTo>
                    <a:pt x="4289" y="1117"/>
                    <a:pt x="2515" y="0"/>
                    <a:pt x="567" y="0"/>
                  </a:cubicBezTo>
                  <a:close/>
                </a:path>
              </a:pathLst>
            </a:custGeom>
            <a:grpFill/>
            <a:ln>
              <a:noFill/>
            </a:ln>
          </p:spPr>
          <p:txBody>
            <a:bodyPr spcFirstLastPara="1" wrap="square" lIns="91417" tIns="91417" rIns="91417" bIns="91417" anchor="ctr" anchorCtr="0">
              <a:noAutofit/>
            </a:bodyPr>
            <a:lstStyle/>
            <a:p>
              <a:endParaRPr sz="1400">
                <a:solidFill>
                  <a:srgbClr val="435D74"/>
                </a:solidFill>
              </a:endParaRPr>
            </a:p>
          </p:txBody>
        </p:sp>
        <p:sp>
          <p:nvSpPr>
            <p:cNvPr id="385" name="Google Shape;5725;p85"/>
            <p:cNvSpPr/>
            <p:nvPr/>
          </p:nvSpPr>
          <p:spPr>
            <a:xfrm>
              <a:off x="6444750" y="3563200"/>
              <a:ext cx="128225" cy="89925"/>
            </a:xfrm>
            <a:custGeom>
              <a:rect l="l" t="t" r="r" b="b"/>
              <a:pathLst>
                <a:path w="5129" h="3597" extrusionOk="0">
                  <a:moveTo>
                    <a:pt x="1022" y="1"/>
                  </a:moveTo>
                  <a:cubicBezTo>
                    <a:pt x="362" y="874"/>
                    <a:pt x="4" y="1937"/>
                    <a:pt x="1" y="3033"/>
                  </a:cubicBezTo>
                  <a:cubicBezTo>
                    <a:pt x="1" y="3343"/>
                    <a:pt x="251" y="3596"/>
                    <a:pt x="564" y="3596"/>
                  </a:cubicBezTo>
                  <a:cubicBezTo>
                    <a:pt x="2512" y="3596"/>
                    <a:pt x="4286" y="2479"/>
                    <a:pt x="5129" y="724"/>
                  </a:cubicBezTo>
                  <a:cubicBezTo>
                    <a:pt x="5093" y="724"/>
                    <a:pt x="5051" y="736"/>
                    <a:pt x="5011" y="736"/>
                  </a:cubicBezTo>
                  <a:cubicBezTo>
                    <a:pt x="3319" y="736"/>
                    <a:pt x="2088" y="462"/>
                    <a:pt x="1022" y="1"/>
                  </a:cubicBezTo>
                  <a:close/>
                </a:path>
              </a:pathLst>
            </a:custGeom>
            <a:grpFill/>
            <a:ln>
              <a:noFill/>
            </a:ln>
          </p:spPr>
          <p:txBody>
            <a:bodyPr spcFirstLastPara="1" wrap="square" lIns="91417" tIns="91417" rIns="91417" bIns="91417" anchor="ctr" anchorCtr="0">
              <a:noAutofit/>
            </a:bodyPr>
            <a:lstStyle/>
            <a:p>
              <a:endParaRPr sz="1400">
                <a:solidFill>
                  <a:srgbClr val="435D74"/>
                </a:solidFill>
              </a:endParaRPr>
            </a:p>
          </p:txBody>
        </p:sp>
        <p:sp>
          <p:nvSpPr>
            <p:cNvPr id="386" name="Google Shape;5726;p85"/>
            <p:cNvSpPr/>
            <p:nvPr/>
          </p:nvSpPr>
          <p:spPr>
            <a:xfrm>
              <a:off x="6375350" y="3355650"/>
              <a:ext cx="244750" cy="197650"/>
            </a:xfrm>
            <a:custGeom>
              <a:rect l="l" t="t" r="r" b="b"/>
              <a:pathLst>
                <a:path w="9790" h="7906" extrusionOk="0">
                  <a:moveTo>
                    <a:pt x="6045" y="2610"/>
                  </a:moveTo>
                  <a:cubicBezTo>
                    <a:pt x="6190" y="2610"/>
                    <a:pt x="6335" y="2666"/>
                    <a:pt x="6444" y="2777"/>
                  </a:cubicBezTo>
                  <a:cubicBezTo>
                    <a:pt x="6664" y="2997"/>
                    <a:pt x="6664" y="3356"/>
                    <a:pt x="6444" y="3575"/>
                  </a:cubicBezTo>
                  <a:cubicBezTo>
                    <a:pt x="6225" y="3795"/>
                    <a:pt x="6225" y="4153"/>
                    <a:pt x="6444" y="4373"/>
                  </a:cubicBezTo>
                  <a:cubicBezTo>
                    <a:pt x="6664" y="4593"/>
                    <a:pt x="6664" y="4951"/>
                    <a:pt x="6444" y="5171"/>
                  </a:cubicBezTo>
                  <a:cubicBezTo>
                    <a:pt x="6335" y="5281"/>
                    <a:pt x="6190" y="5336"/>
                    <a:pt x="6045" y="5336"/>
                  </a:cubicBezTo>
                  <a:cubicBezTo>
                    <a:pt x="5901" y="5336"/>
                    <a:pt x="5756" y="5281"/>
                    <a:pt x="5646" y="5171"/>
                  </a:cubicBezTo>
                  <a:cubicBezTo>
                    <a:pt x="4984" y="4509"/>
                    <a:pt x="4984" y="3440"/>
                    <a:pt x="5646" y="2777"/>
                  </a:cubicBezTo>
                  <a:cubicBezTo>
                    <a:pt x="5756" y="2666"/>
                    <a:pt x="5901" y="2610"/>
                    <a:pt x="6045" y="2610"/>
                  </a:cubicBezTo>
                  <a:close/>
                  <a:moveTo>
                    <a:pt x="7787" y="1"/>
                  </a:moveTo>
                  <a:cubicBezTo>
                    <a:pt x="4463" y="1"/>
                    <a:pt x="3204" y="1064"/>
                    <a:pt x="919" y="2997"/>
                  </a:cubicBezTo>
                  <a:lnTo>
                    <a:pt x="271" y="3542"/>
                  </a:lnTo>
                  <a:cubicBezTo>
                    <a:pt x="0" y="3765"/>
                    <a:pt x="0" y="4181"/>
                    <a:pt x="271" y="4406"/>
                  </a:cubicBezTo>
                  <a:lnTo>
                    <a:pt x="856" y="4897"/>
                  </a:lnTo>
                  <a:cubicBezTo>
                    <a:pt x="3147" y="6837"/>
                    <a:pt x="4412" y="7906"/>
                    <a:pt x="7787" y="7906"/>
                  </a:cubicBezTo>
                  <a:cubicBezTo>
                    <a:pt x="8450" y="7902"/>
                    <a:pt x="9106" y="7788"/>
                    <a:pt x="9730" y="7574"/>
                  </a:cubicBezTo>
                  <a:cubicBezTo>
                    <a:pt x="8357" y="6951"/>
                    <a:pt x="7456" y="5602"/>
                    <a:pt x="7411" y="4093"/>
                  </a:cubicBezTo>
                  <a:cubicBezTo>
                    <a:pt x="7366" y="2588"/>
                    <a:pt x="8179" y="1184"/>
                    <a:pt x="9513" y="480"/>
                  </a:cubicBezTo>
                  <a:cubicBezTo>
                    <a:pt x="9603" y="432"/>
                    <a:pt x="9697" y="398"/>
                    <a:pt x="9790" y="356"/>
                  </a:cubicBezTo>
                  <a:cubicBezTo>
                    <a:pt x="9149" y="124"/>
                    <a:pt x="8471" y="4"/>
                    <a:pt x="7787" y="1"/>
                  </a:cubicBezTo>
                  <a:close/>
                </a:path>
              </a:pathLst>
            </a:custGeom>
            <a:grpFill/>
            <a:ln>
              <a:noFill/>
            </a:ln>
          </p:spPr>
          <p:txBody>
            <a:bodyPr spcFirstLastPara="1" wrap="square" lIns="91417" tIns="91417" rIns="91417" bIns="91417" anchor="ctr" anchorCtr="0">
              <a:noAutofit/>
            </a:bodyPr>
            <a:lstStyle/>
            <a:p>
              <a:endParaRPr sz="1400">
                <a:solidFill>
                  <a:srgbClr val="435D74"/>
                </a:solidFill>
              </a:endParaRPr>
            </a:p>
          </p:txBody>
        </p:sp>
        <p:sp>
          <p:nvSpPr>
            <p:cNvPr id="387" name="Google Shape;5727;p85"/>
            <p:cNvSpPr/>
            <p:nvPr/>
          </p:nvSpPr>
          <p:spPr>
            <a:xfrm>
              <a:off x="6587875" y="3385100"/>
              <a:ext cx="130325" cy="140500"/>
            </a:xfrm>
            <a:custGeom>
              <a:rect l="l" t="t" r="r" b="b"/>
              <a:pathLst>
                <a:path w="5213" h="5620" extrusionOk="0">
                  <a:moveTo>
                    <a:pt x="2343" y="1789"/>
                  </a:moveTo>
                  <a:cubicBezTo>
                    <a:pt x="2633" y="1789"/>
                    <a:pt x="2912" y="2015"/>
                    <a:pt x="2912" y="2355"/>
                  </a:cubicBezTo>
                  <a:cubicBezTo>
                    <a:pt x="2912" y="2665"/>
                    <a:pt x="2659" y="2918"/>
                    <a:pt x="2349" y="2918"/>
                  </a:cubicBezTo>
                  <a:cubicBezTo>
                    <a:pt x="1846" y="2918"/>
                    <a:pt x="1593" y="2310"/>
                    <a:pt x="1948" y="1955"/>
                  </a:cubicBezTo>
                  <a:cubicBezTo>
                    <a:pt x="2063" y="1840"/>
                    <a:pt x="2204" y="1789"/>
                    <a:pt x="2343" y="1789"/>
                  </a:cubicBezTo>
                  <a:close/>
                  <a:moveTo>
                    <a:pt x="2846" y="0"/>
                  </a:moveTo>
                  <a:cubicBezTo>
                    <a:pt x="2394" y="0"/>
                    <a:pt x="1947" y="85"/>
                    <a:pt x="1539" y="301"/>
                  </a:cubicBezTo>
                  <a:cubicBezTo>
                    <a:pt x="645" y="774"/>
                    <a:pt x="72" y="1687"/>
                    <a:pt x="36" y="2698"/>
                  </a:cubicBezTo>
                  <a:cubicBezTo>
                    <a:pt x="0" y="3707"/>
                    <a:pt x="506" y="4662"/>
                    <a:pt x="1367" y="5195"/>
                  </a:cubicBezTo>
                  <a:cubicBezTo>
                    <a:pt x="1792" y="5460"/>
                    <a:pt x="2280" y="5607"/>
                    <a:pt x="2782" y="5619"/>
                  </a:cubicBezTo>
                  <a:cubicBezTo>
                    <a:pt x="3752" y="4957"/>
                    <a:pt x="4550" y="4078"/>
                    <a:pt x="5119" y="3051"/>
                  </a:cubicBezTo>
                  <a:cubicBezTo>
                    <a:pt x="5213" y="2882"/>
                    <a:pt x="5213" y="2674"/>
                    <a:pt x="5119" y="2506"/>
                  </a:cubicBezTo>
                  <a:cubicBezTo>
                    <a:pt x="4568" y="1512"/>
                    <a:pt x="3797" y="654"/>
                    <a:pt x="2870" y="0"/>
                  </a:cubicBezTo>
                  <a:cubicBezTo>
                    <a:pt x="2862" y="0"/>
                    <a:pt x="2854" y="0"/>
                    <a:pt x="2846" y="0"/>
                  </a:cubicBezTo>
                  <a:close/>
                </a:path>
              </a:pathLst>
            </a:custGeom>
            <a:grpFill/>
            <a:ln>
              <a:noFill/>
            </a:ln>
          </p:spPr>
          <p:txBody>
            <a:bodyPr spcFirstLastPara="1" wrap="square" lIns="91417" tIns="91417" rIns="91417" bIns="91417" anchor="ctr" anchorCtr="0">
              <a:noAutofit/>
            </a:bodyPr>
            <a:lstStyle/>
            <a:p>
              <a:endParaRPr sz="1400">
                <a:solidFill>
                  <a:srgbClr val="435D74"/>
                </a:solidFill>
              </a:endParaRPr>
            </a:p>
          </p:txBody>
        </p:sp>
        <p:sp>
          <p:nvSpPr>
            <p:cNvPr id="388" name="Google Shape;5728;p85"/>
            <p:cNvSpPr/>
            <p:nvPr/>
          </p:nvSpPr>
          <p:spPr>
            <a:xfrm>
              <a:off x="6234950" y="3469100"/>
              <a:ext cx="165050" cy="141200"/>
            </a:xfrm>
            <a:custGeom>
              <a:rect l="l" t="t" r="r" b="b"/>
              <a:pathLst>
                <a:path w="6602" h="5648" extrusionOk="0">
                  <a:moveTo>
                    <a:pt x="3990" y="1"/>
                  </a:moveTo>
                  <a:cubicBezTo>
                    <a:pt x="1807" y="1"/>
                    <a:pt x="0" y="1772"/>
                    <a:pt x="0" y="3955"/>
                  </a:cubicBezTo>
                  <a:lnTo>
                    <a:pt x="0" y="5084"/>
                  </a:lnTo>
                  <a:cubicBezTo>
                    <a:pt x="0" y="5394"/>
                    <a:pt x="253" y="5647"/>
                    <a:pt x="566" y="5647"/>
                  </a:cubicBezTo>
                  <a:lnTo>
                    <a:pt x="1696" y="5647"/>
                  </a:lnTo>
                  <a:cubicBezTo>
                    <a:pt x="4014" y="5647"/>
                    <a:pt x="5996" y="4075"/>
                    <a:pt x="6601" y="1943"/>
                  </a:cubicBezTo>
                  <a:cubicBezTo>
                    <a:pt x="6324" y="1717"/>
                    <a:pt x="6041" y="1476"/>
                    <a:pt x="5740" y="1223"/>
                  </a:cubicBezTo>
                  <a:lnTo>
                    <a:pt x="5481" y="1004"/>
                  </a:lnTo>
                  <a:lnTo>
                    <a:pt x="4391" y="2097"/>
                  </a:lnTo>
                  <a:cubicBezTo>
                    <a:pt x="4281" y="2203"/>
                    <a:pt x="4139" y="2255"/>
                    <a:pt x="3997" y="2255"/>
                  </a:cubicBezTo>
                  <a:cubicBezTo>
                    <a:pt x="3852" y="2255"/>
                    <a:pt x="3708" y="2200"/>
                    <a:pt x="3599" y="2091"/>
                  </a:cubicBezTo>
                  <a:cubicBezTo>
                    <a:pt x="3379" y="1871"/>
                    <a:pt x="3376" y="1519"/>
                    <a:pt x="3593" y="1299"/>
                  </a:cubicBezTo>
                  <a:lnTo>
                    <a:pt x="4611" y="278"/>
                  </a:lnTo>
                  <a:lnTo>
                    <a:pt x="4285" y="1"/>
                  </a:lnTo>
                  <a:close/>
                </a:path>
              </a:pathLst>
            </a:custGeom>
            <a:grpFill/>
            <a:ln>
              <a:noFill/>
            </a:ln>
          </p:spPr>
          <p:txBody>
            <a:bodyPr spcFirstLastPara="1" wrap="square" lIns="91417" tIns="91417" rIns="91417" bIns="91417" anchor="ctr" anchorCtr="0">
              <a:noAutofit/>
            </a:bodyPr>
            <a:lstStyle/>
            <a:p>
              <a:endParaRPr sz="1400">
                <a:solidFill>
                  <a:srgbClr val="435D74"/>
                </a:solidFill>
              </a:endParaRPr>
            </a:p>
          </p:txBody>
        </p:sp>
        <p:sp>
          <p:nvSpPr>
            <p:cNvPr id="389" name="Google Shape;5729;p85"/>
            <p:cNvSpPr/>
            <p:nvPr/>
          </p:nvSpPr>
          <p:spPr>
            <a:xfrm>
              <a:off x="6234950" y="3299725"/>
              <a:ext cx="165050" cy="141175"/>
            </a:xfrm>
            <a:custGeom>
              <a:rect l="l" t="t" r="r" b="b"/>
              <a:pathLst>
                <a:path w="6602" h="5647" extrusionOk="0">
                  <a:moveTo>
                    <a:pt x="566" y="1"/>
                  </a:moveTo>
                  <a:cubicBezTo>
                    <a:pt x="253" y="1"/>
                    <a:pt x="3" y="254"/>
                    <a:pt x="3" y="567"/>
                  </a:cubicBezTo>
                  <a:lnTo>
                    <a:pt x="3" y="1699"/>
                  </a:lnTo>
                  <a:cubicBezTo>
                    <a:pt x="0" y="3879"/>
                    <a:pt x="1807" y="5647"/>
                    <a:pt x="3990" y="5647"/>
                  </a:cubicBezTo>
                  <a:lnTo>
                    <a:pt x="4285" y="5647"/>
                  </a:lnTo>
                  <a:lnTo>
                    <a:pt x="4611" y="5373"/>
                  </a:lnTo>
                  <a:lnTo>
                    <a:pt x="3593" y="4352"/>
                  </a:lnTo>
                  <a:cubicBezTo>
                    <a:pt x="3379" y="4132"/>
                    <a:pt x="3382" y="3780"/>
                    <a:pt x="3599" y="3563"/>
                  </a:cubicBezTo>
                  <a:cubicBezTo>
                    <a:pt x="3710" y="3451"/>
                    <a:pt x="3856" y="3396"/>
                    <a:pt x="4001" y="3396"/>
                  </a:cubicBezTo>
                  <a:cubicBezTo>
                    <a:pt x="4142" y="3396"/>
                    <a:pt x="4282" y="3448"/>
                    <a:pt x="4391" y="3554"/>
                  </a:cubicBezTo>
                  <a:lnTo>
                    <a:pt x="5481" y="4644"/>
                  </a:lnTo>
                  <a:lnTo>
                    <a:pt x="5809" y="4370"/>
                  </a:lnTo>
                  <a:cubicBezTo>
                    <a:pt x="6083" y="4138"/>
                    <a:pt x="6345" y="3918"/>
                    <a:pt x="6601" y="3704"/>
                  </a:cubicBezTo>
                  <a:cubicBezTo>
                    <a:pt x="5996" y="1575"/>
                    <a:pt x="4017" y="1"/>
                    <a:pt x="1696" y="1"/>
                  </a:cubicBezTo>
                  <a:close/>
                </a:path>
              </a:pathLst>
            </a:custGeom>
            <a:grpFill/>
            <a:ln>
              <a:noFill/>
            </a:ln>
          </p:spPr>
          <p:txBody>
            <a:bodyPr spcFirstLastPara="1" wrap="square" lIns="91417" tIns="91417" rIns="91417" bIns="91417" anchor="ctr" anchorCtr="0">
              <a:noAutofit/>
            </a:bodyPr>
            <a:lstStyle/>
            <a:p>
              <a:endParaRPr sz="1400">
                <a:solidFill>
                  <a:srgbClr val="435D74"/>
                </a:solidFill>
              </a:endParaRPr>
            </a:p>
          </p:txBody>
        </p:sp>
      </p:grpSp>
    </p:spTree>
    <p:extLst>
      <p:ext uri="{BB962C8B-B14F-4D97-AF65-F5344CB8AC3E}">
        <p14:creationId xmlns:p14="http://schemas.microsoft.com/office/powerpoint/2010/main" val="3475930535"/>
      </p:ext>
    </p:extLst>
  </p:cSld>
  <p:clrMapOvr>
    <a:masterClrMapping/>
  </p:clrMapOvr>
  <p:transition/>
  <p:timing/>
</p:sld>
</file>

<file path=ppt/slides/slide24.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Rectangle 2">
            <a:extLst>
              <a:ext uri="{FF2B5EF4-FFF2-40B4-BE49-F238E27FC236}">
                <a16:creationId xmlns:a16="http://schemas.microsoft.com/office/drawing/2014/main" id="{285E5D22-2D65-990B-91A6-B519B10C8BF2}"/>
              </a:ext>
            </a:extLst>
          </p:cNvPr>
          <p:cNvSpPr/>
          <p:nvPr/>
        </p:nvSpPr>
        <p:spPr>
          <a:xfrm>
            <a:off x="4410693" y="2272445"/>
            <a:ext cx="3089307" cy="400110"/>
          </a:xfrm>
          <a:prstGeom prst="rect">
            <a:avLst/>
          </a:prstGeom>
        </p:spPr>
        <p:txBody>
          <a:bodyPr wrap="none">
            <a:spAutoFit/>
          </a:bodyPr>
          <a:lstStyle/>
          <a:p>
            <a:r>
              <a:rPr lang="en-US" altLang="ko-KR" sz="2000"/>
              <a:t>Presentation template by </a:t>
            </a:r>
            <a:endParaRPr lang="ko-KR" altLang="en-US" sz="2000"/>
          </a:p>
        </p:txBody>
      </p:sp>
      <p:sp>
        <p:nvSpPr>
          <p:cNvPr id="3" name="Título 1">
            <a:extLst>
              <a:ext uri="{FF2B5EF4-FFF2-40B4-BE49-F238E27FC236}">
                <a16:creationId xmlns:a16="http://schemas.microsoft.com/office/drawing/2014/main" id="{9502F14D-4AB3-8AD0-2EAE-4A8CECBCE433}"/>
              </a:ext>
            </a:extLst>
          </p:cNvPr>
          <p:cNvSpPr txBox="1"/>
          <p:nvPr/>
        </p:nvSpPr>
        <p:spPr>
          <a:xfrm>
            <a:off x="890906" y="5870077"/>
            <a:ext cx="10485575" cy="7768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ts val="1860"/>
              </a:lnSpc>
            </a:pPr>
            <a:r>
              <a:rPr lang="en-US" sz="1200">
                <a:solidFill>
                  <a:schemeClr val="tx1">
                    <a:lumMod val="75000"/>
                    <a:lumOff val="25000"/>
                  </a:schemeClr>
                </a:solidFill>
              </a:rPr>
              <a:t>You are free to use this presentation for educational, personal and work purposes under Creative Commons Attribution License. But, keep the credits slide or mention Slidesppt in your presentation. Visit </a:t>
            </a:r>
            <a:r>
              <a:rPr lang="en-US" sz="1200" u="sng">
                <a:solidFill>
                  <a:schemeClr val="tx1">
                    <a:lumMod val="75000"/>
                    <a:lumOff val="25000"/>
                  </a:schemeClr>
                </a:solidFill>
                <a:hlinkClick r:id="rId2"/>
              </a:rPr>
              <a:t>slidesppt.net</a:t>
            </a:r>
            <a:br>
              <a:rPr lang="en" sz="1200">
                <a:solidFill>
                  <a:schemeClr val="tx1">
                    <a:lumMod val="75000"/>
                    <a:lumOff val="25000"/>
                  </a:schemeClr>
                </a:solidFill>
                <a:latin typeface="Barlow" pitchFamily="2" charset="77"/>
                <a:hlinkClick r:id="rId2"/>
              </a:rPr>
            </a:br>
            <a:endParaRPr lang="en" sz="1200">
              <a:solidFill>
                <a:schemeClr val="tx1">
                  <a:lumMod val="75000"/>
                  <a:lumOff val="25000"/>
                </a:schemeClr>
              </a:solidFill>
              <a:latin typeface="Barlow" panose="00000500000000000000" pitchFamily="2" charset="0"/>
            </a:endParaRPr>
          </a:p>
        </p:txBody>
      </p:sp>
      <p:grpSp>
        <p:nvGrpSpPr>
          <p:cNvPr id="4" name="Gráfico 10">
            <a:extLst>
              <a:ext uri="{FF2B5EF4-FFF2-40B4-BE49-F238E27FC236}">
                <a16:creationId xmlns:a16="http://schemas.microsoft.com/office/drawing/2014/main" id="{AD724F7F-9AF9-A1F3-E348-8597F4E7A5DD}"/>
              </a:ext>
            </a:extLst>
          </p:cNvPr>
          <p:cNvGrpSpPr/>
          <p:nvPr/>
        </p:nvGrpSpPr>
        <p:grpSpPr>
          <a:xfrm>
            <a:off x="2673740" y="2333651"/>
            <a:ext cx="1591037" cy="1591037"/>
            <a:chOff x="627235" y="5458033"/>
            <a:chExt cx="849367" cy="849367"/>
          </a:xfrm>
          <a:solidFill>
            <a:srgbClr val="00BFF3"/>
          </a:solidFill>
        </p:grpSpPr>
        <p:sp>
          <p:nvSpPr>
            <p:cNvPr id="5" name="Forma libre: forma 4">
              <a:extLst>
                <a:ext uri="{FF2B5EF4-FFF2-40B4-BE49-F238E27FC236}">
                  <a16:creationId xmlns:a16="http://schemas.microsoft.com/office/drawing/2014/main" id="{68C7D379-16D4-1C92-007C-1FC3DE1165E0}"/>
                </a:ext>
              </a:extLst>
            </p:cNvPr>
            <p:cNvSpPr/>
            <p:nvPr userDrawn="1"/>
          </p:nvSpPr>
          <p:spPr>
            <a:xfrm>
              <a:off x="627235" y="5458033"/>
              <a:ext cx="849367" cy="849367"/>
            </a:xfrm>
            <a:custGeom>
              <a:gdLst>
                <a:gd name="connsiteX0" fmla="*/ 849367 w 849367"/>
                <a:gd name="connsiteY0" fmla="*/ 424684 h 849367"/>
                <a:gd name="connsiteX1" fmla="*/ 424684 w 849367"/>
                <a:gd name="connsiteY1" fmla="*/ 849367 h 849367"/>
                <a:gd name="connsiteX2" fmla="*/ 0 w 849367"/>
                <a:gd name="connsiteY2" fmla="*/ 424684 h 849367"/>
                <a:gd name="connsiteX3" fmla="*/ 424684 w 849367"/>
                <a:gd name="connsiteY3" fmla="*/ 0 h 849367"/>
                <a:gd name="connsiteX4" fmla="*/ 849367 w 849367"/>
                <a:gd name="connsiteY4" fmla="*/ 424684 h 849367"/>
              </a:gdLst>
              <a:cxnLst>
                <a:cxn ang="0">
                  <a:pos x="connsiteX0" y="connsiteY0"/>
                </a:cxn>
                <a:cxn ang="0">
                  <a:pos x="connsiteX1" y="connsiteY1"/>
                </a:cxn>
                <a:cxn ang="0">
                  <a:pos x="connsiteX2" y="connsiteY2"/>
                </a:cxn>
                <a:cxn ang="0">
                  <a:pos x="connsiteX3" y="connsiteY3"/>
                </a:cxn>
                <a:cxn ang="0">
                  <a:pos x="connsiteX4" y="connsiteY4"/>
                </a:cxn>
              </a:cxnLst>
              <a:rect l="l" t="t" r="r" b="b"/>
              <a:pathLst>
                <a:path w="849367" h="849367">
                  <a:moveTo>
                    <a:pt x="849367" y="424684"/>
                  </a:moveTo>
                  <a:cubicBezTo>
                    <a:pt x="849367" y="659230"/>
                    <a:pt x="659230" y="849367"/>
                    <a:pt x="424684" y="849367"/>
                  </a:cubicBezTo>
                  <a:cubicBezTo>
                    <a:pt x="190137" y="849367"/>
                    <a:pt x="0" y="659230"/>
                    <a:pt x="0" y="424684"/>
                  </a:cubicBezTo>
                  <a:cubicBezTo>
                    <a:pt x="0" y="190137"/>
                    <a:pt x="190137" y="0"/>
                    <a:pt x="424684" y="0"/>
                  </a:cubicBezTo>
                  <a:cubicBezTo>
                    <a:pt x="659230" y="0"/>
                    <a:pt x="849367" y="190137"/>
                    <a:pt x="849367" y="424684"/>
                  </a:cubicBezTo>
                  <a:close/>
                </a:path>
              </a:pathLst>
            </a:custGeom>
            <a:solidFill>
              <a:schemeClr val="tx1"/>
            </a:solidFill>
            <a:ln w="2285" cap="flat">
              <a:noFill/>
              <a:prstDash val="solid"/>
              <a:miter/>
            </a:ln>
          </p:spPr>
          <p:txBody>
            <a:bodyPr rtlCol="0" anchor="ctr"/>
            <a:lstStyle/>
            <a:p>
              <a:endParaRPr lang="es-PE" sz="1400"/>
            </a:p>
          </p:txBody>
        </p:sp>
        <p:sp>
          <p:nvSpPr>
            <p:cNvPr id="6" name="Forma libre: forma 5">
              <a:extLst>
                <a:ext uri="{FF2B5EF4-FFF2-40B4-BE49-F238E27FC236}">
                  <a16:creationId xmlns:a16="http://schemas.microsoft.com/office/drawing/2014/main" id="{49FBF6B1-788F-181E-ED3F-F9E362FF9A00}"/>
                </a:ext>
              </a:extLst>
            </p:cNvPr>
            <p:cNvSpPr/>
            <p:nvPr/>
          </p:nvSpPr>
          <p:spPr>
            <a:xfrm>
              <a:off x="736500" y="5562370"/>
              <a:ext cx="662009" cy="640647"/>
            </a:xfrm>
            <a:custGeom>
              <a:gdLst>
                <a:gd name="connsiteX0" fmla="*/ 398577 w 662009"/>
                <a:gd name="connsiteY0" fmla="*/ 121941 h 640647"/>
                <a:gd name="connsiteX1" fmla="*/ 398577 w 662009"/>
                <a:gd name="connsiteY1" fmla="*/ 121941 h 640647"/>
                <a:gd name="connsiteX2" fmla="*/ 383196 w 662009"/>
                <a:gd name="connsiteY2" fmla="*/ 121941 h 640647"/>
                <a:gd name="connsiteX3" fmla="*/ 383219 w 662009"/>
                <a:gd name="connsiteY3" fmla="*/ 0 h 640647"/>
                <a:gd name="connsiteX4" fmla="*/ 0 w 662009"/>
                <a:gd name="connsiteY4" fmla="*/ 64133 h 640647"/>
                <a:gd name="connsiteX5" fmla="*/ 0 w 662009"/>
                <a:gd name="connsiteY5" fmla="*/ 576124 h 640647"/>
                <a:gd name="connsiteX6" fmla="*/ 383128 w 662009"/>
                <a:gd name="connsiteY6" fmla="*/ 640647 h 640647"/>
                <a:gd name="connsiteX7" fmla="*/ 383219 w 662009"/>
                <a:gd name="connsiteY7" fmla="*/ 122514 h 640647"/>
                <a:gd name="connsiteX8" fmla="*/ 398072 w 662009"/>
                <a:gd name="connsiteY8" fmla="*/ 122514 h 640647"/>
                <a:gd name="connsiteX9" fmla="*/ 398049 w 662009"/>
                <a:gd name="connsiteY9" fmla="*/ 152655 h 640647"/>
                <a:gd name="connsiteX10" fmla="*/ 630608 w 662009"/>
                <a:gd name="connsiteY10" fmla="*/ 152655 h 640647"/>
                <a:gd name="connsiteX11" fmla="*/ 630608 w 662009"/>
                <a:gd name="connsiteY11" fmla="*/ 440087 h 640647"/>
                <a:gd name="connsiteX12" fmla="*/ 614907 w 662009"/>
                <a:gd name="connsiteY12" fmla="*/ 440087 h 640647"/>
                <a:gd name="connsiteX13" fmla="*/ 614907 w 662009"/>
                <a:gd name="connsiteY13" fmla="*/ 168264 h 640647"/>
                <a:gd name="connsiteX14" fmla="*/ 397958 w 662009"/>
                <a:gd name="connsiteY14" fmla="*/ 168242 h 640647"/>
                <a:gd name="connsiteX15" fmla="*/ 397958 w 662009"/>
                <a:gd name="connsiteY15" fmla="*/ 208010 h 640647"/>
                <a:gd name="connsiteX16" fmla="*/ 413177 w 662009"/>
                <a:gd name="connsiteY16" fmla="*/ 206337 h 640647"/>
                <a:gd name="connsiteX17" fmla="*/ 427457 w 662009"/>
                <a:gd name="connsiteY17" fmla="*/ 205236 h 640647"/>
                <a:gd name="connsiteX18" fmla="*/ 427457 w 662009"/>
                <a:gd name="connsiteY18" fmla="*/ 287340 h 640647"/>
                <a:gd name="connsiteX19" fmla="*/ 511509 w 662009"/>
                <a:gd name="connsiteY19" fmla="*/ 287340 h 640647"/>
                <a:gd name="connsiteX20" fmla="*/ 497298 w 662009"/>
                <a:gd name="connsiteY20" fmla="*/ 333435 h 640647"/>
                <a:gd name="connsiteX21" fmla="*/ 455879 w 662009"/>
                <a:gd name="connsiteY21" fmla="*/ 363003 h 640647"/>
                <a:gd name="connsiteX22" fmla="*/ 421933 w 662009"/>
                <a:gd name="connsiteY22" fmla="*/ 366624 h 640647"/>
                <a:gd name="connsiteX23" fmla="*/ 397958 w 662009"/>
                <a:gd name="connsiteY23" fmla="*/ 363988 h 640647"/>
                <a:gd name="connsiteX24" fmla="*/ 397958 w 662009"/>
                <a:gd name="connsiteY24" fmla="*/ 394428 h 640647"/>
                <a:gd name="connsiteX25" fmla="*/ 548412 w 662009"/>
                <a:gd name="connsiteY25" fmla="*/ 394428 h 640647"/>
                <a:gd name="connsiteX26" fmla="*/ 548412 w 662009"/>
                <a:gd name="connsiteY26" fmla="*/ 423079 h 640647"/>
                <a:gd name="connsiteX27" fmla="*/ 397935 w 662009"/>
                <a:gd name="connsiteY27" fmla="*/ 423079 h 640647"/>
                <a:gd name="connsiteX28" fmla="*/ 397935 w 662009"/>
                <a:gd name="connsiteY28" fmla="*/ 449851 h 640647"/>
                <a:gd name="connsiteX29" fmla="*/ 547518 w 662009"/>
                <a:gd name="connsiteY29" fmla="*/ 449851 h 640647"/>
                <a:gd name="connsiteX30" fmla="*/ 547518 w 662009"/>
                <a:gd name="connsiteY30" fmla="*/ 480313 h 640647"/>
                <a:gd name="connsiteX31" fmla="*/ 397912 w 662009"/>
                <a:gd name="connsiteY31" fmla="*/ 480313 h 640647"/>
                <a:gd name="connsiteX32" fmla="*/ 397912 w 662009"/>
                <a:gd name="connsiteY32" fmla="*/ 515406 h 640647"/>
                <a:gd name="connsiteX33" fmla="*/ 614907 w 662009"/>
                <a:gd name="connsiteY33" fmla="*/ 515406 h 640647"/>
                <a:gd name="connsiteX34" fmla="*/ 614907 w 662009"/>
                <a:gd name="connsiteY34" fmla="*/ 440591 h 640647"/>
                <a:gd name="connsiteX35" fmla="*/ 630608 w 662009"/>
                <a:gd name="connsiteY35" fmla="*/ 440591 h 640647"/>
                <a:gd name="connsiteX36" fmla="*/ 630608 w 662009"/>
                <a:gd name="connsiteY36" fmla="*/ 440591 h 640647"/>
                <a:gd name="connsiteX37" fmla="*/ 662010 w 662009"/>
                <a:gd name="connsiteY37" fmla="*/ 440591 h 640647"/>
                <a:gd name="connsiteX38" fmla="*/ 662010 w 662009"/>
                <a:gd name="connsiteY38" fmla="*/ 122101 h 640647"/>
                <a:gd name="connsiteX39" fmla="*/ 398577 w 662009"/>
                <a:gd name="connsiteY39" fmla="*/ 121941 h 640647"/>
                <a:gd name="connsiteX40" fmla="*/ 267834 w 662009"/>
                <a:gd name="connsiteY40" fmla="*/ 452946 h 640647"/>
                <a:gd name="connsiteX41" fmla="*/ 177387 w 662009"/>
                <a:gd name="connsiteY41" fmla="*/ 482743 h 640647"/>
                <a:gd name="connsiteX42" fmla="*/ 90470 w 662009"/>
                <a:gd name="connsiteY42" fmla="*/ 460808 h 640647"/>
                <a:gd name="connsiteX43" fmla="*/ 86230 w 662009"/>
                <a:gd name="connsiteY43" fmla="*/ 457988 h 640647"/>
                <a:gd name="connsiteX44" fmla="*/ 100899 w 662009"/>
                <a:gd name="connsiteY44" fmla="*/ 409281 h 640647"/>
                <a:gd name="connsiteX45" fmla="*/ 108509 w 662009"/>
                <a:gd name="connsiteY45" fmla="*/ 413957 h 640647"/>
                <a:gd name="connsiteX46" fmla="*/ 180275 w 662009"/>
                <a:gd name="connsiteY46" fmla="*/ 434196 h 640647"/>
                <a:gd name="connsiteX47" fmla="*/ 241521 w 662009"/>
                <a:gd name="connsiteY47" fmla="*/ 385511 h 640647"/>
                <a:gd name="connsiteX48" fmla="*/ 184561 w 662009"/>
                <a:gd name="connsiteY48" fmla="*/ 327177 h 640647"/>
                <a:gd name="connsiteX49" fmla="*/ 94160 w 662009"/>
                <a:gd name="connsiteY49" fmla="*/ 228478 h 640647"/>
                <a:gd name="connsiteX50" fmla="*/ 206359 w 662009"/>
                <a:gd name="connsiteY50" fmla="*/ 133195 h 640647"/>
                <a:gd name="connsiteX51" fmla="*/ 281747 w 662009"/>
                <a:gd name="connsiteY51" fmla="*/ 150042 h 640647"/>
                <a:gd name="connsiteX52" fmla="*/ 286698 w 662009"/>
                <a:gd name="connsiteY52" fmla="*/ 152838 h 640647"/>
                <a:gd name="connsiteX53" fmla="*/ 270653 w 662009"/>
                <a:gd name="connsiteY53" fmla="*/ 200285 h 640647"/>
                <a:gd name="connsiteX54" fmla="*/ 263479 w 662009"/>
                <a:gd name="connsiteY54" fmla="*/ 196366 h 640647"/>
                <a:gd name="connsiteX55" fmla="*/ 204938 w 662009"/>
                <a:gd name="connsiteY55" fmla="*/ 181742 h 640647"/>
                <a:gd name="connsiteX56" fmla="*/ 150455 w 662009"/>
                <a:gd name="connsiteY56" fmla="*/ 223665 h 640647"/>
                <a:gd name="connsiteX57" fmla="*/ 210806 w 662009"/>
                <a:gd name="connsiteY57" fmla="*/ 280051 h 640647"/>
                <a:gd name="connsiteX58" fmla="*/ 298296 w 662009"/>
                <a:gd name="connsiteY58" fmla="*/ 382119 h 640647"/>
                <a:gd name="connsiteX59" fmla="*/ 267834 w 662009"/>
                <a:gd name="connsiteY59" fmla="*/ 452946 h 64064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662009" h="640647">
                  <a:moveTo>
                    <a:pt x="398577" y="121941"/>
                  </a:moveTo>
                  <a:lnTo>
                    <a:pt x="398577" y="121941"/>
                  </a:lnTo>
                  <a:lnTo>
                    <a:pt x="383196" y="121941"/>
                  </a:lnTo>
                  <a:cubicBezTo>
                    <a:pt x="383196" y="81301"/>
                    <a:pt x="383219" y="40662"/>
                    <a:pt x="383219" y="0"/>
                  </a:cubicBezTo>
                  <a:cubicBezTo>
                    <a:pt x="255480" y="21385"/>
                    <a:pt x="127740" y="42748"/>
                    <a:pt x="0" y="64133"/>
                  </a:cubicBezTo>
                  <a:cubicBezTo>
                    <a:pt x="0" y="234805"/>
                    <a:pt x="0" y="405476"/>
                    <a:pt x="0" y="576124"/>
                  </a:cubicBezTo>
                  <a:cubicBezTo>
                    <a:pt x="127717" y="597624"/>
                    <a:pt x="255411" y="619147"/>
                    <a:pt x="383128" y="640647"/>
                  </a:cubicBezTo>
                  <a:cubicBezTo>
                    <a:pt x="383151" y="467982"/>
                    <a:pt x="383196" y="295179"/>
                    <a:pt x="383219" y="122514"/>
                  </a:cubicBezTo>
                  <a:lnTo>
                    <a:pt x="398072" y="122514"/>
                  </a:lnTo>
                  <a:cubicBezTo>
                    <a:pt x="398072" y="132530"/>
                    <a:pt x="398049" y="142639"/>
                    <a:pt x="398049" y="152655"/>
                  </a:cubicBezTo>
                  <a:cubicBezTo>
                    <a:pt x="475569" y="152655"/>
                    <a:pt x="553088" y="152655"/>
                    <a:pt x="630608" y="152655"/>
                  </a:cubicBezTo>
                  <a:cubicBezTo>
                    <a:pt x="630608" y="248397"/>
                    <a:pt x="630608" y="344322"/>
                    <a:pt x="630608" y="440087"/>
                  </a:cubicBezTo>
                  <a:lnTo>
                    <a:pt x="614907" y="440087"/>
                  </a:lnTo>
                  <a:cubicBezTo>
                    <a:pt x="614907" y="349548"/>
                    <a:pt x="614907" y="258803"/>
                    <a:pt x="614907" y="168264"/>
                  </a:cubicBezTo>
                  <a:cubicBezTo>
                    <a:pt x="542590" y="168264"/>
                    <a:pt x="470274" y="168242"/>
                    <a:pt x="397958" y="168242"/>
                  </a:cubicBezTo>
                  <a:cubicBezTo>
                    <a:pt x="397958" y="181490"/>
                    <a:pt x="397958" y="194761"/>
                    <a:pt x="397958" y="208010"/>
                  </a:cubicBezTo>
                  <a:cubicBezTo>
                    <a:pt x="400296" y="207781"/>
                    <a:pt x="407149" y="206910"/>
                    <a:pt x="413177" y="206337"/>
                  </a:cubicBezTo>
                  <a:cubicBezTo>
                    <a:pt x="419435" y="205741"/>
                    <a:pt x="424890" y="205488"/>
                    <a:pt x="427457" y="205236"/>
                  </a:cubicBezTo>
                  <a:cubicBezTo>
                    <a:pt x="427457" y="232604"/>
                    <a:pt x="427457" y="259972"/>
                    <a:pt x="427457" y="287340"/>
                  </a:cubicBezTo>
                  <a:cubicBezTo>
                    <a:pt x="455467" y="287340"/>
                    <a:pt x="483499" y="287340"/>
                    <a:pt x="511509" y="287340"/>
                  </a:cubicBezTo>
                  <a:cubicBezTo>
                    <a:pt x="511601" y="294491"/>
                    <a:pt x="510867" y="314272"/>
                    <a:pt x="497298" y="333435"/>
                  </a:cubicBezTo>
                  <a:cubicBezTo>
                    <a:pt x="495648" y="335772"/>
                    <a:pt x="481551" y="355118"/>
                    <a:pt x="455879" y="363003"/>
                  </a:cubicBezTo>
                  <a:cubicBezTo>
                    <a:pt x="442677" y="367060"/>
                    <a:pt x="430597" y="366808"/>
                    <a:pt x="421933" y="366624"/>
                  </a:cubicBezTo>
                  <a:cubicBezTo>
                    <a:pt x="412100" y="366418"/>
                    <a:pt x="403894" y="365180"/>
                    <a:pt x="397958" y="363988"/>
                  </a:cubicBezTo>
                  <a:cubicBezTo>
                    <a:pt x="397958" y="374143"/>
                    <a:pt x="397958" y="384274"/>
                    <a:pt x="397958" y="394428"/>
                  </a:cubicBezTo>
                  <a:cubicBezTo>
                    <a:pt x="448109" y="394428"/>
                    <a:pt x="498261" y="394428"/>
                    <a:pt x="548412" y="394428"/>
                  </a:cubicBezTo>
                  <a:cubicBezTo>
                    <a:pt x="548412" y="403986"/>
                    <a:pt x="548412" y="413521"/>
                    <a:pt x="548412" y="423079"/>
                  </a:cubicBezTo>
                  <a:cubicBezTo>
                    <a:pt x="498261" y="423079"/>
                    <a:pt x="448086" y="423079"/>
                    <a:pt x="397935" y="423079"/>
                  </a:cubicBezTo>
                  <a:cubicBezTo>
                    <a:pt x="397935" y="431996"/>
                    <a:pt x="397935" y="440935"/>
                    <a:pt x="397935" y="449851"/>
                  </a:cubicBezTo>
                  <a:cubicBezTo>
                    <a:pt x="447788" y="449851"/>
                    <a:pt x="497665" y="449851"/>
                    <a:pt x="547518" y="449851"/>
                  </a:cubicBezTo>
                  <a:cubicBezTo>
                    <a:pt x="547518" y="460005"/>
                    <a:pt x="547518" y="470159"/>
                    <a:pt x="547518" y="480313"/>
                  </a:cubicBezTo>
                  <a:cubicBezTo>
                    <a:pt x="497642" y="480313"/>
                    <a:pt x="447765" y="480313"/>
                    <a:pt x="397912" y="480313"/>
                  </a:cubicBezTo>
                  <a:cubicBezTo>
                    <a:pt x="397912" y="492003"/>
                    <a:pt x="397912" y="503693"/>
                    <a:pt x="397912" y="515406"/>
                  </a:cubicBezTo>
                  <a:cubicBezTo>
                    <a:pt x="470251" y="515406"/>
                    <a:pt x="542567" y="515406"/>
                    <a:pt x="614907" y="515406"/>
                  </a:cubicBezTo>
                  <a:cubicBezTo>
                    <a:pt x="614907" y="490468"/>
                    <a:pt x="614907" y="465529"/>
                    <a:pt x="614907" y="440591"/>
                  </a:cubicBezTo>
                  <a:lnTo>
                    <a:pt x="630608" y="440591"/>
                  </a:lnTo>
                  <a:cubicBezTo>
                    <a:pt x="630608" y="440591"/>
                    <a:pt x="630608" y="440591"/>
                    <a:pt x="630608" y="440591"/>
                  </a:cubicBezTo>
                  <a:cubicBezTo>
                    <a:pt x="641083" y="440591"/>
                    <a:pt x="651535" y="440591"/>
                    <a:pt x="662010" y="440591"/>
                  </a:cubicBezTo>
                  <a:cubicBezTo>
                    <a:pt x="662010" y="334420"/>
                    <a:pt x="662010" y="228249"/>
                    <a:pt x="662010" y="122101"/>
                  </a:cubicBezTo>
                  <a:cubicBezTo>
                    <a:pt x="574199" y="122032"/>
                    <a:pt x="486388" y="121987"/>
                    <a:pt x="398577" y="121941"/>
                  </a:cubicBezTo>
                  <a:close/>
                  <a:moveTo>
                    <a:pt x="267834" y="452946"/>
                  </a:moveTo>
                  <a:cubicBezTo>
                    <a:pt x="246334" y="472451"/>
                    <a:pt x="215070" y="482743"/>
                    <a:pt x="177387" y="482743"/>
                  </a:cubicBezTo>
                  <a:cubicBezTo>
                    <a:pt x="145572" y="482743"/>
                    <a:pt x="109838" y="473735"/>
                    <a:pt x="90470" y="460808"/>
                  </a:cubicBezTo>
                  <a:lnTo>
                    <a:pt x="86230" y="457988"/>
                  </a:lnTo>
                  <a:lnTo>
                    <a:pt x="100899" y="409281"/>
                  </a:lnTo>
                  <a:lnTo>
                    <a:pt x="108509" y="413957"/>
                  </a:lnTo>
                  <a:cubicBezTo>
                    <a:pt x="129092" y="426632"/>
                    <a:pt x="155933" y="434196"/>
                    <a:pt x="180275" y="434196"/>
                  </a:cubicBezTo>
                  <a:cubicBezTo>
                    <a:pt x="218049" y="434196"/>
                    <a:pt x="241521" y="415538"/>
                    <a:pt x="241521" y="385511"/>
                  </a:cubicBezTo>
                  <a:cubicBezTo>
                    <a:pt x="241521" y="358625"/>
                    <a:pt x="226622" y="343359"/>
                    <a:pt x="184561" y="327177"/>
                  </a:cubicBezTo>
                  <a:cubicBezTo>
                    <a:pt x="122926" y="305333"/>
                    <a:pt x="94160" y="273954"/>
                    <a:pt x="94160" y="228478"/>
                  </a:cubicBezTo>
                  <a:cubicBezTo>
                    <a:pt x="94160" y="172367"/>
                    <a:pt x="140301" y="133195"/>
                    <a:pt x="206359" y="133195"/>
                  </a:cubicBezTo>
                  <a:cubicBezTo>
                    <a:pt x="246082" y="133195"/>
                    <a:pt x="270630" y="143739"/>
                    <a:pt x="281747" y="150042"/>
                  </a:cubicBezTo>
                  <a:lnTo>
                    <a:pt x="286698" y="152838"/>
                  </a:lnTo>
                  <a:lnTo>
                    <a:pt x="270653" y="200285"/>
                  </a:lnTo>
                  <a:lnTo>
                    <a:pt x="263479" y="196366"/>
                  </a:lnTo>
                  <a:cubicBezTo>
                    <a:pt x="251262" y="189696"/>
                    <a:pt x="231160" y="181742"/>
                    <a:pt x="204938" y="181742"/>
                  </a:cubicBezTo>
                  <a:cubicBezTo>
                    <a:pt x="167302" y="181742"/>
                    <a:pt x="150455" y="202807"/>
                    <a:pt x="150455" y="223665"/>
                  </a:cubicBezTo>
                  <a:cubicBezTo>
                    <a:pt x="150455" y="248672"/>
                    <a:pt x="165124" y="262379"/>
                    <a:pt x="210806" y="280051"/>
                  </a:cubicBezTo>
                  <a:cubicBezTo>
                    <a:pt x="272143" y="303729"/>
                    <a:pt x="298296" y="334260"/>
                    <a:pt x="298296" y="382119"/>
                  </a:cubicBezTo>
                  <a:cubicBezTo>
                    <a:pt x="298296" y="409968"/>
                    <a:pt x="287478" y="435113"/>
                    <a:pt x="267834" y="452946"/>
                  </a:cubicBezTo>
                  <a:close/>
                </a:path>
              </a:pathLst>
            </a:custGeom>
            <a:solidFill>
              <a:srgbClr val="FFFFFF"/>
            </a:solidFill>
            <a:ln w="2285" cap="flat">
              <a:noFill/>
              <a:prstDash val="solid"/>
              <a:miter/>
            </a:ln>
          </p:spPr>
          <p:txBody>
            <a:bodyPr rtlCol="0" anchor="ctr"/>
            <a:lstStyle/>
            <a:p>
              <a:endParaRPr lang="es-PE" sz="1400"/>
            </a:p>
          </p:txBody>
        </p:sp>
      </p:grpSp>
      <p:sp>
        <p:nvSpPr>
          <p:cNvPr id="7" name="Rectangle 2">
            <a:extLst>
              <a:ext uri="{FF2B5EF4-FFF2-40B4-BE49-F238E27FC236}">
                <a16:creationId xmlns:a16="http://schemas.microsoft.com/office/drawing/2014/main" id="{6DBE02E0-F7EC-F0F5-2242-2DB083509901}"/>
              </a:ext>
            </a:extLst>
          </p:cNvPr>
          <p:cNvSpPr/>
          <p:nvPr/>
        </p:nvSpPr>
        <p:spPr>
          <a:xfrm>
            <a:off x="4313417" y="2575172"/>
            <a:ext cx="5059184" cy="1107996"/>
          </a:xfrm>
          <a:prstGeom prst="rect">
            <a:avLst/>
          </a:prstGeom>
        </p:spPr>
        <p:txBody>
          <a:bodyPr wrap="square">
            <a:spAutoFit/>
          </a:bodyPr>
          <a:lstStyle/>
          <a:p>
            <a:r>
              <a:rPr lang="en-US" altLang="ko-KR" sz="6600">
                <a:latin typeface="Bahnschrift" panose="020b0502040204020203" pitchFamily="34" charset="0"/>
                <a:cs typeface="Calibri" panose="020f0502020204030204" pitchFamily="34" charset="0"/>
              </a:rPr>
              <a:t>Slidesppt.net</a:t>
            </a:r>
            <a:endParaRPr lang="ko-KR" altLang="en-US" sz="6600">
              <a:latin typeface="Bahnschrift" panose="020b0502040204020203" pitchFamily="34" charset="0"/>
              <a:cs typeface="Calibri" panose="020f0502020204030204" pitchFamily="34" charset="0"/>
            </a:endParaRPr>
          </a:p>
        </p:txBody>
      </p:sp>
    </p:spTree>
    <p:extLst>
      <p:ext uri="{BB962C8B-B14F-4D97-AF65-F5344CB8AC3E}">
        <p14:creationId xmlns:p14="http://schemas.microsoft.com/office/powerpoint/2010/main" val="518049162"/>
      </p:ext>
    </p:extLst>
  </p:cSld>
  <p:clrMapOvr>
    <a:masterClrMapping/>
  </p:clrMapOvr>
  <p:transition/>
  <p:timing/>
</p:sld>
</file>

<file path=ppt/slides/slide3.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35" name="Freeform 34">
            <a:extLst>
              <a:ext uri="{FF2B5EF4-FFF2-40B4-BE49-F238E27FC236}">
                <a16:creationId xmlns:a16="http://schemas.microsoft.com/office/drawing/2014/main" id="{5B4614AD-02DC-8740-BCBC-AF46D14EC769}"/>
              </a:ext>
            </a:extLst>
          </p:cNvPr>
          <p:cNvSpPr/>
          <p:nvPr/>
        </p:nvSpPr>
        <p:spPr>
          <a:xfrm>
            <a:off x="457200" y="399957"/>
            <a:ext cx="3921760" cy="5969000"/>
          </a:xfrm>
          <a:custGeom>
            <a:gdLst>
              <a:gd name="connsiteX0" fmla="*/ 0 w 3921760"/>
              <a:gd name="connsiteY0" fmla="*/ 0 h 5969000"/>
              <a:gd name="connsiteX1" fmla="*/ 3921760 w 3921760"/>
              <a:gd name="connsiteY1" fmla="*/ 0 h 5969000"/>
              <a:gd name="connsiteX2" fmla="*/ 3921760 w 3921760"/>
              <a:gd name="connsiteY2" fmla="*/ 5638200 h 5969000"/>
              <a:gd name="connsiteX3" fmla="*/ 3590960 w 3921760"/>
              <a:gd name="connsiteY3" fmla="*/ 5969000 h 5969000"/>
              <a:gd name="connsiteX4" fmla="*/ 330800 w 3921760"/>
              <a:gd name="connsiteY4" fmla="*/ 5969000 h 5969000"/>
              <a:gd name="connsiteX5" fmla="*/ 0 w 3921760"/>
              <a:gd name="connsiteY5" fmla="*/ 5638200 h 5969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21760" h="5969000">
                <a:moveTo>
                  <a:pt x="0" y="0"/>
                </a:moveTo>
                <a:lnTo>
                  <a:pt x="3921760" y="0"/>
                </a:lnTo>
                <a:lnTo>
                  <a:pt x="3921760" y="5638200"/>
                </a:lnTo>
                <a:cubicBezTo>
                  <a:pt x="3921760" y="5820896"/>
                  <a:pt x="3773656" y="5969000"/>
                  <a:pt x="3590960" y="5969000"/>
                </a:cubicBezTo>
                <a:lnTo>
                  <a:pt x="330800" y="5969000"/>
                </a:lnTo>
                <a:cubicBezTo>
                  <a:pt x="148104" y="5969000"/>
                  <a:pt x="0" y="5820896"/>
                  <a:pt x="0" y="5638200"/>
                </a:cubicBezTo>
                <a:close/>
              </a:path>
            </a:pathLst>
          </a:custGeom>
          <a:blipFill dpi="0" rotWithShape="0">
            <a:blip r:embed="rId3">
              <a:extLst>
                <a:ext uri="{28A0092B-C50C-407E-A947-70E740481C1C}">
                  <a14:useLocalDpi xmlns:a14="http://schemas.microsoft.com/office/drawing/2010/main" val="0"/>
                </a:ext>
              </a:extLst>
            </a:blip>
            <a:stretch>
              <a:fillRect l="-36000" r="-28000" b="-4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Rounded Rectangle 2">
            <a:extLst>
              <a:ext uri="{FF2B5EF4-FFF2-40B4-BE49-F238E27FC236}">
                <a16:creationId xmlns:a16="http://schemas.microsoft.com/office/drawing/2014/main" id="{2F97CC81-395E-B34B-AF54-696B2E54F4D2}"/>
              </a:ext>
            </a:extLst>
          </p:cNvPr>
          <p:cNvSpPr/>
          <p:nvPr/>
        </p:nvSpPr>
        <p:spPr>
          <a:xfrm>
            <a:off x="3374506" y="1523042"/>
            <a:ext cx="6351069" cy="4445958"/>
          </a:xfrm>
          <a:prstGeom prst="roundRect">
            <a:avLst>
              <a:gd name="adj" fmla="val 7072"/>
            </a:avLst>
          </a:prstGeom>
          <a:gradFill flip="none" rotWithShape="1">
            <a:gsLst>
              <a:gs pos="0">
                <a:srgbClr val="00677F"/>
              </a:gs>
              <a:gs pos="48000">
                <a:srgbClr val="00ABF7"/>
              </a:gs>
              <a:gs pos="100000">
                <a:srgbClr val="02BAC8"/>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3" name="Title 1">
            <a:extLst>
              <a:ext uri="{FF2B5EF4-FFF2-40B4-BE49-F238E27FC236}">
                <a16:creationId xmlns:a16="http://schemas.microsoft.com/office/drawing/2014/main" id="{57C5B81C-69C3-D440-80DC-C47B7C7FF5CC}"/>
              </a:ext>
            </a:extLst>
          </p:cNvPr>
          <p:cNvSpPr txBox="1"/>
          <p:nvPr/>
        </p:nvSpPr>
        <p:spPr>
          <a:xfrm>
            <a:off x="3773693" y="2027252"/>
            <a:ext cx="2398275" cy="2215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a:lstStyle>
          <a:p>
            <a:r>
              <a:rPr lang="en-US" sz="1600">
                <a:solidFill>
                  <a:schemeClr val="bg1"/>
                </a:solidFill>
              </a:rPr>
              <a:t>Lorem Ipsum Dolor</a:t>
            </a:r>
          </a:p>
        </p:txBody>
      </p:sp>
      <p:sp>
        <p:nvSpPr>
          <p:cNvPr id="69" name="Title 1">
            <a:extLst>
              <a:ext uri="{FF2B5EF4-FFF2-40B4-BE49-F238E27FC236}">
                <a16:creationId xmlns:a16="http://schemas.microsoft.com/office/drawing/2014/main" id="{3BAF7EA9-5321-3E49-9D63-8555418C90E5}"/>
              </a:ext>
            </a:extLst>
          </p:cNvPr>
          <p:cNvSpPr txBox="1"/>
          <p:nvPr/>
        </p:nvSpPr>
        <p:spPr>
          <a:xfrm>
            <a:off x="3773693" y="2843341"/>
            <a:ext cx="2398275" cy="2215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a:lstStyle>
          <a:p>
            <a:r>
              <a:rPr lang="en-US" sz="1600">
                <a:solidFill>
                  <a:schemeClr val="bg1"/>
                </a:solidFill>
              </a:rPr>
              <a:t>Lorem Ipsum Dolor</a:t>
            </a:r>
          </a:p>
        </p:txBody>
      </p:sp>
      <p:sp>
        <p:nvSpPr>
          <p:cNvPr id="74" name="Title 1">
            <a:extLst>
              <a:ext uri="{FF2B5EF4-FFF2-40B4-BE49-F238E27FC236}">
                <a16:creationId xmlns:a16="http://schemas.microsoft.com/office/drawing/2014/main" id="{AA7E6883-9F9E-324B-B496-59E04A27634F}"/>
              </a:ext>
            </a:extLst>
          </p:cNvPr>
          <p:cNvSpPr txBox="1"/>
          <p:nvPr/>
        </p:nvSpPr>
        <p:spPr>
          <a:xfrm>
            <a:off x="3773693" y="3659430"/>
            <a:ext cx="2398275" cy="2215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a:lstStyle>
          <a:p>
            <a:r>
              <a:rPr lang="en-US" sz="1600">
                <a:solidFill>
                  <a:schemeClr val="bg1"/>
                </a:solidFill>
              </a:rPr>
              <a:t>Lorem Ipsum Dolor</a:t>
            </a:r>
          </a:p>
        </p:txBody>
      </p:sp>
      <p:sp>
        <p:nvSpPr>
          <p:cNvPr id="99" name="Title 1">
            <a:extLst>
              <a:ext uri="{FF2B5EF4-FFF2-40B4-BE49-F238E27FC236}">
                <a16:creationId xmlns:a16="http://schemas.microsoft.com/office/drawing/2014/main" id="{46F9D6AD-FF75-8245-9304-69A5F146F990}"/>
              </a:ext>
            </a:extLst>
          </p:cNvPr>
          <p:cNvSpPr txBox="1"/>
          <p:nvPr/>
        </p:nvSpPr>
        <p:spPr>
          <a:xfrm>
            <a:off x="3773693" y="4475519"/>
            <a:ext cx="2398275" cy="2215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a:lstStyle>
          <a:p>
            <a:r>
              <a:rPr lang="en-US" sz="1600">
                <a:solidFill>
                  <a:schemeClr val="bg1"/>
                </a:solidFill>
              </a:rPr>
              <a:t>Lorem Ipsum Dolor</a:t>
            </a:r>
          </a:p>
        </p:txBody>
      </p:sp>
      <p:sp>
        <p:nvSpPr>
          <p:cNvPr id="104" name="Title 1">
            <a:extLst>
              <a:ext uri="{FF2B5EF4-FFF2-40B4-BE49-F238E27FC236}">
                <a16:creationId xmlns:a16="http://schemas.microsoft.com/office/drawing/2014/main" id="{41449319-82CA-9F41-B241-36B452A2EB91}"/>
              </a:ext>
            </a:extLst>
          </p:cNvPr>
          <p:cNvSpPr txBox="1"/>
          <p:nvPr/>
        </p:nvSpPr>
        <p:spPr>
          <a:xfrm>
            <a:off x="3773693" y="5291608"/>
            <a:ext cx="2398275" cy="2215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a:lstStyle>
          <a:p>
            <a:r>
              <a:rPr lang="en-US" sz="1600">
                <a:solidFill>
                  <a:schemeClr val="bg1"/>
                </a:solidFill>
              </a:rPr>
              <a:t>Lorem Ipsum Dolor</a:t>
            </a:r>
          </a:p>
        </p:txBody>
      </p:sp>
      <p:sp>
        <p:nvSpPr>
          <p:cNvPr id="113" name="Freeform 112">
            <a:extLst>
              <a:ext uri="{FF2B5EF4-FFF2-40B4-BE49-F238E27FC236}">
                <a16:creationId xmlns:a16="http://schemas.microsoft.com/office/drawing/2014/main" id="{22FCC8A8-EE19-3849-9975-0E1D5E99D263}"/>
              </a:ext>
            </a:extLst>
          </p:cNvPr>
          <p:cNvSpPr/>
          <p:nvPr/>
        </p:nvSpPr>
        <p:spPr>
          <a:xfrm>
            <a:off x="6705600" y="1523042"/>
            <a:ext cx="5486400" cy="4445958"/>
          </a:xfrm>
          <a:custGeom>
            <a:gdLst>
              <a:gd name="connsiteX0" fmla="*/ 314418 w 5486400"/>
              <a:gd name="connsiteY0" fmla="*/ 0 h 4445958"/>
              <a:gd name="connsiteX1" fmla="*/ 5486400 w 5486400"/>
              <a:gd name="connsiteY1" fmla="*/ 0 h 4445958"/>
              <a:gd name="connsiteX2" fmla="*/ 5486400 w 5486400"/>
              <a:gd name="connsiteY2" fmla="*/ 4445958 h 4445958"/>
              <a:gd name="connsiteX3" fmla="*/ 314418 w 5486400"/>
              <a:gd name="connsiteY3" fmla="*/ 4445958 h 4445958"/>
              <a:gd name="connsiteX4" fmla="*/ 0 w 5486400"/>
              <a:gd name="connsiteY4" fmla="*/ 4131540 h 4445958"/>
              <a:gd name="connsiteX5" fmla="*/ 0 w 5486400"/>
              <a:gd name="connsiteY5" fmla="*/ 314418 h 4445958"/>
              <a:gd name="connsiteX6" fmla="*/ 314418 w 5486400"/>
              <a:gd name="connsiteY6" fmla="*/ 0 h 444595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86400" h="4445958">
                <a:moveTo>
                  <a:pt x="314418" y="0"/>
                </a:moveTo>
                <a:lnTo>
                  <a:pt x="5486400" y="0"/>
                </a:lnTo>
                <a:lnTo>
                  <a:pt x="5486400" y="4445958"/>
                </a:lnTo>
                <a:lnTo>
                  <a:pt x="314418" y="4445958"/>
                </a:lnTo>
                <a:cubicBezTo>
                  <a:pt x="140770" y="4445958"/>
                  <a:pt x="0" y="4305188"/>
                  <a:pt x="0" y="4131540"/>
                </a:cubicBezTo>
                <a:lnTo>
                  <a:pt x="0" y="314418"/>
                </a:lnTo>
                <a:cubicBezTo>
                  <a:pt x="0" y="140770"/>
                  <a:pt x="140770" y="0"/>
                  <a:pt x="314418" y="0"/>
                </a:cubicBezTo>
                <a:close/>
              </a:path>
            </a:pathLst>
          </a:cu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2" name="Oval 51">
            <a:extLst>
              <a:ext uri="{FF2B5EF4-FFF2-40B4-BE49-F238E27FC236}">
                <a16:creationId xmlns:a16="http://schemas.microsoft.com/office/drawing/2014/main" id="{C795741C-FC4B-3B4E-B666-74A444889637}"/>
              </a:ext>
            </a:extLst>
          </p:cNvPr>
          <p:cNvSpPr/>
          <p:nvPr/>
        </p:nvSpPr>
        <p:spPr>
          <a:xfrm>
            <a:off x="6461760" y="1894212"/>
            <a:ext cx="487680" cy="487680"/>
          </a:xfrm>
          <a:prstGeom prst="ellipse">
            <a:avLst/>
          </a:prstGeom>
          <a:solidFill>
            <a:srgbClr val="00677F"/>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itle 1">
            <a:extLst>
              <a:ext uri="{FF2B5EF4-FFF2-40B4-BE49-F238E27FC236}">
                <a16:creationId xmlns:a16="http://schemas.microsoft.com/office/drawing/2014/main" id="{FF0306DD-9251-DA4E-B668-DA655D137D67}"/>
              </a:ext>
            </a:extLst>
          </p:cNvPr>
          <p:cNvSpPr txBox="1"/>
          <p:nvPr/>
        </p:nvSpPr>
        <p:spPr>
          <a:xfrm>
            <a:off x="6534960" y="1971852"/>
            <a:ext cx="341280" cy="3323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a:lstStyle>
          <a:p>
            <a:pPr algn="ctr"/>
            <a:r>
              <a:rPr lang="en-US" sz="2400" i="1">
                <a:solidFill>
                  <a:schemeClr val="bg1"/>
                </a:solidFill>
                <a:latin typeface="Georgia" panose="02040502050405020303" pitchFamily="18" charset="0"/>
              </a:rPr>
              <a:t>1</a:t>
            </a:r>
          </a:p>
        </p:txBody>
      </p:sp>
      <p:sp>
        <p:nvSpPr>
          <p:cNvPr id="55" name="Rectangle 54">
            <a:extLst>
              <a:ext uri="{FF2B5EF4-FFF2-40B4-BE49-F238E27FC236}">
                <a16:creationId xmlns:a16="http://schemas.microsoft.com/office/drawing/2014/main" id="{D97D6D24-05A1-074E-B817-520723AEF5CE}"/>
              </a:ext>
            </a:extLst>
          </p:cNvPr>
          <p:cNvSpPr/>
          <p:nvPr/>
        </p:nvSpPr>
        <p:spPr>
          <a:xfrm>
            <a:off x="7239232" y="1891831"/>
            <a:ext cx="4474029" cy="492443"/>
          </a:xfrm>
          <a:prstGeom prst="rect">
            <a:avLst/>
          </a:prstGeom>
        </p:spPr>
        <p:txBody>
          <a:bodyPr wrap="square" lIns="0" tIns="0" rIns="0" bIns="0" anchor="ctr">
            <a:spAutoFit/>
          </a:bodyPr>
          <a:lstStyle/>
          <a:p>
            <a:r>
              <a:rPr lang="en-ID" sz="1600">
                <a:latin typeface="Segoe UI Light" panose="020b0502040204020203" pitchFamily="34" charset="0"/>
              </a:rPr>
              <a:t>Lorem ipsum dolor sit amet, consectetur adipiscing elit, sed do eiusmod tempor incididunt.</a:t>
            </a:r>
          </a:p>
        </p:txBody>
      </p:sp>
      <p:sp>
        <p:nvSpPr>
          <p:cNvPr id="68" name="Oval 67">
            <a:extLst>
              <a:ext uri="{FF2B5EF4-FFF2-40B4-BE49-F238E27FC236}">
                <a16:creationId xmlns:a16="http://schemas.microsoft.com/office/drawing/2014/main" id="{571AECBC-0495-0943-9A60-928CBADF0DD8}"/>
              </a:ext>
            </a:extLst>
          </p:cNvPr>
          <p:cNvSpPr/>
          <p:nvPr/>
        </p:nvSpPr>
        <p:spPr>
          <a:xfrm>
            <a:off x="6461760" y="2710301"/>
            <a:ext cx="487680" cy="487680"/>
          </a:xfrm>
          <a:prstGeom prst="ellipse">
            <a:avLst/>
          </a:prstGeom>
          <a:solidFill>
            <a:srgbClr val="00677F"/>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Title 1">
            <a:extLst>
              <a:ext uri="{FF2B5EF4-FFF2-40B4-BE49-F238E27FC236}">
                <a16:creationId xmlns:a16="http://schemas.microsoft.com/office/drawing/2014/main" id="{CF0F75B9-AB98-5447-ACE3-7524D2604A01}"/>
              </a:ext>
            </a:extLst>
          </p:cNvPr>
          <p:cNvSpPr txBox="1"/>
          <p:nvPr/>
        </p:nvSpPr>
        <p:spPr>
          <a:xfrm>
            <a:off x="6534960" y="2755127"/>
            <a:ext cx="341280" cy="3323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a:lstStyle>
          <a:p>
            <a:pPr algn="ctr"/>
            <a:r>
              <a:rPr lang="en-US" sz="2400" i="1">
                <a:solidFill>
                  <a:schemeClr val="bg1"/>
                </a:solidFill>
                <a:latin typeface="Georgia" panose="02040502050405020303" pitchFamily="18" charset="0"/>
              </a:rPr>
              <a:t>2</a:t>
            </a:r>
          </a:p>
        </p:txBody>
      </p:sp>
      <p:sp>
        <p:nvSpPr>
          <p:cNvPr id="71" name="Rectangle 70">
            <a:extLst>
              <a:ext uri="{FF2B5EF4-FFF2-40B4-BE49-F238E27FC236}">
                <a16:creationId xmlns:a16="http://schemas.microsoft.com/office/drawing/2014/main" id="{27875646-1A2E-9C42-8E28-609F510F0D9D}"/>
              </a:ext>
            </a:extLst>
          </p:cNvPr>
          <p:cNvSpPr/>
          <p:nvPr/>
        </p:nvSpPr>
        <p:spPr>
          <a:xfrm>
            <a:off x="7239232" y="2707920"/>
            <a:ext cx="4474029" cy="492443"/>
          </a:xfrm>
          <a:prstGeom prst="rect">
            <a:avLst/>
          </a:prstGeom>
        </p:spPr>
        <p:txBody>
          <a:bodyPr wrap="square" lIns="0" tIns="0" rIns="0" bIns="0" anchor="ctr">
            <a:spAutoFit/>
          </a:bodyPr>
          <a:lstStyle/>
          <a:p>
            <a:r>
              <a:rPr lang="en-ID" sz="1600">
                <a:latin typeface="Segoe UI Light" panose="020b0502040204020203" pitchFamily="34" charset="0"/>
              </a:rPr>
              <a:t>Lorem ipsum dolor sit amet, consectetur adipiscing elit, sed do eiusmod tempor incididunt.</a:t>
            </a:r>
          </a:p>
        </p:txBody>
      </p:sp>
      <p:sp>
        <p:nvSpPr>
          <p:cNvPr id="73" name="Oval 72">
            <a:extLst>
              <a:ext uri="{FF2B5EF4-FFF2-40B4-BE49-F238E27FC236}">
                <a16:creationId xmlns:a16="http://schemas.microsoft.com/office/drawing/2014/main" id="{546E5838-807B-6747-8D8E-5873E2ED568A}"/>
              </a:ext>
            </a:extLst>
          </p:cNvPr>
          <p:cNvSpPr/>
          <p:nvPr/>
        </p:nvSpPr>
        <p:spPr>
          <a:xfrm>
            <a:off x="6461760" y="3526390"/>
            <a:ext cx="487680" cy="487680"/>
          </a:xfrm>
          <a:prstGeom prst="ellipse">
            <a:avLst/>
          </a:prstGeom>
          <a:solidFill>
            <a:srgbClr val="00677F"/>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Title 1">
            <a:extLst>
              <a:ext uri="{FF2B5EF4-FFF2-40B4-BE49-F238E27FC236}">
                <a16:creationId xmlns:a16="http://schemas.microsoft.com/office/drawing/2014/main" id="{D3D57DEE-5E06-3748-9961-B46FE3BFF1BD}"/>
              </a:ext>
            </a:extLst>
          </p:cNvPr>
          <p:cNvSpPr txBox="1"/>
          <p:nvPr/>
        </p:nvSpPr>
        <p:spPr>
          <a:xfrm>
            <a:off x="6534960" y="3571501"/>
            <a:ext cx="341280" cy="3323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a:lstStyle>
          <a:p>
            <a:pPr algn="ctr"/>
            <a:r>
              <a:rPr lang="en-US" sz="2400" i="1">
                <a:solidFill>
                  <a:schemeClr val="bg1"/>
                </a:solidFill>
                <a:latin typeface="Georgia" panose="02040502050405020303" pitchFamily="18" charset="0"/>
              </a:rPr>
              <a:t>3</a:t>
            </a:r>
          </a:p>
        </p:txBody>
      </p:sp>
      <p:sp>
        <p:nvSpPr>
          <p:cNvPr id="76" name="Rectangle 75">
            <a:extLst>
              <a:ext uri="{FF2B5EF4-FFF2-40B4-BE49-F238E27FC236}">
                <a16:creationId xmlns:a16="http://schemas.microsoft.com/office/drawing/2014/main" id="{F9F7862A-D911-8542-8BCA-1DF7E8F4BD98}"/>
              </a:ext>
            </a:extLst>
          </p:cNvPr>
          <p:cNvSpPr/>
          <p:nvPr/>
        </p:nvSpPr>
        <p:spPr>
          <a:xfrm>
            <a:off x="7239232" y="3524009"/>
            <a:ext cx="4474029" cy="492443"/>
          </a:xfrm>
          <a:prstGeom prst="rect">
            <a:avLst/>
          </a:prstGeom>
        </p:spPr>
        <p:txBody>
          <a:bodyPr wrap="square" lIns="0" tIns="0" rIns="0" bIns="0" anchor="ctr">
            <a:spAutoFit/>
          </a:bodyPr>
          <a:lstStyle/>
          <a:p>
            <a:r>
              <a:rPr lang="en-ID" sz="1600">
                <a:latin typeface="Segoe UI Light" panose="020b0502040204020203" pitchFamily="34" charset="0"/>
              </a:rPr>
              <a:t>Lorem ipsum dolor sit amet, consectetur adipiscing elit, sed do eiusmod tempor incididunt.</a:t>
            </a:r>
          </a:p>
        </p:txBody>
      </p:sp>
      <p:sp>
        <p:nvSpPr>
          <p:cNvPr id="98" name="Oval 97">
            <a:extLst>
              <a:ext uri="{FF2B5EF4-FFF2-40B4-BE49-F238E27FC236}">
                <a16:creationId xmlns:a16="http://schemas.microsoft.com/office/drawing/2014/main" id="{50FF9435-F968-1349-8614-FBB14624EB00}"/>
              </a:ext>
            </a:extLst>
          </p:cNvPr>
          <p:cNvSpPr/>
          <p:nvPr/>
        </p:nvSpPr>
        <p:spPr>
          <a:xfrm>
            <a:off x="6461760" y="4342479"/>
            <a:ext cx="487680" cy="487680"/>
          </a:xfrm>
          <a:prstGeom prst="ellipse">
            <a:avLst/>
          </a:prstGeom>
          <a:solidFill>
            <a:srgbClr val="00677F"/>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Title 1">
            <a:extLst>
              <a:ext uri="{FF2B5EF4-FFF2-40B4-BE49-F238E27FC236}">
                <a16:creationId xmlns:a16="http://schemas.microsoft.com/office/drawing/2014/main" id="{BFA38CA9-D55C-004E-B7F1-B45377E7A669}"/>
              </a:ext>
            </a:extLst>
          </p:cNvPr>
          <p:cNvSpPr txBox="1"/>
          <p:nvPr/>
        </p:nvSpPr>
        <p:spPr>
          <a:xfrm>
            <a:off x="6534960" y="4388624"/>
            <a:ext cx="341280" cy="3323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a:lstStyle>
          <a:p>
            <a:pPr algn="ctr"/>
            <a:r>
              <a:rPr lang="en-US" sz="2400" i="1">
                <a:solidFill>
                  <a:schemeClr val="bg1"/>
                </a:solidFill>
                <a:latin typeface="Georgia" panose="02040502050405020303" pitchFamily="18" charset="0"/>
              </a:rPr>
              <a:t>4</a:t>
            </a:r>
          </a:p>
        </p:txBody>
      </p:sp>
      <p:sp>
        <p:nvSpPr>
          <p:cNvPr id="101" name="Rectangle 100">
            <a:extLst>
              <a:ext uri="{FF2B5EF4-FFF2-40B4-BE49-F238E27FC236}">
                <a16:creationId xmlns:a16="http://schemas.microsoft.com/office/drawing/2014/main" id="{6D931BB1-5EED-6D45-B910-FB147D6497BC}"/>
              </a:ext>
            </a:extLst>
          </p:cNvPr>
          <p:cNvSpPr/>
          <p:nvPr/>
        </p:nvSpPr>
        <p:spPr>
          <a:xfrm>
            <a:off x="7239232" y="4340098"/>
            <a:ext cx="4474029" cy="492443"/>
          </a:xfrm>
          <a:prstGeom prst="rect">
            <a:avLst/>
          </a:prstGeom>
        </p:spPr>
        <p:txBody>
          <a:bodyPr wrap="square" lIns="0" tIns="0" rIns="0" bIns="0" anchor="ctr">
            <a:spAutoFit/>
          </a:bodyPr>
          <a:lstStyle/>
          <a:p>
            <a:r>
              <a:rPr lang="en-ID" sz="1600">
                <a:latin typeface="Segoe UI Light" panose="020b0502040204020203" pitchFamily="34" charset="0"/>
              </a:rPr>
              <a:t>Lorem ipsum dolor sit amet, consectetur adipiscing elit, sed do eiusmod tempor incididunt.</a:t>
            </a:r>
          </a:p>
        </p:txBody>
      </p:sp>
      <p:sp>
        <p:nvSpPr>
          <p:cNvPr id="103" name="Oval 102">
            <a:extLst>
              <a:ext uri="{FF2B5EF4-FFF2-40B4-BE49-F238E27FC236}">
                <a16:creationId xmlns:a16="http://schemas.microsoft.com/office/drawing/2014/main" id="{42A7964F-63D8-C448-ABC7-BBF4A3C9F922}"/>
              </a:ext>
            </a:extLst>
          </p:cNvPr>
          <p:cNvSpPr/>
          <p:nvPr/>
        </p:nvSpPr>
        <p:spPr>
          <a:xfrm>
            <a:off x="6461760" y="5158568"/>
            <a:ext cx="487680" cy="487680"/>
          </a:xfrm>
          <a:prstGeom prst="ellipse">
            <a:avLst/>
          </a:prstGeom>
          <a:solidFill>
            <a:srgbClr val="00677F"/>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Title 1">
            <a:extLst>
              <a:ext uri="{FF2B5EF4-FFF2-40B4-BE49-F238E27FC236}">
                <a16:creationId xmlns:a16="http://schemas.microsoft.com/office/drawing/2014/main" id="{495F637D-D1C0-3B45-8FD7-A4DEFEA15D3C}"/>
              </a:ext>
            </a:extLst>
          </p:cNvPr>
          <p:cNvSpPr txBox="1"/>
          <p:nvPr/>
        </p:nvSpPr>
        <p:spPr>
          <a:xfrm>
            <a:off x="6534960" y="5204713"/>
            <a:ext cx="341280" cy="3323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a:lstStyle>
          <a:p>
            <a:pPr algn="ctr"/>
            <a:r>
              <a:rPr lang="en-US" sz="2400" i="1">
                <a:solidFill>
                  <a:schemeClr val="bg1"/>
                </a:solidFill>
                <a:latin typeface="Georgia" panose="02040502050405020303" pitchFamily="18" charset="0"/>
              </a:rPr>
              <a:t>5</a:t>
            </a:r>
          </a:p>
        </p:txBody>
      </p:sp>
      <p:sp>
        <p:nvSpPr>
          <p:cNvPr id="106" name="Rectangle 105">
            <a:extLst>
              <a:ext uri="{FF2B5EF4-FFF2-40B4-BE49-F238E27FC236}">
                <a16:creationId xmlns:a16="http://schemas.microsoft.com/office/drawing/2014/main" id="{F2BBC911-F193-7F45-9DC1-576AACB2C789}"/>
              </a:ext>
            </a:extLst>
          </p:cNvPr>
          <p:cNvSpPr/>
          <p:nvPr/>
        </p:nvSpPr>
        <p:spPr>
          <a:xfrm>
            <a:off x="7239232" y="5156187"/>
            <a:ext cx="4474029" cy="492443"/>
          </a:xfrm>
          <a:prstGeom prst="rect">
            <a:avLst/>
          </a:prstGeom>
        </p:spPr>
        <p:txBody>
          <a:bodyPr wrap="square" lIns="0" tIns="0" rIns="0" bIns="0" anchor="ctr">
            <a:spAutoFit/>
          </a:bodyPr>
          <a:lstStyle/>
          <a:p>
            <a:r>
              <a:rPr lang="en-ID" sz="1600">
                <a:latin typeface="Segoe UI Light" panose="020b0502040204020203" pitchFamily="34" charset="0"/>
              </a:rPr>
              <a:t>Lorem ipsum dolor sit amet, consectetur adipiscing elit, sed do eiusmod tempor incididunt.</a:t>
            </a:r>
          </a:p>
        </p:txBody>
      </p:sp>
      <p:grpSp>
        <p:nvGrpSpPr>
          <p:cNvPr id="57" name="Group 5">
            <a:extLst>
              <a:ext uri="{FF2B5EF4-FFF2-40B4-BE49-F238E27FC236}">
                <a16:creationId xmlns:a16="http://schemas.microsoft.com/office/drawing/2014/main" id="{B67DC1F5-E6DD-4588-A409-453FF6B037D9}"/>
              </a:ext>
            </a:extLst>
          </p:cNvPr>
          <p:cNvGrpSpPr/>
          <p:nvPr/>
        </p:nvGrpSpPr>
        <p:grpSpPr>
          <a:xfrm>
            <a:off x="0" y="0"/>
            <a:ext cx="589085" cy="589085"/>
            <a:chOff x="1582614" y="2839915"/>
            <a:chExt cx="589085" cy="589085"/>
          </a:xfrm>
          <a:solidFill>
            <a:srgbClr val="00ABF7"/>
          </a:solidFill>
        </p:grpSpPr>
        <p:sp>
          <p:nvSpPr>
            <p:cNvPr id="58" name="Rectangle 6">
              <a:extLst>
                <a:ext uri="{FF2B5EF4-FFF2-40B4-BE49-F238E27FC236}">
                  <a16:creationId xmlns:a16="http://schemas.microsoft.com/office/drawing/2014/main" id="{42C3FBC3-AE40-4BA4-9564-33A6C285783A}"/>
                </a:ext>
              </a:extLst>
            </p:cNvPr>
            <p:cNvSpPr/>
            <p:nvPr/>
          </p:nvSpPr>
          <p:spPr>
            <a:xfrm>
              <a:off x="1582614" y="2839915"/>
              <a:ext cx="137160" cy="589085"/>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9" name="Rectangle 7">
              <a:extLst>
                <a:ext uri="{FF2B5EF4-FFF2-40B4-BE49-F238E27FC236}">
                  <a16:creationId xmlns:a16="http://schemas.microsoft.com/office/drawing/2014/main" id="{744DD8B2-959E-436B-A0DC-3D59AE7EE0FA}"/>
                </a:ext>
              </a:extLst>
            </p:cNvPr>
            <p:cNvSpPr/>
            <p:nvPr/>
          </p:nvSpPr>
          <p:spPr>
            <a:xfrm rot="5400000">
              <a:off x="1808577" y="2613952"/>
              <a:ext cx="137160" cy="589085"/>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60" name="Group 8">
            <a:extLst>
              <a:ext uri="{FF2B5EF4-FFF2-40B4-BE49-F238E27FC236}">
                <a16:creationId xmlns:a16="http://schemas.microsoft.com/office/drawing/2014/main" id="{CB9661EF-2350-42F6-8328-52F06DFDCFB3}"/>
              </a:ext>
            </a:extLst>
          </p:cNvPr>
          <p:cNvGrpSpPr/>
          <p:nvPr/>
        </p:nvGrpSpPr>
        <p:grpSpPr>
          <a:xfrm rot="5400000">
            <a:off x="11599788" y="-93"/>
            <a:ext cx="589085" cy="589085"/>
            <a:chOff x="1582614" y="2839915"/>
            <a:chExt cx="589085" cy="589085"/>
          </a:xfrm>
          <a:solidFill>
            <a:srgbClr val="00ABF7"/>
          </a:solidFill>
        </p:grpSpPr>
        <p:sp>
          <p:nvSpPr>
            <p:cNvPr id="61" name="Rectangle 9">
              <a:extLst>
                <a:ext uri="{FF2B5EF4-FFF2-40B4-BE49-F238E27FC236}">
                  <a16:creationId xmlns:a16="http://schemas.microsoft.com/office/drawing/2014/main" id="{C274CED5-73F7-4F7D-9525-A0441E299D0F}"/>
                </a:ext>
              </a:extLst>
            </p:cNvPr>
            <p:cNvSpPr/>
            <p:nvPr/>
          </p:nvSpPr>
          <p:spPr>
            <a:xfrm>
              <a:off x="1582614" y="2839915"/>
              <a:ext cx="137160" cy="589085"/>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2" name="Rectangle 10">
              <a:extLst>
                <a:ext uri="{FF2B5EF4-FFF2-40B4-BE49-F238E27FC236}">
                  <a16:creationId xmlns:a16="http://schemas.microsoft.com/office/drawing/2014/main" id="{61B67D1A-AEFF-4A1A-AF2D-ECC2433E257C}"/>
                </a:ext>
              </a:extLst>
            </p:cNvPr>
            <p:cNvSpPr/>
            <p:nvPr/>
          </p:nvSpPr>
          <p:spPr>
            <a:xfrm rot="5400000">
              <a:off x="1808577" y="2613952"/>
              <a:ext cx="137160" cy="589085"/>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63" name="Group 11">
            <a:extLst>
              <a:ext uri="{FF2B5EF4-FFF2-40B4-BE49-F238E27FC236}">
                <a16:creationId xmlns:a16="http://schemas.microsoft.com/office/drawing/2014/main" id="{8BAE7BEB-724C-4B7F-A92A-5624708F3FBA}"/>
              </a:ext>
            </a:extLst>
          </p:cNvPr>
          <p:cNvGrpSpPr/>
          <p:nvPr/>
        </p:nvGrpSpPr>
        <p:grpSpPr>
          <a:xfrm flipV="1">
            <a:off x="1" y="6268915"/>
            <a:ext cx="589085" cy="589085"/>
            <a:chOff x="1582614" y="2839915"/>
            <a:chExt cx="589085" cy="589085"/>
          </a:xfrm>
          <a:solidFill>
            <a:srgbClr val="00ABF7"/>
          </a:solidFill>
        </p:grpSpPr>
        <p:sp>
          <p:nvSpPr>
            <p:cNvPr id="64" name="Rectangle 12">
              <a:extLst>
                <a:ext uri="{FF2B5EF4-FFF2-40B4-BE49-F238E27FC236}">
                  <a16:creationId xmlns:a16="http://schemas.microsoft.com/office/drawing/2014/main" id="{34B4245A-5531-4128-862C-73BC8399F65E}"/>
                </a:ext>
              </a:extLst>
            </p:cNvPr>
            <p:cNvSpPr/>
            <p:nvPr/>
          </p:nvSpPr>
          <p:spPr>
            <a:xfrm>
              <a:off x="1582614" y="2839915"/>
              <a:ext cx="137160" cy="589085"/>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5" name="Rectangle 13">
              <a:extLst>
                <a:ext uri="{FF2B5EF4-FFF2-40B4-BE49-F238E27FC236}">
                  <a16:creationId xmlns:a16="http://schemas.microsoft.com/office/drawing/2014/main" id="{97542D8C-AD5A-4A0E-8E36-FF2F946614EA}"/>
                </a:ext>
              </a:extLst>
            </p:cNvPr>
            <p:cNvSpPr/>
            <p:nvPr/>
          </p:nvSpPr>
          <p:spPr>
            <a:xfrm rot="5400000">
              <a:off x="1808577" y="2613952"/>
              <a:ext cx="137160" cy="589085"/>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66" name="Group 14">
            <a:extLst>
              <a:ext uri="{FF2B5EF4-FFF2-40B4-BE49-F238E27FC236}">
                <a16:creationId xmlns:a16="http://schemas.microsoft.com/office/drawing/2014/main" id="{04781225-C73C-402C-A3A2-48F832F411C6}"/>
              </a:ext>
            </a:extLst>
          </p:cNvPr>
          <p:cNvGrpSpPr/>
          <p:nvPr/>
        </p:nvGrpSpPr>
        <p:grpSpPr>
          <a:xfrm rot="16200000" flipV="1">
            <a:off x="11602915" y="6268914"/>
            <a:ext cx="589085" cy="589085"/>
            <a:chOff x="1582614" y="2839915"/>
            <a:chExt cx="589085" cy="589085"/>
          </a:xfrm>
          <a:solidFill>
            <a:srgbClr val="00ABF7"/>
          </a:solidFill>
        </p:grpSpPr>
        <p:sp>
          <p:nvSpPr>
            <p:cNvPr id="67" name="Rectangle 15">
              <a:extLst>
                <a:ext uri="{FF2B5EF4-FFF2-40B4-BE49-F238E27FC236}">
                  <a16:creationId xmlns:a16="http://schemas.microsoft.com/office/drawing/2014/main" id="{A99350C2-A5EC-4B21-9279-0CEC4B3D883B}"/>
                </a:ext>
              </a:extLst>
            </p:cNvPr>
            <p:cNvSpPr/>
            <p:nvPr/>
          </p:nvSpPr>
          <p:spPr>
            <a:xfrm>
              <a:off x="1582614" y="2839915"/>
              <a:ext cx="137160" cy="589085"/>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2" name="Rectangle 16">
              <a:extLst>
                <a:ext uri="{FF2B5EF4-FFF2-40B4-BE49-F238E27FC236}">
                  <a16:creationId xmlns:a16="http://schemas.microsoft.com/office/drawing/2014/main" id="{A337DD18-CC04-4328-A54E-F623688C4D2D}"/>
                </a:ext>
              </a:extLst>
            </p:cNvPr>
            <p:cNvSpPr/>
            <p:nvPr/>
          </p:nvSpPr>
          <p:spPr>
            <a:xfrm rot="5400000">
              <a:off x="1808577" y="2613952"/>
              <a:ext cx="137160" cy="589085"/>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5" name="TextBox 9">
            <a:extLst>
              <a:ext uri="{FF2B5EF4-FFF2-40B4-BE49-F238E27FC236}">
                <a16:creationId xmlns:a16="http://schemas.microsoft.com/office/drawing/2014/main" id="{3065DB11-0727-4449-4488-875AB52D08CF}"/>
              </a:ext>
            </a:extLst>
          </p:cNvPr>
          <p:cNvSpPr txBox="1"/>
          <p:nvPr/>
        </p:nvSpPr>
        <p:spPr>
          <a:xfrm>
            <a:off x="4938209" y="545461"/>
            <a:ext cx="3876061" cy="923330"/>
          </a:xfrm>
          <a:prstGeom prst="rect">
            <a:avLst/>
          </a:prstGeom>
          <a:noFill/>
        </p:spPr>
        <p:txBody>
          <a:bodyPr wrap="none" lIns="0" tIns="0" rIns="0" bIns="0" rtlCol="0">
            <a:spAutoFit/>
          </a:bodyPr>
          <a:lstStyle/>
          <a:p>
            <a:r>
              <a:rPr lang="en-US" sz="6000" b="1">
                <a:solidFill>
                  <a:schemeClr val="tx1">
                    <a:lumMod val="65000"/>
                    <a:lumOff val="35000"/>
                  </a:schemeClr>
                </a:solidFill>
                <a:latin typeface="Segoe UI" panose="020b0502040204020203" pitchFamily="34" charset="0"/>
                <a:cs typeface="Segoe UI" panose="020b0502040204020203" pitchFamily="34" charset="0"/>
              </a:rPr>
              <a:t>BAHAMAS</a:t>
            </a:r>
          </a:p>
        </p:txBody>
      </p:sp>
      <p:sp>
        <p:nvSpPr>
          <p:cNvPr id="6" name="TextBox 9">
            <a:extLst>
              <a:ext uri="{FF2B5EF4-FFF2-40B4-BE49-F238E27FC236}">
                <a16:creationId xmlns:a16="http://schemas.microsoft.com/office/drawing/2014/main" id="{A1DB691A-E6B0-8E92-F920-85A3E1C8CD26}"/>
              </a:ext>
            </a:extLst>
          </p:cNvPr>
          <p:cNvSpPr txBox="1"/>
          <p:nvPr/>
        </p:nvSpPr>
        <p:spPr>
          <a:xfrm>
            <a:off x="4984200" y="306945"/>
            <a:ext cx="2068067" cy="430887"/>
          </a:xfrm>
          <a:prstGeom prst="rect">
            <a:avLst/>
          </a:prstGeom>
          <a:noFill/>
        </p:spPr>
        <p:txBody>
          <a:bodyPr wrap="none" lIns="0" tIns="0" rIns="0" bIns="0" rtlCol="0">
            <a:spAutoFit/>
          </a:bodyPr>
          <a:lstStyle/>
          <a:p>
            <a:pPr algn="ctr"/>
            <a:r>
              <a:rPr lang="en-US" sz="2800" b="1">
                <a:solidFill>
                  <a:srgbClr val="02BAC8"/>
                </a:solidFill>
                <a:latin typeface="Segoe UI" panose="020b0502040204020203" pitchFamily="34" charset="0"/>
                <a:cs typeface="Segoe UI" panose="020b0502040204020203" pitchFamily="34" charset="0"/>
              </a:rPr>
              <a:t>Gastronomy</a:t>
            </a:r>
          </a:p>
        </p:txBody>
      </p:sp>
    </p:spTree>
    <p:extLst>
      <p:ext uri="{BB962C8B-B14F-4D97-AF65-F5344CB8AC3E}">
        <p14:creationId xmlns:p14="http://schemas.microsoft.com/office/powerpoint/2010/main" val="1841615307"/>
      </p:ext>
    </p:extLst>
  </p:cSld>
  <p:clrMapOvr>
    <a:masterClrMapping/>
  </p:clrMapOvr>
  <p:transition/>
  <p:timing/>
</p:sld>
</file>

<file path=ppt/slides/slide4.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pic>
        <p:nvPicPr>
          <p:cNvPr id="2050" name="Picture 2" descr="Comida típica de las Bahamas. Caracola conch">
            <a:extLst>
              <a:ext uri="{FF2B5EF4-FFF2-40B4-BE49-F238E27FC236}">
                <a16:creationId xmlns:a16="http://schemas.microsoft.com/office/drawing/2014/main" id="{07475995-5195-88F6-0A67-AC01352535E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4866" r="25754"/>
          <a:stretch>
            <a:fillRect/>
          </a:stretch>
        </p:blipFill>
        <p:spPr bwMode="auto">
          <a:xfrm>
            <a:off x="957876" y="1759982"/>
            <a:ext cx="4559481" cy="435298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E94771E9-89B1-4A1A-80B0-C6C4443C71CD}"/>
              </a:ext>
            </a:extLst>
          </p:cNvPr>
          <p:cNvSpPr txBox="1"/>
          <p:nvPr/>
        </p:nvSpPr>
        <p:spPr>
          <a:xfrm>
            <a:off x="1981200" y="358573"/>
            <a:ext cx="7019192" cy="430887"/>
          </a:xfrm>
          <a:prstGeom prst="rect">
            <a:avLst/>
          </a:prstGeom>
          <a:solidFill>
            <a:srgbClr val="00ABF7"/>
          </a:solidFill>
        </p:spPr>
        <p:txBody>
          <a:bodyPr wrap="square" lIns="36000" tIns="0" rIns="36000" bIns="0" rtlCol="0">
            <a:spAutoFit/>
          </a:bodyPr>
          <a:lstStyle/>
          <a:p>
            <a:pPr algn="ctr"/>
            <a:r>
              <a:rPr lang="en-US" sz="2800" b="1">
                <a:solidFill>
                  <a:schemeClr val="bg1"/>
                </a:solidFill>
              </a:rPr>
              <a:t>Bahamas Gastronomy </a:t>
            </a:r>
            <a:r>
              <a:rPr lang="en-US" sz="2800">
                <a:solidFill>
                  <a:schemeClr val="bg1"/>
                </a:solidFill>
              </a:rPr>
              <a:t>PowerPoint Presentation</a:t>
            </a:r>
          </a:p>
        </p:txBody>
      </p:sp>
      <p:grpSp>
        <p:nvGrpSpPr>
          <p:cNvPr id="6" name="Group 5">
            <a:extLst>
              <a:ext uri="{FF2B5EF4-FFF2-40B4-BE49-F238E27FC236}">
                <a16:creationId xmlns:a16="http://schemas.microsoft.com/office/drawing/2014/main" id="{F141129A-5184-4D18-9170-78045D1B9569}"/>
              </a:ext>
            </a:extLst>
          </p:cNvPr>
          <p:cNvGrpSpPr/>
          <p:nvPr/>
        </p:nvGrpSpPr>
        <p:grpSpPr>
          <a:xfrm>
            <a:off x="581021" y="1429564"/>
            <a:ext cx="589085" cy="589085"/>
            <a:chOff x="1582614" y="2839915"/>
            <a:chExt cx="589085" cy="589085"/>
          </a:xfrm>
          <a:solidFill>
            <a:srgbClr val="00ABF7"/>
          </a:solidFill>
        </p:grpSpPr>
        <p:sp>
          <p:nvSpPr>
            <p:cNvPr id="7" name="Rectangle 6">
              <a:extLst>
                <a:ext uri="{FF2B5EF4-FFF2-40B4-BE49-F238E27FC236}">
                  <a16:creationId xmlns:a16="http://schemas.microsoft.com/office/drawing/2014/main" id="{1E8DDD6F-62E4-4FAA-BBBE-05C2E19729DA}"/>
                </a:ext>
              </a:extLst>
            </p:cNvPr>
            <p:cNvSpPr/>
            <p:nvPr/>
          </p:nvSpPr>
          <p:spPr>
            <a:xfrm>
              <a:off x="1582614" y="2839915"/>
              <a:ext cx="137160" cy="589085"/>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ectangle 7">
              <a:extLst>
                <a:ext uri="{FF2B5EF4-FFF2-40B4-BE49-F238E27FC236}">
                  <a16:creationId xmlns:a16="http://schemas.microsoft.com/office/drawing/2014/main" id="{415517DA-42DE-472C-B887-6F5088DE6F99}"/>
                </a:ext>
              </a:extLst>
            </p:cNvPr>
            <p:cNvSpPr/>
            <p:nvPr/>
          </p:nvSpPr>
          <p:spPr>
            <a:xfrm rot="5400000">
              <a:off x="1808577" y="2613952"/>
              <a:ext cx="137160" cy="589085"/>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9" name="Group 8">
            <a:extLst>
              <a:ext uri="{FF2B5EF4-FFF2-40B4-BE49-F238E27FC236}">
                <a16:creationId xmlns:a16="http://schemas.microsoft.com/office/drawing/2014/main" id="{7C08CCAF-4693-41E8-886F-D0883DC97D00}"/>
              </a:ext>
            </a:extLst>
          </p:cNvPr>
          <p:cNvGrpSpPr/>
          <p:nvPr/>
        </p:nvGrpSpPr>
        <p:grpSpPr>
          <a:xfrm rot="5400000">
            <a:off x="5367716" y="1429563"/>
            <a:ext cx="589085" cy="589085"/>
            <a:chOff x="1582614" y="2839915"/>
            <a:chExt cx="589085" cy="589085"/>
          </a:xfrm>
          <a:solidFill>
            <a:srgbClr val="00ABF7"/>
          </a:solidFill>
        </p:grpSpPr>
        <p:sp>
          <p:nvSpPr>
            <p:cNvPr id="10" name="Rectangle 9">
              <a:extLst>
                <a:ext uri="{FF2B5EF4-FFF2-40B4-BE49-F238E27FC236}">
                  <a16:creationId xmlns:a16="http://schemas.microsoft.com/office/drawing/2014/main" id="{EBB4EEBB-532C-46F0-A674-B8DF3A4A1F7E}"/>
                </a:ext>
              </a:extLst>
            </p:cNvPr>
            <p:cNvSpPr/>
            <p:nvPr/>
          </p:nvSpPr>
          <p:spPr>
            <a:xfrm>
              <a:off x="1582614" y="2839915"/>
              <a:ext cx="137160" cy="589085"/>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Rectangle 10">
              <a:extLst>
                <a:ext uri="{FF2B5EF4-FFF2-40B4-BE49-F238E27FC236}">
                  <a16:creationId xmlns:a16="http://schemas.microsoft.com/office/drawing/2014/main" id="{1E3D688E-8785-4417-BA9B-80E5C1295605}"/>
                </a:ext>
              </a:extLst>
            </p:cNvPr>
            <p:cNvSpPr/>
            <p:nvPr/>
          </p:nvSpPr>
          <p:spPr>
            <a:xfrm rot="5400000">
              <a:off x="1808577" y="2613952"/>
              <a:ext cx="137160" cy="589085"/>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2" name="Group 11">
            <a:extLst>
              <a:ext uri="{FF2B5EF4-FFF2-40B4-BE49-F238E27FC236}">
                <a16:creationId xmlns:a16="http://schemas.microsoft.com/office/drawing/2014/main" id="{738D375E-6306-498F-938D-7866AD0B7F42}"/>
              </a:ext>
            </a:extLst>
          </p:cNvPr>
          <p:cNvGrpSpPr/>
          <p:nvPr/>
        </p:nvGrpSpPr>
        <p:grpSpPr>
          <a:xfrm flipV="1">
            <a:off x="649601" y="5837475"/>
            <a:ext cx="589085" cy="589085"/>
            <a:chOff x="1582614" y="2839915"/>
            <a:chExt cx="589085" cy="589085"/>
          </a:xfrm>
          <a:solidFill>
            <a:srgbClr val="00ABF7"/>
          </a:solidFill>
        </p:grpSpPr>
        <p:sp>
          <p:nvSpPr>
            <p:cNvPr id="13" name="Rectangle 12">
              <a:extLst>
                <a:ext uri="{FF2B5EF4-FFF2-40B4-BE49-F238E27FC236}">
                  <a16:creationId xmlns:a16="http://schemas.microsoft.com/office/drawing/2014/main" id="{5736C09F-B611-4A80-B7D9-110769DDC7B9}"/>
                </a:ext>
              </a:extLst>
            </p:cNvPr>
            <p:cNvSpPr/>
            <p:nvPr/>
          </p:nvSpPr>
          <p:spPr>
            <a:xfrm>
              <a:off x="1582614" y="2839915"/>
              <a:ext cx="137160" cy="589085"/>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Rectangle 13">
              <a:extLst>
                <a:ext uri="{FF2B5EF4-FFF2-40B4-BE49-F238E27FC236}">
                  <a16:creationId xmlns:a16="http://schemas.microsoft.com/office/drawing/2014/main" id="{D08F6B15-3CC7-415D-80F6-5A960EAFFC25}"/>
                </a:ext>
              </a:extLst>
            </p:cNvPr>
            <p:cNvSpPr/>
            <p:nvPr/>
          </p:nvSpPr>
          <p:spPr>
            <a:xfrm rot="5400000">
              <a:off x="1808577" y="2613952"/>
              <a:ext cx="137160" cy="589085"/>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5" name="Group 14">
            <a:extLst>
              <a:ext uri="{FF2B5EF4-FFF2-40B4-BE49-F238E27FC236}">
                <a16:creationId xmlns:a16="http://schemas.microsoft.com/office/drawing/2014/main" id="{081725C4-C27C-4FDE-BFEB-10547271B3EC}"/>
              </a:ext>
            </a:extLst>
          </p:cNvPr>
          <p:cNvGrpSpPr/>
          <p:nvPr/>
        </p:nvGrpSpPr>
        <p:grpSpPr>
          <a:xfrm rot="16200000" flipV="1">
            <a:off x="5373707" y="5837474"/>
            <a:ext cx="589085" cy="589085"/>
            <a:chOff x="1582614" y="2839915"/>
            <a:chExt cx="589085" cy="589085"/>
          </a:xfrm>
          <a:solidFill>
            <a:srgbClr val="00ABF7"/>
          </a:solidFill>
        </p:grpSpPr>
        <p:sp>
          <p:nvSpPr>
            <p:cNvPr id="16" name="Rectangle 15">
              <a:extLst>
                <a:ext uri="{FF2B5EF4-FFF2-40B4-BE49-F238E27FC236}">
                  <a16:creationId xmlns:a16="http://schemas.microsoft.com/office/drawing/2014/main" id="{14CF1DBB-225D-41A7-8E5B-36D48068C514}"/>
                </a:ext>
              </a:extLst>
            </p:cNvPr>
            <p:cNvSpPr/>
            <p:nvPr/>
          </p:nvSpPr>
          <p:spPr>
            <a:xfrm>
              <a:off x="1582614" y="2839915"/>
              <a:ext cx="137160" cy="589085"/>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Rectangle 16">
              <a:extLst>
                <a:ext uri="{FF2B5EF4-FFF2-40B4-BE49-F238E27FC236}">
                  <a16:creationId xmlns:a16="http://schemas.microsoft.com/office/drawing/2014/main" id="{14E13AC0-D0CF-4107-BDA4-E8B2F2A04D23}"/>
                </a:ext>
              </a:extLst>
            </p:cNvPr>
            <p:cNvSpPr/>
            <p:nvPr/>
          </p:nvSpPr>
          <p:spPr>
            <a:xfrm rot="5400000">
              <a:off x="1808577" y="2613952"/>
              <a:ext cx="137160" cy="589085"/>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8" name="TextBox 17">
            <a:extLst>
              <a:ext uri="{FF2B5EF4-FFF2-40B4-BE49-F238E27FC236}">
                <a16:creationId xmlns:a16="http://schemas.microsoft.com/office/drawing/2014/main" id="{34BE0490-069D-4A78-AF5D-A9E69638E225}"/>
              </a:ext>
            </a:extLst>
          </p:cNvPr>
          <p:cNvSpPr txBox="1"/>
          <p:nvPr/>
        </p:nvSpPr>
        <p:spPr>
          <a:xfrm>
            <a:off x="6625895" y="3783557"/>
            <a:ext cx="4413010" cy="2246769"/>
          </a:xfrm>
          <a:prstGeom prst="rect">
            <a:avLst/>
          </a:prstGeom>
          <a:noFill/>
        </p:spPr>
        <p:txBody>
          <a:bodyPr wrap="square" rtlCol="0">
            <a:spAutoFit/>
          </a:bodyPr>
          <a:lstStyle/>
          <a:p>
            <a:r>
              <a:rPr lang="en-US" altLang="ko-KR" sz="1400">
                <a:cs typeface="Arial" panose="020b0604020202020204" pitchFamily="34" charset="0"/>
              </a:rPr>
              <a:t>You can simply impress your audience and add a unique zing and appeal to your Presentations. Get a modern PowerPoint  Presentation that is beautifully designed. I hope and I believe that this Template will your Time, Money and Reputation. You can simply impress your audience and add a unique zing and appeal to your Presentations. </a:t>
            </a:r>
          </a:p>
          <a:p>
            <a:endParaRPr lang="en-US" altLang="ko-KR" sz="1400">
              <a:cs typeface="Arial" panose="020b0604020202020204" pitchFamily="34" charset="0"/>
            </a:endParaRPr>
          </a:p>
          <a:p>
            <a:r>
              <a:rPr lang="en-US" altLang="ko-KR" sz="1400">
                <a:cs typeface="Arial" panose="020b0604020202020204" pitchFamily="34" charset="0"/>
              </a:rPr>
              <a:t>Get a modern PowerPoint  Presentation that is beautifully designed.</a:t>
            </a:r>
          </a:p>
        </p:txBody>
      </p:sp>
      <p:cxnSp>
        <p:nvCxnSpPr>
          <p:cNvPr id="24" name="Conector recto 23">
            <a:extLst>
              <a:ext uri="{FF2B5EF4-FFF2-40B4-BE49-F238E27FC236}">
                <a16:creationId xmlns:a16="http://schemas.microsoft.com/office/drawing/2014/main" id="{279F3136-5DC4-45AA-B31B-55BA382E79E8}"/>
              </a:ext>
            </a:extLst>
          </p:cNvPr>
          <p:cNvCxnSpPr/>
          <p:nvPr/>
        </p:nvCxnSpPr>
        <p:spPr>
          <a:xfrm flipH="1">
            <a:off x="299929" y="1011118"/>
            <a:ext cx="10933737" cy="15938"/>
          </a:xfrm>
          <a:prstGeom prst="line">
            <a:avLst/>
          </a:prstGeom>
          <a:ln w="28575">
            <a:solidFill>
              <a:srgbClr val="00677F"/>
            </a:solidFill>
          </a:ln>
        </p:spPr>
        <p:style>
          <a:lnRef idx="1">
            <a:schemeClr val="accent1"/>
          </a:lnRef>
          <a:fillRef idx="0">
            <a:schemeClr val="accent1"/>
          </a:fillRef>
          <a:effectRef idx="0">
            <a:schemeClr val="accent1"/>
          </a:effectRef>
          <a:fontRef idx="minor">
            <a:schemeClr val="tx1"/>
          </a:fontRef>
        </p:style>
      </p:cxnSp>
      <p:pic>
        <p:nvPicPr>
          <p:cNvPr id="4" name="Imagen 3">
            <a:extLst>
              <a:ext uri="{FF2B5EF4-FFF2-40B4-BE49-F238E27FC236}">
                <a16:creationId xmlns:a16="http://schemas.microsoft.com/office/drawing/2014/main" id="{99DCEF0E-56C0-162E-59D0-9AD6F2B95A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41323" y="152883"/>
            <a:ext cx="1384685" cy="1384685"/>
          </a:xfrm>
          <a:prstGeom prst="rect">
            <a:avLst/>
          </a:prstGeom>
        </p:spPr>
      </p:pic>
      <p:sp>
        <p:nvSpPr>
          <p:cNvPr id="19" name="TextBox 9">
            <a:extLst>
              <a:ext uri="{FF2B5EF4-FFF2-40B4-BE49-F238E27FC236}">
                <a16:creationId xmlns:a16="http://schemas.microsoft.com/office/drawing/2014/main" id="{1D2C28D5-65E2-FB74-6ED0-CF1FB44FC3BD}"/>
              </a:ext>
            </a:extLst>
          </p:cNvPr>
          <p:cNvSpPr txBox="1"/>
          <p:nvPr/>
        </p:nvSpPr>
        <p:spPr>
          <a:xfrm>
            <a:off x="6625895" y="2434528"/>
            <a:ext cx="4868128" cy="1107996"/>
          </a:xfrm>
          <a:prstGeom prst="rect">
            <a:avLst/>
          </a:prstGeom>
          <a:noFill/>
        </p:spPr>
        <p:txBody>
          <a:bodyPr wrap="none" lIns="0" tIns="0" rIns="0" bIns="0" rtlCol="0">
            <a:spAutoFit/>
          </a:bodyPr>
          <a:lstStyle/>
          <a:p>
            <a:r>
              <a:rPr lang="en-US" sz="7200" b="1">
                <a:solidFill>
                  <a:schemeClr val="tx1">
                    <a:lumMod val="65000"/>
                    <a:lumOff val="35000"/>
                  </a:schemeClr>
                </a:solidFill>
                <a:latin typeface="Segoe UI" panose="020b0502040204020203" pitchFamily="34" charset="0"/>
                <a:cs typeface="Segoe UI" panose="020b0502040204020203" pitchFamily="34" charset="0"/>
              </a:rPr>
              <a:t>CARACOLA</a:t>
            </a:r>
          </a:p>
        </p:txBody>
      </p:sp>
      <p:sp>
        <p:nvSpPr>
          <p:cNvPr id="21" name="TextBox 9">
            <a:extLst>
              <a:ext uri="{FF2B5EF4-FFF2-40B4-BE49-F238E27FC236}">
                <a16:creationId xmlns:a16="http://schemas.microsoft.com/office/drawing/2014/main" id="{1991B207-AC5B-788E-6A34-CB539815C8B0}"/>
              </a:ext>
            </a:extLst>
          </p:cNvPr>
          <p:cNvSpPr txBox="1"/>
          <p:nvPr/>
        </p:nvSpPr>
        <p:spPr>
          <a:xfrm>
            <a:off x="6686923" y="2019462"/>
            <a:ext cx="2327561" cy="553998"/>
          </a:xfrm>
          <a:prstGeom prst="rect">
            <a:avLst/>
          </a:prstGeom>
          <a:noFill/>
        </p:spPr>
        <p:txBody>
          <a:bodyPr wrap="none" lIns="0" tIns="0" rIns="0" bIns="0" rtlCol="0">
            <a:spAutoFit/>
          </a:bodyPr>
          <a:lstStyle/>
          <a:p>
            <a:pPr algn="ctr"/>
            <a:r>
              <a:rPr lang="en-US" sz="3600" b="1">
                <a:solidFill>
                  <a:srgbClr val="02BAC8"/>
                </a:solidFill>
                <a:latin typeface="Segoe UI" panose="020b0502040204020203" pitchFamily="34" charset="0"/>
                <a:cs typeface="Segoe UI" panose="020b0502040204020203" pitchFamily="34" charset="0"/>
              </a:rPr>
              <a:t>BAHAMAS</a:t>
            </a:r>
          </a:p>
        </p:txBody>
      </p:sp>
      <p:cxnSp>
        <p:nvCxnSpPr>
          <p:cNvPr id="29" name="Conector recto 28">
            <a:extLst>
              <a:ext uri="{FF2B5EF4-FFF2-40B4-BE49-F238E27FC236}">
                <a16:creationId xmlns:a16="http://schemas.microsoft.com/office/drawing/2014/main" id="{8E53D786-46FF-B1E5-CBFA-D6AD853C9C91}"/>
              </a:ext>
            </a:extLst>
          </p:cNvPr>
          <p:cNvCxnSpPr/>
          <p:nvPr/>
        </p:nvCxnSpPr>
        <p:spPr>
          <a:xfrm flipH="1">
            <a:off x="9594911" y="3535131"/>
            <a:ext cx="1892823" cy="0"/>
          </a:xfrm>
          <a:prstGeom prst="line">
            <a:avLst/>
          </a:prstGeom>
          <a:ln>
            <a:solidFill>
              <a:srgbClr val="00677F"/>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AF589AE4-79E1-A7D2-A0E7-7E5D17379115}"/>
              </a:ext>
            </a:extLst>
          </p:cNvPr>
          <p:cNvCxnSpPr/>
          <p:nvPr/>
        </p:nvCxnSpPr>
        <p:spPr>
          <a:xfrm flipH="1">
            <a:off x="9340842" y="3642038"/>
            <a:ext cx="1892823" cy="0"/>
          </a:xfrm>
          <a:prstGeom prst="line">
            <a:avLst/>
          </a:prstGeom>
          <a:ln w="25400">
            <a:solidFill>
              <a:srgbClr val="00ABF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0350015"/>
      </p:ext>
    </p:extLst>
  </p:cSld>
  <p:clrMapOvr>
    <a:masterClrMapping/>
  </p:clrMapOvr>
  <p:transition/>
  <p:timing/>
</p:sld>
</file>

<file path=ppt/slides/slide5.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Rectángulo: esquinas redondeadas 1">
            <a:extLst>
              <a:ext uri="{FF2B5EF4-FFF2-40B4-BE49-F238E27FC236}">
                <a16:creationId xmlns:a16="http://schemas.microsoft.com/office/drawing/2014/main" id="{238A990D-7E53-D906-FBA5-C161492A6417}"/>
              </a:ext>
            </a:extLst>
          </p:cNvPr>
          <p:cNvSpPr/>
          <p:nvPr/>
        </p:nvSpPr>
        <p:spPr>
          <a:xfrm>
            <a:off x="9681210" y="-62824"/>
            <a:ext cx="2510790" cy="350967"/>
          </a:xfrm>
          <a:prstGeom prst="roundRect">
            <a:avLst/>
          </a:prstGeom>
          <a:solidFill>
            <a:srgbClr val="00AB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3" name="AutoShape 12">
            <a:extLst>
              <a:ext uri="{FF2B5EF4-FFF2-40B4-BE49-F238E27FC236}">
                <a16:creationId xmlns:a16="http://schemas.microsoft.com/office/drawing/2014/main" id="{A525C511-FBD3-A8E9-5DB5-B0E0BFF59044}"/>
              </a:ext>
            </a:extLst>
          </p:cNvPr>
          <p:cNvSpPr>
            <a:spLocks noChangeArrowheads="1"/>
          </p:cNvSpPr>
          <p:nvPr/>
        </p:nvSpPr>
        <p:spPr bwMode="auto">
          <a:xfrm>
            <a:off x="1181100" y="3094576"/>
            <a:ext cx="10448925" cy="1350150"/>
          </a:xfrm>
          <a:prstGeom prst="rightArrow">
            <a:avLst>
              <a:gd name="adj1" fmla="val 45285"/>
              <a:gd name="adj2" fmla="val 76553"/>
            </a:avLst>
          </a:prstGeom>
          <a:solidFill>
            <a:schemeClr val="bg1">
              <a:lumMod val="7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65000"/>
                  <a:lumOff val="35000"/>
                </a:schemeClr>
              </a:solidFill>
            </a:endParaRPr>
          </a:p>
        </p:txBody>
      </p:sp>
      <p:sp>
        <p:nvSpPr>
          <p:cNvPr id="4" name="Rounded Rectangle 13">
            <a:extLst>
              <a:ext uri="{FF2B5EF4-FFF2-40B4-BE49-F238E27FC236}">
                <a16:creationId xmlns:a16="http://schemas.microsoft.com/office/drawing/2014/main" id="{779E1AD2-215E-1A29-2D19-E941D5A8E3B8}"/>
              </a:ext>
            </a:extLst>
          </p:cNvPr>
          <p:cNvSpPr/>
          <p:nvPr/>
        </p:nvSpPr>
        <p:spPr>
          <a:xfrm>
            <a:off x="1601384" y="1827328"/>
            <a:ext cx="1884066" cy="4107160"/>
          </a:xfrm>
          <a:prstGeom prst="roundRect">
            <a:avLst>
              <a:gd name="adj" fmla="val 6084"/>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5" name="Rounded Rectangle 8">
            <a:extLst>
              <a:ext uri="{FF2B5EF4-FFF2-40B4-BE49-F238E27FC236}">
                <a16:creationId xmlns:a16="http://schemas.microsoft.com/office/drawing/2014/main" id="{A3C52E9E-2D97-BBE7-4C43-4AA6C9E003FE}"/>
              </a:ext>
            </a:extLst>
          </p:cNvPr>
          <p:cNvSpPr/>
          <p:nvPr/>
        </p:nvSpPr>
        <p:spPr>
          <a:xfrm>
            <a:off x="1601385" y="1749989"/>
            <a:ext cx="1884065" cy="581397"/>
          </a:xfrm>
          <a:custGeom>
            <a:rect l="l" t="t" r="r" b="b"/>
            <a:pathLst>
              <a:path w="1800200" h="581397">
                <a:moveTo>
                  <a:pt x="109524" y="0"/>
                </a:moveTo>
                <a:lnTo>
                  <a:pt x="1690676" y="0"/>
                </a:lnTo>
                <a:cubicBezTo>
                  <a:pt x="1751164" y="0"/>
                  <a:pt x="1800200" y="49036"/>
                  <a:pt x="1800200" y="109524"/>
                </a:cubicBezTo>
                <a:lnTo>
                  <a:pt x="1800200" y="581397"/>
                </a:lnTo>
                <a:lnTo>
                  <a:pt x="0" y="581397"/>
                </a:lnTo>
                <a:lnTo>
                  <a:pt x="0" y="109524"/>
                </a:lnTo>
                <a:cubicBezTo>
                  <a:pt x="0" y="49036"/>
                  <a:pt x="49036" y="0"/>
                  <a:pt x="109524" y="0"/>
                </a:cubicBezTo>
                <a:close/>
              </a:path>
            </a:pathLst>
          </a:custGeom>
          <a:solidFill>
            <a:srgbClr val="00ABF7"/>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6" name="Rounded Rectangle 4">
            <a:extLst>
              <a:ext uri="{FF2B5EF4-FFF2-40B4-BE49-F238E27FC236}">
                <a16:creationId xmlns:a16="http://schemas.microsoft.com/office/drawing/2014/main" id="{19DA44A0-1C86-05E2-3AB7-CCD5A1898EE3}"/>
              </a:ext>
            </a:extLst>
          </p:cNvPr>
          <p:cNvSpPr/>
          <p:nvPr/>
        </p:nvSpPr>
        <p:spPr>
          <a:xfrm>
            <a:off x="3905734" y="1821996"/>
            <a:ext cx="1884066" cy="4107160"/>
          </a:xfrm>
          <a:prstGeom prst="roundRect">
            <a:avLst>
              <a:gd name="adj" fmla="val 6084"/>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7" name="Rounded Rectangle 8">
            <a:extLst>
              <a:ext uri="{FF2B5EF4-FFF2-40B4-BE49-F238E27FC236}">
                <a16:creationId xmlns:a16="http://schemas.microsoft.com/office/drawing/2014/main" id="{61FE8CBA-BEE0-5884-0488-FEE556A3F024}"/>
              </a:ext>
            </a:extLst>
          </p:cNvPr>
          <p:cNvSpPr/>
          <p:nvPr/>
        </p:nvSpPr>
        <p:spPr>
          <a:xfrm>
            <a:off x="3905736" y="1744657"/>
            <a:ext cx="1884065" cy="581397"/>
          </a:xfrm>
          <a:custGeom>
            <a:rect l="l" t="t" r="r" b="b"/>
            <a:pathLst>
              <a:path w="1800200" h="581397">
                <a:moveTo>
                  <a:pt x="109524" y="0"/>
                </a:moveTo>
                <a:lnTo>
                  <a:pt x="1690676" y="0"/>
                </a:lnTo>
                <a:cubicBezTo>
                  <a:pt x="1751164" y="0"/>
                  <a:pt x="1800200" y="49036"/>
                  <a:pt x="1800200" y="109524"/>
                </a:cubicBezTo>
                <a:lnTo>
                  <a:pt x="1800200" y="581397"/>
                </a:lnTo>
                <a:lnTo>
                  <a:pt x="0" y="581397"/>
                </a:lnTo>
                <a:lnTo>
                  <a:pt x="0" y="109524"/>
                </a:lnTo>
                <a:cubicBezTo>
                  <a:pt x="0" y="49036"/>
                  <a:pt x="49036" y="0"/>
                  <a:pt x="109524" y="0"/>
                </a:cubicBezTo>
                <a:close/>
              </a:path>
            </a:pathLst>
          </a:custGeom>
          <a:solidFill>
            <a:srgbClr val="00677F"/>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8" name="Rounded Rectangle 7">
            <a:extLst>
              <a:ext uri="{FF2B5EF4-FFF2-40B4-BE49-F238E27FC236}">
                <a16:creationId xmlns:a16="http://schemas.microsoft.com/office/drawing/2014/main" id="{1F04D630-6404-552D-4D48-9F186DBB1273}"/>
              </a:ext>
            </a:extLst>
          </p:cNvPr>
          <p:cNvSpPr/>
          <p:nvPr/>
        </p:nvSpPr>
        <p:spPr>
          <a:xfrm>
            <a:off x="6137992" y="1827328"/>
            <a:ext cx="1884066" cy="4107160"/>
          </a:xfrm>
          <a:prstGeom prst="roundRect">
            <a:avLst>
              <a:gd name="adj" fmla="val 6084"/>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9" name="Rounded Rectangle 8">
            <a:extLst>
              <a:ext uri="{FF2B5EF4-FFF2-40B4-BE49-F238E27FC236}">
                <a16:creationId xmlns:a16="http://schemas.microsoft.com/office/drawing/2014/main" id="{3C52165B-F6DF-EEE5-00D2-2F8D20BFB6B2}"/>
              </a:ext>
            </a:extLst>
          </p:cNvPr>
          <p:cNvSpPr/>
          <p:nvPr/>
        </p:nvSpPr>
        <p:spPr>
          <a:xfrm>
            <a:off x="6137994" y="1749989"/>
            <a:ext cx="1884065" cy="581397"/>
          </a:xfrm>
          <a:custGeom>
            <a:rect l="l" t="t" r="r" b="b"/>
            <a:pathLst>
              <a:path w="1800200" h="581397">
                <a:moveTo>
                  <a:pt x="109524" y="0"/>
                </a:moveTo>
                <a:lnTo>
                  <a:pt x="1690676" y="0"/>
                </a:lnTo>
                <a:cubicBezTo>
                  <a:pt x="1751164" y="0"/>
                  <a:pt x="1800200" y="49036"/>
                  <a:pt x="1800200" y="109524"/>
                </a:cubicBezTo>
                <a:lnTo>
                  <a:pt x="1800200" y="581397"/>
                </a:lnTo>
                <a:lnTo>
                  <a:pt x="0" y="581397"/>
                </a:lnTo>
                <a:lnTo>
                  <a:pt x="0" y="109524"/>
                </a:lnTo>
                <a:cubicBezTo>
                  <a:pt x="0" y="49036"/>
                  <a:pt x="49036" y="0"/>
                  <a:pt x="109524" y="0"/>
                </a:cubicBezTo>
                <a:close/>
              </a:path>
            </a:pathLst>
          </a:custGeom>
          <a:solidFill>
            <a:srgbClr val="00ABF7"/>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0" name="Rounded Rectangle 10">
            <a:extLst>
              <a:ext uri="{FF2B5EF4-FFF2-40B4-BE49-F238E27FC236}">
                <a16:creationId xmlns:a16="http://schemas.microsoft.com/office/drawing/2014/main" id="{45C0BD73-CA29-65AE-55CF-268CCD80246E}"/>
              </a:ext>
            </a:extLst>
          </p:cNvPr>
          <p:cNvSpPr/>
          <p:nvPr/>
        </p:nvSpPr>
        <p:spPr>
          <a:xfrm>
            <a:off x="8370250" y="1827328"/>
            <a:ext cx="1884066" cy="4107160"/>
          </a:xfrm>
          <a:prstGeom prst="roundRect">
            <a:avLst>
              <a:gd name="adj" fmla="val 6084"/>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1" name="Rounded Rectangle 8">
            <a:extLst>
              <a:ext uri="{FF2B5EF4-FFF2-40B4-BE49-F238E27FC236}">
                <a16:creationId xmlns:a16="http://schemas.microsoft.com/office/drawing/2014/main" id="{27B87AAB-BB30-C011-4D90-74483339C94C}"/>
              </a:ext>
            </a:extLst>
          </p:cNvPr>
          <p:cNvSpPr/>
          <p:nvPr/>
        </p:nvSpPr>
        <p:spPr>
          <a:xfrm>
            <a:off x="8370252" y="1749989"/>
            <a:ext cx="1884065" cy="581397"/>
          </a:xfrm>
          <a:custGeom>
            <a:rect l="l" t="t" r="r" b="b"/>
            <a:pathLst>
              <a:path w="1800200" h="581397">
                <a:moveTo>
                  <a:pt x="109524" y="0"/>
                </a:moveTo>
                <a:lnTo>
                  <a:pt x="1690676" y="0"/>
                </a:lnTo>
                <a:cubicBezTo>
                  <a:pt x="1751164" y="0"/>
                  <a:pt x="1800200" y="49036"/>
                  <a:pt x="1800200" y="109524"/>
                </a:cubicBezTo>
                <a:lnTo>
                  <a:pt x="1800200" y="581397"/>
                </a:lnTo>
                <a:lnTo>
                  <a:pt x="0" y="581397"/>
                </a:lnTo>
                <a:lnTo>
                  <a:pt x="0" y="109524"/>
                </a:lnTo>
                <a:cubicBezTo>
                  <a:pt x="0" y="49036"/>
                  <a:pt x="49036" y="0"/>
                  <a:pt x="109524" y="0"/>
                </a:cubicBezTo>
                <a:close/>
              </a:path>
            </a:pathLst>
          </a:custGeom>
          <a:solidFill>
            <a:srgbClr val="00677F"/>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nvGrpSpPr>
          <p:cNvPr id="12" name="Group 15">
            <a:extLst>
              <a:ext uri="{FF2B5EF4-FFF2-40B4-BE49-F238E27FC236}">
                <a16:creationId xmlns:a16="http://schemas.microsoft.com/office/drawing/2014/main" id="{E615A012-2296-88F1-5E5E-7ADAA7E53783}"/>
              </a:ext>
            </a:extLst>
          </p:cNvPr>
          <p:cNvGrpSpPr/>
          <p:nvPr/>
        </p:nvGrpSpPr>
        <p:grpSpPr>
          <a:xfrm>
            <a:off x="1737476" y="2525129"/>
            <a:ext cx="1616459" cy="2400658"/>
            <a:chOff x="819820" y="3646109"/>
            <a:chExt cx="1411829" cy="2400658"/>
          </a:xfrm>
          <a:noFill/>
        </p:grpSpPr>
        <p:sp>
          <p:nvSpPr>
            <p:cNvPr id="13" name="TextBox 16">
              <a:extLst>
                <a:ext uri="{FF2B5EF4-FFF2-40B4-BE49-F238E27FC236}">
                  <a16:creationId xmlns:a16="http://schemas.microsoft.com/office/drawing/2014/main" id="{0C408F95-CCCE-3DD3-CE89-8EE8D174867E}"/>
                </a:ext>
              </a:extLst>
            </p:cNvPr>
            <p:cNvSpPr txBox="1"/>
            <p:nvPr/>
          </p:nvSpPr>
          <p:spPr>
            <a:xfrm>
              <a:off x="819822" y="3646109"/>
              <a:ext cx="1411827" cy="276999"/>
            </a:xfrm>
            <a:prstGeom prst="rect">
              <a:avLst/>
            </a:prstGeom>
            <a:grpFill/>
          </p:spPr>
          <p:txBody>
            <a:bodyPr wrap="square" rtlCol="0">
              <a:spAutoFit/>
            </a:bodyPr>
            <a:lstStyle/>
            <a:p>
              <a:r>
                <a:rPr lang="en-US" altLang="ko-KR" sz="1200" b="1">
                  <a:solidFill>
                    <a:schemeClr val="tx1">
                      <a:lumMod val="75000"/>
                      <a:lumOff val="25000"/>
                    </a:schemeClr>
                  </a:solidFill>
                  <a:cs typeface="Arial" panose="020b0604020202020204" pitchFamily="34" charset="0"/>
                </a:rPr>
                <a:t>Your Text  Here</a:t>
              </a:r>
              <a:endParaRPr lang="ko-KR" altLang="en-US" sz="1200" b="1">
                <a:solidFill>
                  <a:schemeClr val="tx1">
                    <a:lumMod val="75000"/>
                    <a:lumOff val="25000"/>
                  </a:schemeClr>
                </a:solidFill>
                <a:cs typeface="Arial" panose="020b0604020202020204" pitchFamily="34" charset="0"/>
              </a:endParaRPr>
            </a:p>
          </p:txBody>
        </p:sp>
        <p:sp>
          <p:nvSpPr>
            <p:cNvPr id="14" name="TextBox 17">
              <a:extLst>
                <a:ext uri="{FF2B5EF4-FFF2-40B4-BE49-F238E27FC236}">
                  <a16:creationId xmlns:a16="http://schemas.microsoft.com/office/drawing/2014/main" id="{8031FB0B-7F3C-3C75-2D29-DC916D49E38C}"/>
                </a:ext>
              </a:extLst>
            </p:cNvPr>
            <p:cNvSpPr txBox="1"/>
            <p:nvPr/>
          </p:nvSpPr>
          <p:spPr>
            <a:xfrm>
              <a:off x="819820" y="3923109"/>
              <a:ext cx="1411827" cy="2123658"/>
            </a:xfrm>
            <a:prstGeom prst="rect">
              <a:avLst/>
            </a:prstGeom>
            <a:grpFill/>
          </p:spPr>
          <p:txBody>
            <a:bodyPr wrap="square" rtlCol="0">
              <a:spAutoFit/>
            </a:bodyPr>
            <a:lstStyle/>
            <a:p>
              <a:r>
                <a:rPr lang="en-US" altLang="ko-KR" sz="1200">
                  <a:solidFill>
                    <a:schemeClr val="tx1">
                      <a:lumMod val="75000"/>
                      <a:lumOff val="25000"/>
                    </a:schemeClr>
                  </a:solidFill>
                  <a:cs typeface="Arial" panose="020b0604020202020204" pitchFamily="34" charset="0"/>
                </a:rPr>
                <a:t>You can simply impress your audience and add a unique zing and appeal to your Presentations. You can simply impress your audience and add a unique zing and appeal to your Presentations.</a:t>
              </a:r>
              <a:endParaRPr lang="ko-KR" altLang="en-US" sz="1200">
                <a:solidFill>
                  <a:schemeClr val="tx1">
                    <a:lumMod val="75000"/>
                    <a:lumOff val="25000"/>
                  </a:schemeClr>
                </a:solidFill>
                <a:cs typeface="Arial" panose="020b0604020202020204" pitchFamily="34" charset="0"/>
              </a:endParaRPr>
            </a:p>
          </p:txBody>
        </p:sp>
      </p:grpSp>
      <p:grpSp>
        <p:nvGrpSpPr>
          <p:cNvPr id="15" name="Group 18">
            <a:extLst>
              <a:ext uri="{FF2B5EF4-FFF2-40B4-BE49-F238E27FC236}">
                <a16:creationId xmlns:a16="http://schemas.microsoft.com/office/drawing/2014/main" id="{08B7A232-A4B4-9617-879B-33ECD28286C8}"/>
              </a:ext>
            </a:extLst>
          </p:cNvPr>
          <p:cNvGrpSpPr/>
          <p:nvPr/>
        </p:nvGrpSpPr>
        <p:grpSpPr>
          <a:xfrm>
            <a:off x="6271797" y="2525129"/>
            <a:ext cx="1616459" cy="1846660"/>
            <a:chOff x="819820" y="3646109"/>
            <a:chExt cx="1411829" cy="1846660"/>
          </a:xfrm>
          <a:noFill/>
        </p:grpSpPr>
        <p:sp>
          <p:nvSpPr>
            <p:cNvPr id="16" name="TextBox 19">
              <a:extLst>
                <a:ext uri="{FF2B5EF4-FFF2-40B4-BE49-F238E27FC236}">
                  <a16:creationId xmlns:a16="http://schemas.microsoft.com/office/drawing/2014/main" id="{CBC72A18-665A-0848-925E-EA0EED92CF66}"/>
                </a:ext>
              </a:extLst>
            </p:cNvPr>
            <p:cNvSpPr txBox="1"/>
            <p:nvPr/>
          </p:nvSpPr>
          <p:spPr>
            <a:xfrm>
              <a:off x="819822" y="3646109"/>
              <a:ext cx="1411827" cy="276999"/>
            </a:xfrm>
            <a:prstGeom prst="rect">
              <a:avLst/>
            </a:prstGeom>
            <a:grpFill/>
          </p:spPr>
          <p:txBody>
            <a:bodyPr wrap="square" rtlCol="0">
              <a:spAutoFit/>
            </a:bodyPr>
            <a:lstStyle/>
            <a:p>
              <a:r>
                <a:rPr lang="en-US" altLang="ko-KR" sz="1200" b="1">
                  <a:solidFill>
                    <a:schemeClr val="tx1">
                      <a:lumMod val="75000"/>
                      <a:lumOff val="25000"/>
                    </a:schemeClr>
                  </a:solidFill>
                  <a:cs typeface="Arial" panose="020b0604020202020204" pitchFamily="34" charset="0"/>
                </a:rPr>
                <a:t>Your Text  Here</a:t>
              </a:r>
              <a:endParaRPr lang="ko-KR" altLang="en-US" sz="1200" b="1">
                <a:solidFill>
                  <a:schemeClr val="tx1">
                    <a:lumMod val="75000"/>
                    <a:lumOff val="25000"/>
                  </a:schemeClr>
                </a:solidFill>
                <a:cs typeface="Arial" panose="020b0604020202020204" pitchFamily="34" charset="0"/>
              </a:endParaRPr>
            </a:p>
          </p:txBody>
        </p:sp>
        <p:sp>
          <p:nvSpPr>
            <p:cNvPr id="17" name="TextBox 20">
              <a:extLst>
                <a:ext uri="{FF2B5EF4-FFF2-40B4-BE49-F238E27FC236}">
                  <a16:creationId xmlns:a16="http://schemas.microsoft.com/office/drawing/2014/main" id="{4D5556B0-F8F8-B949-C192-639E97067895}"/>
                </a:ext>
              </a:extLst>
            </p:cNvPr>
            <p:cNvSpPr txBox="1"/>
            <p:nvPr/>
          </p:nvSpPr>
          <p:spPr>
            <a:xfrm>
              <a:off x="819820" y="3923109"/>
              <a:ext cx="1411827" cy="1569660"/>
            </a:xfrm>
            <a:prstGeom prst="rect">
              <a:avLst/>
            </a:prstGeom>
            <a:grpFill/>
          </p:spPr>
          <p:txBody>
            <a:bodyPr wrap="square" rtlCol="0">
              <a:spAutoFit/>
            </a:bodyPr>
            <a:lstStyle/>
            <a:p>
              <a:r>
                <a:rPr lang="en-US" altLang="ko-KR" sz="1200">
                  <a:solidFill>
                    <a:schemeClr val="tx1">
                      <a:lumMod val="75000"/>
                      <a:lumOff val="25000"/>
                    </a:schemeClr>
                  </a:solidFill>
                  <a:cs typeface="Arial" panose="020b0604020202020204" pitchFamily="34" charset="0"/>
                </a:rPr>
                <a:t>You can simply impress your audience and add a unique zing and appeal to your Presentations. Easy to change colors, photos and Text. </a:t>
              </a:r>
              <a:endParaRPr lang="ko-KR" altLang="en-US" sz="1200">
                <a:solidFill>
                  <a:schemeClr val="tx1">
                    <a:lumMod val="75000"/>
                    <a:lumOff val="25000"/>
                  </a:schemeClr>
                </a:solidFill>
                <a:cs typeface="Arial" panose="020b0604020202020204" pitchFamily="34" charset="0"/>
              </a:endParaRPr>
            </a:p>
          </p:txBody>
        </p:sp>
      </p:grpSp>
      <p:grpSp>
        <p:nvGrpSpPr>
          <p:cNvPr id="18" name="Group 21">
            <a:extLst>
              <a:ext uri="{FF2B5EF4-FFF2-40B4-BE49-F238E27FC236}">
                <a16:creationId xmlns:a16="http://schemas.microsoft.com/office/drawing/2014/main" id="{6D28321B-464B-5A19-4F74-92AB936EBA69}"/>
              </a:ext>
            </a:extLst>
          </p:cNvPr>
          <p:cNvGrpSpPr/>
          <p:nvPr/>
        </p:nvGrpSpPr>
        <p:grpSpPr>
          <a:xfrm>
            <a:off x="8504055" y="2525129"/>
            <a:ext cx="1616459" cy="1477329"/>
            <a:chOff x="819820" y="3646109"/>
            <a:chExt cx="1411829" cy="1477329"/>
          </a:xfrm>
          <a:noFill/>
        </p:grpSpPr>
        <p:sp>
          <p:nvSpPr>
            <p:cNvPr id="19" name="TextBox 22">
              <a:extLst>
                <a:ext uri="{FF2B5EF4-FFF2-40B4-BE49-F238E27FC236}">
                  <a16:creationId xmlns:a16="http://schemas.microsoft.com/office/drawing/2014/main" id="{8DDDF316-3477-F838-20BB-B45961913577}"/>
                </a:ext>
              </a:extLst>
            </p:cNvPr>
            <p:cNvSpPr txBox="1"/>
            <p:nvPr/>
          </p:nvSpPr>
          <p:spPr>
            <a:xfrm>
              <a:off x="819822" y="3646109"/>
              <a:ext cx="1411827" cy="276999"/>
            </a:xfrm>
            <a:prstGeom prst="rect">
              <a:avLst/>
            </a:prstGeom>
            <a:grpFill/>
          </p:spPr>
          <p:txBody>
            <a:bodyPr wrap="square" rtlCol="0">
              <a:spAutoFit/>
            </a:bodyPr>
            <a:lstStyle/>
            <a:p>
              <a:r>
                <a:rPr lang="en-US" altLang="ko-KR" sz="1200" b="1">
                  <a:solidFill>
                    <a:schemeClr val="tx1">
                      <a:lumMod val="75000"/>
                      <a:lumOff val="25000"/>
                    </a:schemeClr>
                  </a:solidFill>
                  <a:cs typeface="Arial" panose="020b0604020202020204" pitchFamily="34" charset="0"/>
                </a:rPr>
                <a:t>Your Text  Here</a:t>
              </a:r>
              <a:endParaRPr lang="ko-KR" altLang="en-US" sz="1200" b="1">
                <a:solidFill>
                  <a:schemeClr val="tx1">
                    <a:lumMod val="75000"/>
                    <a:lumOff val="25000"/>
                  </a:schemeClr>
                </a:solidFill>
                <a:cs typeface="Arial" panose="020b0604020202020204" pitchFamily="34" charset="0"/>
              </a:endParaRPr>
            </a:p>
          </p:txBody>
        </p:sp>
        <p:sp>
          <p:nvSpPr>
            <p:cNvPr id="20" name="TextBox 23">
              <a:extLst>
                <a:ext uri="{FF2B5EF4-FFF2-40B4-BE49-F238E27FC236}">
                  <a16:creationId xmlns:a16="http://schemas.microsoft.com/office/drawing/2014/main" id="{C25833B0-5755-C700-7731-C3CD045FDB9A}"/>
                </a:ext>
              </a:extLst>
            </p:cNvPr>
            <p:cNvSpPr txBox="1"/>
            <p:nvPr/>
          </p:nvSpPr>
          <p:spPr>
            <a:xfrm>
              <a:off x="819820" y="3923109"/>
              <a:ext cx="1411827" cy="1200329"/>
            </a:xfrm>
            <a:prstGeom prst="rect">
              <a:avLst/>
            </a:prstGeom>
            <a:grpFill/>
          </p:spPr>
          <p:txBody>
            <a:bodyPr wrap="square" rtlCol="0">
              <a:spAutoFit/>
            </a:bodyPr>
            <a:lstStyle/>
            <a:p>
              <a:r>
                <a:rPr lang="en-US" altLang="ko-KR" sz="1200">
                  <a:solidFill>
                    <a:schemeClr val="tx1">
                      <a:lumMod val="75000"/>
                      <a:lumOff val="25000"/>
                    </a:schemeClr>
                  </a:solidFill>
                  <a:cs typeface="Arial" panose="020b0604020202020204" pitchFamily="34" charset="0"/>
                </a:rPr>
                <a:t>You can simply impress your audience and add a unique zing and appeal to your Presentations. </a:t>
              </a:r>
              <a:endParaRPr lang="ko-KR" altLang="en-US" sz="1200">
                <a:solidFill>
                  <a:schemeClr val="tx1">
                    <a:lumMod val="75000"/>
                    <a:lumOff val="25000"/>
                  </a:schemeClr>
                </a:solidFill>
                <a:cs typeface="Arial" panose="020b0604020202020204" pitchFamily="34" charset="0"/>
              </a:endParaRPr>
            </a:p>
          </p:txBody>
        </p:sp>
      </p:grpSp>
      <p:sp>
        <p:nvSpPr>
          <p:cNvPr id="21" name="직사각형 113">
            <a:extLst>
              <a:ext uri="{FF2B5EF4-FFF2-40B4-BE49-F238E27FC236}">
                <a16:creationId xmlns:a16="http://schemas.microsoft.com/office/drawing/2014/main" id="{87BA16D7-0F00-9D96-FB19-EE11FCE77C18}"/>
              </a:ext>
            </a:extLst>
          </p:cNvPr>
          <p:cNvSpPr>
            <a:spLocks noChangeArrowheads="1"/>
          </p:cNvSpPr>
          <p:nvPr/>
        </p:nvSpPr>
        <p:spPr bwMode="auto">
          <a:xfrm>
            <a:off x="8862664" y="1841449"/>
            <a:ext cx="899241" cy="400110"/>
          </a:xfrm>
          <a:prstGeom prst="rect">
            <a:avLst/>
          </a:prstGeom>
          <a:noFill/>
          <a:ln w="9525">
            <a:noFill/>
            <a:miter lim="800000"/>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sz="2000" b="1">
                <a:solidFill>
                  <a:schemeClr val="bg1"/>
                </a:solidFill>
                <a:cs typeface="Arial"/>
              </a:rPr>
              <a:t>2019</a:t>
            </a:r>
            <a:endParaRPr lang="ko-KR" altLang="en-US" sz="2000">
              <a:solidFill>
                <a:schemeClr val="bg1"/>
              </a:solidFill>
            </a:endParaRPr>
          </a:p>
        </p:txBody>
      </p:sp>
      <p:sp>
        <p:nvSpPr>
          <p:cNvPr id="22" name="직사각형 113">
            <a:extLst>
              <a:ext uri="{FF2B5EF4-FFF2-40B4-BE49-F238E27FC236}">
                <a16:creationId xmlns:a16="http://schemas.microsoft.com/office/drawing/2014/main" id="{3FBA7C7B-BC22-084C-8721-3184648D2205}"/>
              </a:ext>
            </a:extLst>
          </p:cNvPr>
          <p:cNvSpPr>
            <a:spLocks noChangeArrowheads="1"/>
          </p:cNvSpPr>
          <p:nvPr/>
        </p:nvSpPr>
        <p:spPr bwMode="auto">
          <a:xfrm>
            <a:off x="6630406" y="1850963"/>
            <a:ext cx="899241" cy="400110"/>
          </a:xfrm>
          <a:prstGeom prst="rect">
            <a:avLst/>
          </a:prstGeom>
          <a:noFill/>
          <a:ln w="9525">
            <a:noFill/>
            <a:miter lim="800000"/>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sz="2000" b="1">
                <a:solidFill>
                  <a:schemeClr val="bg1"/>
                </a:solidFill>
                <a:cs typeface="Arial"/>
              </a:rPr>
              <a:t>2018</a:t>
            </a:r>
            <a:endParaRPr lang="ko-KR" altLang="en-US" sz="2000">
              <a:solidFill>
                <a:schemeClr val="bg1"/>
              </a:solidFill>
            </a:endParaRPr>
          </a:p>
        </p:txBody>
      </p:sp>
      <p:sp>
        <p:nvSpPr>
          <p:cNvPr id="23" name="직사각형 113">
            <a:extLst>
              <a:ext uri="{FF2B5EF4-FFF2-40B4-BE49-F238E27FC236}">
                <a16:creationId xmlns:a16="http://schemas.microsoft.com/office/drawing/2014/main" id="{FC9092B4-17C6-F6BA-6F25-C6989CD0DA60}"/>
              </a:ext>
            </a:extLst>
          </p:cNvPr>
          <p:cNvSpPr>
            <a:spLocks noChangeArrowheads="1"/>
          </p:cNvSpPr>
          <p:nvPr/>
        </p:nvSpPr>
        <p:spPr bwMode="auto">
          <a:xfrm>
            <a:off x="4398148" y="1850963"/>
            <a:ext cx="899241" cy="400110"/>
          </a:xfrm>
          <a:prstGeom prst="rect">
            <a:avLst/>
          </a:prstGeom>
          <a:noFill/>
          <a:ln w="9525">
            <a:noFill/>
            <a:miter lim="800000"/>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sz="2000" b="1">
                <a:solidFill>
                  <a:schemeClr val="bg1"/>
                </a:solidFill>
                <a:cs typeface="Arial"/>
              </a:rPr>
              <a:t>2017</a:t>
            </a:r>
            <a:endParaRPr lang="ko-KR" altLang="en-US" sz="2000">
              <a:solidFill>
                <a:schemeClr val="bg1"/>
              </a:solidFill>
            </a:endParaRPr>
          </a:p>
        </p:txBody>
      </p:sp>
      <p:sp>
        <p:nvSpPr>
          <p:cNvPr id="24" name="직사각형 113">
            <a:extLst>
              <a:ext uri="{FF2B5EF4-FFF2-40B4-BE49-F238E27FC236}">
                <a16:creationId xmlns:a16="http://schemas.microsoft.com/office/drawing/2014/main" id="{CBAB204D-B64B-1D51-D1DF-9BDCB8E4F872}"/>
              </a:ext>
            </a:extLst>
          </p:cNvPr>
          <p:cNvSpPr>
            <a:spLocks noChangeArrowheads="1"/>
          </p:cNvSpPr>
          <p:nvPr/>
        </p:nvSpPr>
        <p:spPr bwMode="auto">
          <a:xfrm>
            <a:off x="2093797" y="1836117"/>
            <a:ext cx="899241" cy="400110"/>
          </a:xfrm>
          <a:prstGeom prst="rect">
            <a:avLst/>
          </a:prstGeom>
          <a:noFill/>
          <a:ln w="9525">
            <a:noFill/>
            <a:miter lim="800000"/>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sz="2000" b="1">
                <a:solidFill>
                  <a:schemeClr val="bg1"/>
                </a:solidFill>
                <a:cs typeface="Arial"/>
              </a:rPr>
              <a:t>2016</a:t>
            </a:r>
            <a:endParaRPr lang="ko-KR" altLang="en-US" sz="2000">
              <a:solidFill>
                <a:schemeClr val="bg1"/>
              </a:solidFill>
            </a:endParaRPr>
          </a:p>
        </p:txBody>
      </p:sp>
      <p:grpSp>
        <p:nvGrpSpPr>
          <p:cNvPr id="25" name="Group 24">
            <a:extLst>
              <a:ext uri="{FF2B5EF4-FFF2-40B4-BE49-F238E27FC236}">
                <a16:creationId xmlns:a16="http://schemas.microsoft.com/office/drawing/2014/main" id="{273A80C5-45BC-F3B2-8F11-302C4F7437B4}"/>
              </a:ext>
            </a:extLst>
          </p:cNvPr>
          <p:cNvGrpSpPr/>
          <p:nvPr/>
        </p:nvGrpSpPr>
        <p:grpSpPr>
          <a:xfrm>
            <a:off x="4039537" y="2525129"/>
            <a:ext cx="1616459" cy="2031326"/>
            <a:chOff x="819820" y="3646109"/>
            <a:chExt cx="1411829" cy="2031326"/>
          </a:xfrm>
          <a:noFill/>
        </p:grpSpPr>
        <p:sp>
          <p:nvSpPr>
            <p:cNvPr id="26" name="TextBox 25">
              <a:extLst>
                <a:ext uri="{FF2B5EF4-FFF2-40B4-BE49-F238E27FC236}">
                  <a16:creationId xmlns:a16="http://schemas.microsoft.com/office/drawing/2014/main" id="{BB4A11AD-4243-FE77-00CA-45AE873E8F94}"/>
                </a:ext>
              </a:extLst>
            </p:cNvPr>
            <p:cNvSpPr txBox="1"/>
            <p:nvPr/>
          </p:nvSpPr>
          <p:spPr>
            <a:xfrm>
              <a:off x="819822" y="3646109"/>
              <a:ext cx="1411827" cy="276999"/>
            </a:xfrm>
            <a:prstGeom prst="rect">
              <a:avLst/>
            </a:prstGeom>
            <a:grpFill/>
          </p:spPr>
          <p:txBody>
            <a:bodyPr wrap="square" rtlCol="0">
              <a:spAutoFit/>
            </a:bodyPr>
            <a:lstStyle/>
            <a:p>
              <a:r>
                <a:rPr lang="en-US" altLang="ko-KR" sz="1200" b="1">
                  <a:solidFill>
                    <a:schemeClr val="tx1">
                      <a:lumMod val="75000"/>
                      <a:lumOff val="25000"/>
                    </a:schemeClr>
                  </a:solidFill>
                  <a:cs typeface="Arial" panose="020b0604020202020204" pitchFamily="34" charset="0"/>
                </a:rPr>
                <a:t>Your Text  Here</a:t>
              </a:r>
              <a:endParaRPr lang="ko-KR" altLang="en-US" sz="1200" b="1">
                <a:solidFill>
                  <a:schemeClr val="tx1">
                    <a:lumMod val="75000"/>
                    <a:lumOff val="25000"/>
                  </a:schemeClr>
                </a:solidFill>
                <a:cs typeface="Arial" panose="020b0604020202020204" pitchFamily="34" charset="0"/>
              </a:endParaRPr>
            </a:p>
          </p:txBody>
        </p:sp>
        <p:sp>
          <p:nvSpPr>
            <p:cNvPr id="27" name="TextBox 26">
              <a:extLst>
                <a:ext uri="{FF2B5EF4-FFF2-40B4-BE49-F238E27FC236}">
                  <a16:creationId xmlns:a16="http://schemas.microsoft.com/office/drawing/2014/main" id="{FED15EC4-0860-B56D-2A53-FD4201510A66}"/>
                </a:ext>
              </a:extLst>
            </p:cNvPr>
            <p:cNvSpPr txBox="1"/>
            <p:nvPr/>
          </p:nvSpPr>
          <p:spPr>
            <a:xfrm>
              <a:off x="819820" y="3923109"/>
              <a:ext cx="1411827" cy="1754326"/>
            </a:xfrm>
            <a:prstGeom prst="rect">
              <a:avLst/>
            </a:prstGeom>
            <a:grpFill/>
          </p:spPr>
          <p:txBody>
            <a:bodyPr wrap="square" rtlCol="0">
              <a:spAutoFit/>
            </a:bodyPr>
            <a:lstStyle/>
            <a:p>
              <a:r>
                <a:rPr lang="en-US" altLang="ko-KR" sz="1200">
                  <a:solidFill>
                    <a:schemeClr val="tx1">
                      <a:lumMod val="75000"/>
                      <a:lumOff val="25000"/>
                    </a:schemeClr>
                  </a:solidFill>
                  <a:cs typeface="Arial" panose="020b0604020202020204" pitchFamily="34" charset="0"/>
                </a:rPr>
                <a:t>You can simply impress your audience and add a unique zing and appeal to your Presentations. Get a modern PowerPoint  Presentation that is beautifully designed. </a:t>
              </a:r>
              <a:endParaRPr lang="ko-KR" altLang="en-US" sz="1200">
                <a:solidFill>
                  <a:schemeClr val="tx1">
                    <a:lumMod val="75000"/>
                    <a:lumOff val="25000"/>
                  </a:schemeClr>
                </a:solidFill>
                <a:cs typeface="Arial" panose="020b0604020202020204" pitchFamily="34" charset="0"/>
              </a:endParaRPr>
            </a:p>
          </p:txBody>
        </p:sp>
      </p:grpSp>
      <p:pic>
        <p:nvPicPr>
          <p:cNvPr id="28" name="Marcador de posición de imagen 18">
            <a:extLst>
              <a:ext uri="{FF2B5EF4-FFF2-40B4-BE49-F238E27FC236}">
                <a16:creationId xmlns:a16="http://schemas.microsoft.com/office/drawing/2014/main" id="{4A2EDC06-76A4-1BAE-FF02-5002C6B1C22F}"/>
              </a:ext>
            </a:extLst>
          </p:cNvPr>
          <p:cNvPicPr>
            <a:picLocks noChangeAspect="1"/>
          </p:cNvPicPr>
          <p:nvPr/>
        </p:nvPicPr>
        <p:blipFill>
          <a:blip r:embed="rId2"/>
          <a:srcRect l="26518" r="26518"/>
          <a:stretch>
            <a:fillRect/>
          </a:stretch>
        </p:blipFill>
        <p:spPr>
          <a:xfrm>
            <a:off x="1873978" y="5181658"/>
            <a:ext cx="1338878" cy="1343746"/>
          </a:xfrm>
          <a:prstGeom prst="ellipse">
            <a:avLst/>
          </a:prstGeom>
          <a:effectLst>
            <a:glow>
              <a:schemeClr val="tx1">
                <a:alpha val="65000"/>
              </a:schemeClr>
            </a:glow>
          </a:effectLst>
        </p:spPr>
      </p:pic>
      <p:pic>
        <p:nvPicPr>
          <p:cNvPr id="29" name="Marcador de posición de imagen 20">
            <a:extLst>
              <a:ext uri="{FF2B5EF4-FFF2-40B4-BE49-F238E27FC236}">
                <a16:creationId xmlns:a16="http://schemas.microsoft.com/office/drawing/2014/main" id="{F1EB0FCE-0FA3-A102-EC31-5B22701D9FA0}"/>
              </a:ext>
            </a:extLst>
          </p:cNvPr>
          <p:cNvPicPr>
            <a:picLocks noChangeAspect="1"/>
          </p:cNvPicPr>
          <p:nvPr/>
        </p:nvPicPr>
        <p:blipFill>
          <a:blip r:embed="rId3"/>
          <a:srcRect l="26518" r="26518"/>
          <a:stretch>
            <a:fillRect/>
          </a:stretch>
        </p:blipFill>
        <p:spPr>
          <a:xfrm>
            <a:off x="4162664" y="5240323"/>
            <a:ext cx="1370201" cy="1375183"/>
          </a:xfrm>
          <a:prstGeom prst="ellipse">
            <a:avLst/>
          </a:prstGeom>
          <a:effectLst>
            <a:glow>
              <a:schemeClr val="tx1">
                <a:alpha val="60000"/>
              </a:schemeClr>
            </a:glow>
          </a:effectLst>
        </p:spPr>
      </p:pic>
      <p:pic>
        <p:nvPicPr>
          <p:cNvPr id="30" name="Marcador de posición de imagen 18">
            <a:extLst>
              <a:ext uri="{FF2B5EF4-FFF2-40B4-BE49-F238E27FC236}">
                <a16:creationId xmlns:a16="http://schemas.microsoft.com/office/drawing/2014/main" id="{CBAE0400-BE7D-77D2-3131-44BB6E8AC106}"/>
              </a:ext>
            </a:extLst>
          </p:cNvPr>
          <p:cNvPicPr>
            <a:picLocks noChangeAspect="1"/>
          </p:cNvPicPr>
          <p:nvPr/>
        </p:nvPicPr>
        <p:blipFill>
          <a:blip r:embed="rId2"/>
          <a:srcRect l="26518" r="26518"/>
          <a:stretch>
            <a:fillRect/>
          </a:stretch>
        </p:blipFill>
        <p:spPr>
          <a:xfrm>
            <a:off x="6394927" y="5171664"/>
            <a:ext cx="1338878" cy="1343746"/>
          </a:xfrm>
          <a:prstGeom prst="ellipse">
            <a:avLst/>
          </a:prstGeom>
          <a:effectLst>
            <a:glow>
              <a:schemeClr val="tx1">
                <a:alpha val="65000"/>
              </a:schemeClr>
            </a:glow>
          </a:effectLst>
        </p:spPr>
      </p:pic>
      <p:pic>
        <p:nvPicPr>
          <p:cNvPr id="31" name="Marcador de posición de imagen 20">
            <a:extLst>
              <a:ext uri="{FF2B5EF4-FFF2-40B4-BE49-F238E27FC236}">
                <a16:creationId xmlns:a16="http://schemas.microsoft.com/office/drawing/2014/main" id="{22C86720-3BE3-8248-0B2C-51CD6AB30567}"/>
              </a:ext>
            </a:extLst>
          </p:cNvPr>
          <p:cNvPicPr>
            <a:picLocks noChangeAspect="1"/>
          </p:cNvPicPr>
          <p:nvPr/>
        </p:nvPicPr>
        <p:blipFill>
          <a:blip r:embed="rId3"/>
          <a:srcRect l="26518" r="26518"/>
          <a:stretch>
            <a:fillRect/>
          </a:stretch>
        </p:blipFill>
        <p:spPr>
          <a:xfrm>
            <a:off x="8595867" y="5240323"/>
            <a:ext cx="1370201" cy="1375183"/>
          </a:xfrm>
          <a:prstGeom prst="ellipse">
            <a:avLst/>
          </a:prstGeom>
          <a:effectLst>
            <a:glow>
              <a:schemeClr val="tx1">
                <a:alpha val="60000"/>
              </a:schemeClr>
            </a:glow>
          </a:effectLst>
        </p:spPr>
      </p:pic>
      <p:sp>
        <p:nvSpPr>
          <p:cNvPr id="32" name="TextBox 9">
            <a:extLst>
              <a:ext uri="{FF2B5EF4-FFF2-40B4-BE49-F238E27FC236}">
                <a16:creationId xmlns:a16="http://schemas.microsoft.com/office/drawing/2014/main" id="{88552CB5-FF31-F963-CDF0-0D16756DFF2E}"/>
              </a:ext>
            </a:extLst>
          </p:cNvPr>
          <p:cNvSpPr txBox="1"/>
          <p:nvPr/>
        </p:nvSpPr>
        <p:spPr>
          <a:xfrm>
            <a:off x="914171" y="127378"/>
            <a:ext cx="3876061" cy="923330"/>
          </a:xfrm>
          <a:prstGeom prst="rect">
            <a:avLst/>
          </a:prstGeom>
          <a:noFill/>
        </p:spPr>
        <p:txBody>
          <a:bodyPr wrap="none" lIns="0" tIns="0" rIns="0" bIns="0" rtlCol="0">
            <a:spAutoFit/>
          </a:bodyPr>
          <a:lstStyle/>
          <a:p>
            <a:r>
              <a:rPr lang="en-US" sz="6000" b="1">
                <a:solidFill>
                  <a:schemeClr val="tx1">
                    <a:lumMod val="65000"/>
                    <a:lumOff val="35000"/>
                  </a:schemeClr>
                </a:solidFill>
                <a:latin typeface="Segoe UI" panose="020b0502040204020203" pitchFamily="34" charset="0"/>
                <a:cs typeface="Segoe UI" panose="020b0502040204020203" pitchFamily="34" charset="0"/>
              </a:rPr>
              <a:t>BAHAMAS</a:t>
            </a:r>
          </a:p>
        </p:txBody>
      </p:sp>
      <p:sp>
        <p:nvSpPr>
          <p:cNvPr id="33" name="TextBox 9">
            <a:extLst>
              <a:ext uri="{FF2B5EF4-FFF2-40B4-BE49-F238E27FC236}">
                <a16:creationId xmlns:a16="http://schemas.microsoft.com/office/drawing/2014/main" id="{A8EB542E-ADE6-0836-5731-BF51A59E5DD7}"/>
              </a:ext>
            </a:extLst>
          </p:cNvPr>
          <p:cNvSpPr txBox="1"/>
          <p:nvPr/>
        </p:nvSpPr>
        <p:spPr>
          <a:xfrm>
            <a:off x="911835" y="1034371"/>
            <a:ext cx="2068067" cy="430887"/>
          </a:xfrm>
          <a:prstGeom prst="rect">
            <a:avLst/>
          </a:prstGeom>
          <a:noFill/>
        </p:spPr>
        <p:txBody>
          <a:bodyPr wrap="none" lIns="0" tIns="0" rIns="0" bIns="0" rtlCol="0">
            <a:spAutoFit/>
          </a:bodyPr>
          <a:lstStyle/>
          <a:p>
            <a:pPr algn="ctr"/>
            <a:r>
              <a:rPr lang="en-US" sz="2800" b="1">
                <a:solidFill>
                  <a:srgbClr val="02BAC8"/>
                </a:solidFill>
                <a:latin typeface="Segoe UI" panose="020b0502040204020203" pitchFamily="34" charset="0"/>
                <a:cs typeface="Segoe UI" panose="020b0502040204020203" pitchFamily="34" charset="0"/>
              </a:rPr>
              <a:t>Gastronomy</a:t>
            </a:r>
          </a:p>
        </p:txBody>
      </p:sp>
      <p:grpSp>
        <p:nvGrpSpPr>
          <p:cNvPr id="34" name="Grupo 33">
            <a:extLst>
              <a:ext uri="{FF2B5EF4-FFF2-40B4-BE49-F238E27FC236}">
                <a16:creationId xmlns:a16="http://schemas.microsoft.com/office/drawing/2014/main" id="{170D32FA-B2C4-EBB1-91D2-114BE8F4EE33}"/>
              </a:ext>
            </a:extLst>
          </p:cNvPr>
          <p:cNvGrpSpPr/>
          <p:nvPr/>
        </p:nvGrpSpPr>
        <p:grpSpPr>
          <a:xfrm>
            <a:off x="217726" y="24829"/>
            <a:ext cx="792527" cy="1306401"/>
            <a:chOff x="283851" y="5461857"/>
            <a:chExt cx="846969" cy="1396143"/>
          </a:xfrm>
          <a:solidFill>
            <a:srgbClr val="06DBE7"/>
          </a:solidFill>
        </p:grpSpPr>
        <p:sp>
          <p:nvSpPr>
            <p:cNvPr id="35" name="Forma libre: forma 34">
              <a:extLst>
                <a:ext uri="{FF2B5EF4-FFF2-40B4-BE49-F238E27FC236}">
                  <a16:creationId xmlns:a16="http://schemas.microsoft.com/office/drawing/2014/main" id="{24C18502-3E89-3206-255C-7423FA670D1B}"/>
                </a:ext>
              </a:extLst>
            </p:cNvPr>
            <p:cNvSpPr/>
            <p:nvPr/>
          </p:nvSpPr>
          <p:spPr>
            <a:xfrm>
              <a:off x="283851" y="5461857"/>
              <a:ext cx="846969" cy="468186"/>
            </a:xfrm>
            <a:custGeom>
              <a:gdLst>
                <a:gd name="connsiteX0" fmla="*/ 585515 w 846969"/>
                <a:gd name="connsiteY0" fmla="*/ 123160 h 468186"/>
                <a:gd name="connsiteX1" fmla="*/ 374091 w 846969"/>
                <a:gd name="connsiteY1" fmla="*/ 150510 h 468186"/>
                <a:gd name="connsiteX2" fmla="*/ 58700 w 846969"/>
                <a:gd name="connsiteY2" fmla="*/ 260683 h 468186"/>
                <a:gd name="connsiteX3" fmla="*/ 7105 w 846969"/>
                <a:gd name="connsiteY3" fmla="*/ 260683 h 468186"/>
                <a:gd name="connsiteX4" fmla="*/ 14476 w 846969"/>
                <a:gd name="connsiteY4" fmla="*/ 205208 h 468186"/>
                <a:gd name="connsiteX5" fmla="*/ 215232 w 846969"/>
                <a:gd name="connsiteY5" fmla="*/ 41694 h 468186"/>
                <a:gd name="connsiteX6" fmla="*/ 547303 w 846969"/>
                <a:gd name="connsiteY6" fmla="*/ 4259 h 468186"/>
                <a:gd name="connsiteX7" fmla="*/ 805280 w 846969"/>
                <a:gd name="connsiteY7" fmla="*/ 54302 h 468186"/>
                <a:gd name="connsiteX8" fmla="*/ 846788 w 846969"/>
                <a:gd name="connsiteY8" fmla="*/ 87470 h 468186"/>
                <a:gd name="connsiteX9" fmla="*/ 815366 w 846969"/>
                <a:gd name="connsiteY9" fmla="*/ 131307 h 468186"/>
                <a:gd name="connsiteX10" fmla="*/ 705968 w 846969"/>
                <a:gd name="connsiteY10" fmla="*/ 242644 h 468186"/>
                <a:gd name="connsiteX11" fmla="*/ 376612 w 846969"/>
                <a:gd name="connsiteY11" fmla="*/ 464348 h 468186"/>
                <a:gd name="connsiteX12" fmla="*/ 89735 w 846969"/>
                <a:gd name="connsiteY12" fmla="*/ 417990 h 468186"/>
                <a:gd name="connsiteX13" fmla="*/ 60058 w 846969"/>
                <a:gd name="connsiteY13" fmla="*/ 386762 h 468186"/>
                <a:gd name="connsiteX14" fmla="*/ 86826 w 846969"/>
                <a:gd name="connsiteY14" fmla="*/ 349326 h 468186"/>
                <a:gd name="connsiteX15" fmla="*/ 550407 w 846969"/>
                <a:gd name="connsiteY15" fmla="*/ 135186 h 468186"/>
                <a:gd name="connsiteX16" fmla="*/ 585321 w 846969"/>
                <a:gd name="connsiteY16" fmla="*/ 123160 h 46818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46969" h="468186">
                  <a:moveTo>
                    <a:pt x="585515" y="123160"/>
                  </a:moveTo>
                  <a:cubicBezTo>
                    <a:pt x="513747" y="122191"/>
                    <a:pt x="443531" y="133829"/>
                    <a:pt x="374091" y="150510"/>
                  </a:cubicBezTo>
                  <a:cubicBezTo>
                    <a:pt x="265275" y="176501"/>
                    <a:pt x="159757" y="212385"/>
                    <a:pt x="58700" y="260683"/>
                  </a:cubicBezTo>
                  <a:cubicBezTo>
                    <a:pt x="41631" y="268830"/>
                    <a:pt x="22816" y="281050"/>
                    <a:pt x="7105" y="260683"/>
                  </a:cubicBezTo>
                  <a:cubicBezTo>
                    <a:pt x="-7636" y="241480"/>
                    <a:pt x="3420" y="222278"/>
                    <a:pt x="14476" y="205208"/>
                  </a:cubicBezTo>
                  <a:cubicBezTo>
                    <a:pt x="63162" y="128591"/>
                    <a:pt x="132990" y="77578"/>
                    <a:pt x="215232" y="41694"/>
                  </a:cubicBezTo>
                  <a:cubicBezTo>
                    <a:pt x="322108" y="-5052"/>
                    <a:pt x="434802" y="-3694"/>
                    <a:pt x="547303" y="4259"/>
                  </a:cubicBezTo>
                  <a:cubicBezTo>
                    <a:pt x="634977" y="10660"/>
                    <a:pt x="720710" y="30638"/>
                    <a:pt x="805280" y="54302"/>
                  </a:cubicBezTo>
                  <a:cubicBezTo>
                    <a:pt x="823706" y="59345"/>
                    <a:pt x="844655" y="64000"/>
                    <a:pt x="846788" y="87470"/>
                  </a:cubicBezTo>
                  <a:cubicBezTo>
                    <a:pt x="848922" y="109583"/>
                    <a:pt x="831853" y="120639"/>
                    <a:pt x="815366" y="131307"/>
                  </a:cubicBezTo>
                  <a:cubicBezTo>
                    <a:pt x="770753" y="160402"/>
                    <a:pt x="734094" y="197450"/>
                    <a:pt x="705968" y="242644"/>
                  </a:cubicBezTo>
                  <a:cubicBezTo>
                    <a:pt x="629351" y="366007"/>
                    <a:pt x="524415" y="447279"/>
                    <a:pt x="376612" y="464348"/>
                  </a:cubicBezTo>
                  <a:cubicBezTo>
                    <a:pt x="276913" y="475792"/>
                    <a:pt x="180706" y="462021"/>
                    <a:pt x="89735" y="417990"/>
                  </a:cubicBezTo>
                  <a:cubicBezTo>
                    <a:pt x="75769" y="411201"/>
                    <a:pt x="60640" y="405188"/>
                    <a:pt x="60058" y="386762"/>
                  </a:cubicBezTo>
                  <a:cubicBezTo>
                    <a:pt x="59476" y="368141"/>
                    <a:pt x="72278" y="358248"/>
                    <a:pt x="86826" y="349326"/>
                  </a:cubicBezTo>
                  <a:cubicBezTo>
                    <a:pt x="232689" y="258937"/>
                    <a:pt x="387281" y="187945"/>
                    <a:pt x="550407" y="135186"/>
                  </a:cubicBezTo>
                  <a:cubicBezTo>
                    <a:pt x="562045" y="131501"/>
                    <a:pt x="573683" y="127234"/>
                    <a:pt x="585321" y="123160"/>
                  </a:cubicBezTo>
                  <a:close/>
                </a:path>
              </a:pathLst>
            </a:custGeom>
            <a:solidFill>
              <a:srgbClr val="00ABF7"/>
            </a:solidFill>
            <a:ln w="19266" cap="flat">
              <a:noFill/>
              <a:prstDash val="solid"/>
              <a:miter/>
            </a:ln>
          </p:spPr>
          <p:txBody>
            <a:bodyPr rtlCol="0" anchor="ctr"/>
            <a:lstStyle/>
            <a:p>
              <a:endParaRPr lang="es-PE"/>
            </a:p>
          </p:txBody>
        </p:sp>
        <p:sp>
          <p:nvSpPr>
            <p:cNvPr id="36" name="Forma libre: forma 35">
              <a:extLst>
                <a:ext uri="{FF2B5EF4-FFF2-40B4-BE49-F238E27FC236}">
                  <a16:creationId xmlns:a16="http://schemas.microsoft.com/office/drawing/2014/main" id="{A6B7E9A7-72E7-D65A-3ABD-0A5795E32546}"/>
                </a:ext>
              </a:extLst>
            </p:cNvPr>
            <p:cNvSpPr/>
            <p:nvPr/>
          </p:nvSpPr>
          <p:spPr>
            <a:xfrm>
              <a:off x="507131" y="5943613"/>
              <a:ext cx="297179" cy="914387"/>
            </a:xfrm>
            <a:custGeom>
              <a:gdLst>
                <a:gd name="connsiteX0" fmla="*/ 76327 w 297179"/>
                <a:gd name="connsiteY0" fmla="*/ 250461 h 914387"/>
                <a:gd name="connsiteX1" fmla="*/ 87189 w 297179"/>
                <a:gd name="connsiteY1" fmla="*/ 213801 h 914387"/>
                <a:gd name="connsiteX2" fmla="*/ 91651 w 297179"/>
                <a:gd name="connsiteY2" fmla="*/ 56494 h 914387"/>
                <a:gd name="connsiteX3" fmla="*/ 107168 w 297179"/>
                <a:gd name="connsiteY3" fmla="*/ 30114 h 914387"/>
                <a:gd name="connsiteX4" fmla="*/ 134323 w 297179"/>
                <a:gd name="connsiteY4" fmla="*/ 56106 h 914387"/>
                <a:gd name="connsiteX5" fmla="*/ 139366 w 297179"/>
                <a:gd name="connsiteY5" fmla="*/ 216128 h 914387"/>
                <a:gd name="connsiteX6" fmla="*/ 149065 w 297179"/>
                <a:gd name="connsiteY6" fmla="*/ 248133 h 914387"/>
                <a:gd name="connsiteX7" fmla="*/ 159733 w 297179"/>
                <a:gd name="connsiteY7" fmla="*/ 208176 h 914387"/>
                <a:gd name="connsiteX8" fmla="*/ 161091 w 297179"/>
                <a:gd name="connsiteY8" fmla="*/ 65028 h 914387"/>
                <a:gd name="connsiteX9" fmla="*/ 161867 w 297179"/>
                <a:gd name="connsiteY9" fmla="*/ 42140 h 914387"/>
                <a:gd name="connsiteX10" fmla="*/ 189798 w 297179"/>
                <a:gd name="connsiteY10" fmla="*/ 20416 h 914387"/>
                <a:gd name="connsiteX11" fmla="*/ 205121 w 297179"/>
                <a:gd name="connsiteY11" fmla="*/ 42916 h 914387"/>
                <a:gd name="connsiteX12" fmla="*/ 208613 w 297179"/>
                <a:gd name="connsiteY12" fmla="*/ 214577 h 914387"/>
                <a:gd name="connsiteX13" fmla="*/ 218699 w 297179"/>
                <a:gd name="connsiteY13" fmla="*/ 245805 h 914387"/>
                <a:gd name="connsiteX14" fmla="*/ 229173 w 297179"/>
                <a:gd name="connsiteY14" fmla="*/ 214965 h 914387"/>
                <a:gd name="connsiteX15" fmla="*/ 234604 w 297179"/>
                <a:gd name="connsiteY15" fmla="*/ 37679 h 914387"/>
                <a:gd name="connsiteX16" fmla="*/ 235574 w 297179"/>
                <a:gd name="connsiteY16" fmla="*/ 20610 h 914387"/>
                <a:gd name="connsiteX17" fmla="*/ 266027 w 297179"/>
                <a:gd name="connsiteY17" fmla="*/ 49 h 914387"/>
                <a:gd name="connsiteX18" fmla="*/ 279217 w 297179"/>
                <a:gd name="connsiteY18" fmla="*/ 20998 h 914387"/>
                <a:gd name="connsiteX19" fmla="*/ 296480 w 297179"/>
                <a:gd name="connsiteY19" fmla="*/ 271991 h 914387"/>
                <a:gd name="connsiteX20" fmla="*/ 245660 w 297179"/>
                <a:gd name="connsiteY20" fmla="*/ 388953 h 914387"/>
                <a:gd name="connsiteX21" fmla="*/ 224518 w 297179"/>
                <a:gd name="connsiteY21" fmla="*/ 403695 h 914387"/>
                <a:gd name="connsiteX22" fmla="*/ 185337 w 297179"/>
                <a:gd name="connsiteY22" fmla="*/ 477984 h 914387"/>
                <a:gd name="connsiteX23" fmla="*/ 222384 w 297179"/>
                <a:gd name="connsiteY23" fmla="*/ 855637 h 914387"/>
                <a:gd name="connsiteX24" fmla="*/ 172535 w 297179"/>
                <a:gd name="connsiteY24" fmla="*/ 914216 h 914387"/>
                <a:gd name="connsiteX25" fmla="*/ 115315 w 297179"/>
                <a:gd name="connsiteY25" fmla="*/ 914216 h 914387"/>
                <a:gd name="connsiteX26" fmla="*/ 73806 w 297179"/>
                <a:gd name="connsiteY26" fmla="*/ 865918 h 914387"/>
                <a:gd name="connsiteX27" fmla="*/ 105228 w 297179"/>
                <a:gd name="connsiteY27" fmla="*/ 668265 h 914387"/>
                <a:gd name="connsiteX28" fmla="*/ 109496 w 297179"/>
                <a:gd name="connsiteY28" fmla="*/ 459557 h 914387"/>
                <a:gd name="connsiteX29" fmla="*/ 82728 w 297179"/>
                <a:gd name="connsiteY29" fmla="*/ 411259 h 914387"/>
                <a:gd name="connsiteX30" fmla="*/ 46068 w 297179"/>
                <a:gd name="connsiteY30" fmla="*/ 383716 h 914387"/>
                <a:gd name="connsiteX31" fmla="*/ 292 w 297179"/>
                <a:gd name="connsiteY31" fmla="*/ 284017 h 914387"/>
                <a:gd name="connsiteX32" fmla="*/ 16779 w 297179"/>
                <a:gd name="connsiteY32" fmla="*/ 50093 h 914387"/>
                <a:gd name="connsiteX33" fmla="*/ 37146 w 297179"/>
                <a:gd name="connsiteY33" fmla="*/ 27205 h 914387"/>
                <a:gd name="connsiteX34" fmla="*/ 64495 w 297179"/>
                <a:gd name="connsiteY34" fmla="*/ 52420 h 914387"/>
                <a:gd name="connsiteX35" fmla="*/ 66047 w 297179"/>
                <a:gd name="connsiteY35" fmla="*/ 204102 h 914387"/>
                <a:gd name="connsiteX36" fmla="*/ 76521 w 297179"/>
                <a:gd name="connsiteY36" fmla="*/ 250073 h 91438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97179" h="914387">
                  <a:moveTo>
                    <a:pt x="76327" y="250461"/>
                  </a:moveTo>
                  <a:cubicBezTo>
                    <a:pt x="90099" y="238823"/>
                    <a:pt x="86801" y="225633"/>
                    <a:pt x="87189" y="213801"/>
                  </a:cubicBezTo>
                  <a:cubicBezTo>
                    <a:pt x="88935" y="161430"/>
                    <a:pt x="90099" y="109059"/>
                    <a:pt x="91651" y="56494"/>
                  </a:cubicBezTo>
                  <a:cubicBezTo>
                    <a:pt x="92039" y="45050"/>
                    <a:pt x="91651" y="32830"/>
                    <a:pt x="107168" y="30114"/>
                  </a:cubicBezTo>
                  <a:cubicBezTo>
                    <a:pt x="127922" y="26817"/>
                    <a:pt x="133935" y="37291"/>
                    <a:pt x="134323" y="56106"/>
                  </a:cubicBezTo>
                  <a:cubicBezTo>
                    <a:pt x="135487" y="109447"/>
                    <a:pt x="137233" y="162788"/>
                    <a:pt x="139366" y="216128"/>
                  </a:cubicBezTo>
                  <a:cubicBezTo>
                    <a:pt x="139754" y="226603"/>
                    <a:pt x="135487" y="239210"/>
                    <a:pt x="149065" y="248133"/>
                  </a:cubicBezTo>
                  <a:cubicBezTo>
                    <a:pt x="160121" y="236495"/>
                    <a:pt x="159539" y="222141"/>
                    <a:pt x="159733" y="208176"/>
                  </a:cubicBezTo>
                  <a:cubicBezTo>
                    <a:pt x="160315" y="160460"/>
                    <a:pt x="160703" y="112744"/>
                    <a:pt x="161091" y="65028"/>
                  </a:cubicBezTo>
                  <a:cubicBezTo>
                    <a:pt x="161091" y="57463"/>
                    <a:pt x="161479" y="49705"/>
                    <a:pt x="161867" y="42140"/>
                  </a:cubicBezTo>
                  <a:cubicBezTo>
                    <a:pt x="162643" y="24101"/>
                    <a:pt x="175832" y="20804"/>
                    <a:pt x="189798" y="20416"/>
                  </a:cubicBezTo>
                  <a:cubicBezTo>
                    <a:pt x="205509" y="19834"/>
                    <a:pt x="204927" y="33218"/>
                    <a:pt x="205121" y="42916"/>
                  </a:cubicBezTo>
                  <a:cubicBezTo>
                    <a:pt x="206673" y="100136"/>
                    <a:pt x="207255" y="157356"/>
                    <a:pt x="208613" y="214577"/>
                  </a:cubicBezTo>
                  <a:cubicBezTo>
                    <a:pt x="209001" y="226021"/>
                    <a:pt x="204733" y="245805"/>
                    <a:pt x="218699" y="245805"/>
                  </a:cubicBezTo>
                  <a:cubicBezTo>
                    <a:pt x="233440" y="245805"/>
                    <a:pt x="228591" y="226215"/>
                    <a:pt x="229173" y="214965"/>
                  </a:cubicBezTo>
                  <a:cubicBezTo>
                    <a:pt x="231501" y="155805"/>
                    <a:pt x="232859" y="96839"/>
                    <a:pt x="234604" y="37679"/>
                  </a:cubicBezTo>
                  <a:cubicBezTo>
                    <a:pt x="234604" y="32054"/>
                    <a:pt x="234604" y="26041"/>
                    <a:pt x="235574" y="20610"/>
                  </a:cubicBezTo>
                  <a:cubicBezTo>
                    <a:pt x="238872" y="3929"/>
                    <a:pt x="252837" y="1019"/>
                    <a:pt x="266027" y="49"/>
                  </a:cubicBezTo>
                  <a:cubicBezTo>
                    <a:pt x="280574" y="-921"/>
                    <a:pt x="278635" y="12657"/>
                    <a:pt x="279217" y="20998"/>
                  </a:cubicBezTo>
                  <a:cubicBezTo>
                    <a:pt x="285036" y="104597"/>
                    <a:pt x="288915" y="188585"/>
                    <a:pt x="296480" y="271991"/>
                  </a:cubicBezTo>
                  <a:cubicBezTo>
                    <a:pt x="300941" y="321840"/>
                    <a:pt x="284066" y="359470"/>
                    <a:pt x="245660" y="388953"/>
                  </a:cubicBezTo>
                  <a:cubicBezTo>
                    <a:pt x="238872" y="394190"/>
                    <a:pt x="231695" y="399039"/>
                    <a:pt x="224518" y="403695"/>
                  </a:cubicBezTo>
                  <a:cubicBezTo>
                    <a:pt x="197363" y="421151"/>
                    <a:pt x="186694" y="445397"/>
                    <a:pt x="185337" y="477984"/>
                  </a:cubicBezTo>
                  <a:cubicBezTo>
                    <a:pt x="179906" y="605808"/>
                    <a:pt x="198332" y="730917"/>
                    <a:pt x="222384" y="855637"/>
                  </a:cubicBezTo>
                  <a:cubicBezTo>
                    <a:pt x="231307" y="901995"/>
                    <a:pt x="220445" y="914022"/>
                    <a:pt x="172535" y="914216"/>
                  </a:cubicBezTo>
                  <a:cubicBezTo>
                    <a:pt x="153526" y="914216"/>
                    <a:pt x="134323" y="914603"/>
                    <a:pt x="115315" y="914216"/>
                  </a:cubicBezTo>
                  <a:cubicBezTo>
                    <a:pt x="80207" y="913440"/>
                    <a:pt x="68569" y="900444"/>
                    <a:pt x="73806" y="865918"/>
                  </a:cubicBezTo>
                  <a:cubicBezTo>
                    <a:pt x="83892" y="799969"/>
                    <a:pt x="96112" y="734408"/>
                    <a:pt x="105228" y="668265"/>
                  </a:cubicBezTo>
                  <a:cubicBezTo>
                    <a:pt x="114733" y="599019"/>
                    <a:pt x="109883" y="529191"/>
                    <a:pt x="109496" y="459557"/>
                  </a:cubicBezTo>
                  <a:cubicBezTo>
                    <a:pt x="109496" y="439578"/>
                    <a:pt x="99603" y="423091"/>
                    <a:pt x="82728" y="411259"/>
                  </a:cubicBezTo>
                  <a:cubicBezTo>
                    <a:pt x="70314" y="402531"/>
                    <a:pt x="58094" y="393220"/>
                    <a:pt x="46068" y="383716"/>
                  </a:cubicBezTo>
                  <a:cubicBezTo>
                    <a:pt x="13870" y="358306"/>
                    <a:pt x="-2423" y="325332"/>
                    <a:pt x="292" y="284017"/>
                  </a:cubicBezTo>
                  <a:cubicBezTo>
                    <a:pt x="5529" y="206042"/>
                    <a:pt x="11348" y="128067"/>
                    <a:pt x="16779" y="50093"/>
                  </a:cubicBezTo>
                  <a:cubicBezTo>
                    <a:pt x="17749" y="36903"/>
                    <a:pt x="18137" y="25265"/>
                    <a:pt x="37146" y="27205"/>
                  </a:cubicBezTo>
                  <a:cubicBezTo>
                    <a:pt x="53633" y="28950"/>
                    <a:pt x="64301" y="33412"/>
                    <a:pt x="64495" y="52420"/>
                  </a:cubicBezTo>
                  <a:cubicBezTo>
                    <a:pt x="64495" y="103046"/>
                    <a:pt x="65465" y="153477"/>
                    <a:pt x="66047" y="204102"/>
                  </a:cubicBezTo>
                  <a:cubicBezTo>
                    <a:pt x="66047" y="219038"/>
                    <a:pt x="65465" y="234361"/>
                    <a:pt x="76521" y="250073"/>
                  </a:cubicBezTo>
                  <a:close/>
                </a:path>
              </a:pathLst>
            </a:custGeom>
            <a:solidFill>
              <a:schemeClr val="bg1">
                <a:lumMod val="65000"/>
              </a:schemeClr>
            </a:solidFill>
            <a:ln w="19266" cap="flat">
              <a:noFill/>
              <a:prstDash val="solid"/>
              <a:miter/>
            </a:ln>
          </p:spPr>
          <p:txBody>
            <a:bodyPr rtlCol="0" anchor="ctr"/>
            <a:lstStyle/>
            <a:p>
              <a:endParaRPr lang="es-PE"/>
            </a:p>
          </p:txBody>
        </p:sp>
      </p:grpSp>
      <p:pic>
        <p:nvPicPr>
          <p:cNvPr id="38" name="Imagen 37">
            <a:extLst>
              <a:ext uri="{FF2B5EF4-FFF2-40B4-BE49-F238E27FC236}">
                <a16:creationId xmlns:a16="http://schemas.microsoft.com/office/drawing/2014/main" id="{6F9CD05A-56DE-65BA-955E-16C9E1FD8CE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769" y="3111865"/>
            <a:ext cx="1259924" cy="1259924"/>
          </a:xfrm>
          <a:prstGeom prst="rect">
            <a:avLst/>
          </a:prstGeom>
        </p:spPr>
      </p:pic>
    </p:spTree>
    <p:extLst>
      <p:ext uri="{BB962C8B-B14F-4D97-AF65-F5344CB8AC3E}">
        <p14:creationId xmlns:p14="http://schemas.microsoft.com/office/powerpoint/2010/main" val="2489558052"/>
      </p:ext>
    </p:extLst>
  </p:cSld>
  <p:clrMapOvr>
    <a:masterClrMapping/>
  </p:clrMapOvr>
  <p:transition/>
  <p:timing/>
</p:sld>
</file>

<file path=ppt/slides/slide6.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40" name="Round Same Side Corner Rectangle 2">
            <a:extLst>
              <a:ext uri="{FF2B5EF4-FFF2-40B4-BE49-F238E27FC236}">
                <a16:creationId xmlns:a16="http://schemas.microsoft.com/office/drawing/2014/main" id="{45D86F2C-04D4-45FD-90E1-5FC58D374DFB}"/>
              </a:ext>
            </a:extLst>
          </p:cNvPr>
          <p:cNvSpPr/>
          <p:nvPr/>
        </p:nvSpPr>
        <p:spPr>
          <a:xfrm flipV="1">
            <a:off x="5849968" y="0"/>
            <a:ext cx="6064624" cy="6248400"/>
          </a:xfrm>
          <a:prstGeom prst="round2SameRect">
            <a:avLst>
              <a:gd name="adj1" fmla="val 4477"/>
              <a:gd name="adj2" fmla="val 0"/>
            </a:avLst>
          </a:prstGeom>
          <a:blipFill dpi="0" rotWithShape="0">
            <a:blip r:embed="rId3">
              <a:extLst>
                <a:ext uri="{28A0092B-C50C-407E-A947-70E740481C1C}">
                  <a14:useLocalDpi xmlns:a14="http://schemas.microsoft.com/office/drawing/2010/main" val="0"/>
                </a:ext>
              </a:extLst>
            </a:blip>
            <a:stretch>
              <a:fillRect l="-28000" r="-31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Round Same Side Corner Rectangle 2">
            <a:extLst>
              <a:ext uri="{FF2B5EF4-FFF2-40B4-BE49-F238E27FC236}">
                <a16:creationId xmlns:a16="http://schemas.microsoft.com/office/drawing/2014/main" id="{4F244056-DAF4-BE43-8BD7-29B638BD52DC}"/>
              </a:ext>
            </a:extLst>
          </p:cNvPr>
          <p:cNvSpPr/>
          <p:nvPr/>
        </p:nvSpPr>
        <p:spPr>
          <a:xfrm flipV="1">
            <a:off x="5849968" y="21807"/>
            <a:ext cx="6064624" cy="6248400"/>
          </a:xfrm>
          <a:prstGeom prst="round2SameRect">
            <a:avLst>
              <a:gd name="adj1" fmla="val 4477"/>
              <a:gd name="adj2" fmla="val 0"/>
            </a:avLst>
          </a:prstGeom>
          <a:gradFill flip="none" rotWithShape="1">
            <a:gsLst>
              <a:gs pos="2000">
                <a:schemeClr val="tx1">
                  <a:lumMod val="75000"/>
                  <a:lumOff val="25000"/>
                  <a:alpha val="19000"/>
                </a:schemeClr>
              </a:gs>
              <a:gs pos="100000">
                <a:schemeClr val="tx1">
                  <a:lumMod val="95000"/>
                  <a:lumOff val="5000"/>
                  <a:alpha val="70000"/>
                </a:schemeClr>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Rounded Rectangle 28">
            <a:extLst>
              <a:ext uri="{FF2B5EF4-FFF2-40B4-BE49-F238E27FC236}">
                <a16:creationId xmlns:a16="http://schemas.microsoft.com/office/drawing/2014/main" id="{6EDCC5A5-6D16-A844-813F-E5F8A3BCAEBC}"/>
              </a:ext>
            </a:extLst>
          </p:cNvPr>
          <p:cNvSpPr/>
          <p:nvPr/>
        </p:nvSpPr>
        <p:spPr>
          <a:xfrm>
            <a:off x="533400" y="2975658"/>
            <a:ext cx="5711757" cy="2771488"/>
          </a:xfrm>
          <a:prstGeom prst="roundRect">
            <a:avLst>
              <a:gd name="adj" fmla="val 14130"/>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8D74DC94-17E9-6C4C-AC18-01998E8AAA61}"/>
              </a:ext>
            </a:extLst>
          </p:cNvPr>
          <p:cNvSpPr>
            <a:spLocks noGrp="1"/>
          </p:cNvSpPr>
          <p:nvPr>
            <p:ph type="title" idx="4294967295"/>
          </p:nvPr>
        </p:nvSpPr>
        <p:spPr>
          <a:xfrm>
            <a:off x="1826384" y="3607410"/>
            <a:ext cx="3125788" cy="1495794"/>
          </a:xfrm>
        </p:spPr>
        <p:txBody>
          <a:bodyPr wrap="square" lIns="0" tIns="0" rIns="0" bIns="0">
            <a:spAutoFit/>
          </a:bodyPr>
          <a:lstStyle/>
          <a:p>
            <a:r>
              <a:rPr lang="en-US" sz="3600"/>
              <a:t>What eat in </a:t>
            </a:r>
            <a:r>
              <a:rPr lang="en-US" sz="3600">
                <a:solidFill>
                  <a:srgbClr val="00ABF7"/>
                </a:solidFill>
              </a:rPr>
              <a:t>Bahamas</a:t>
            </a:r>
            <a:r>
              <a:rPr lang="en-US" sz="3600"/>
              <a:t> Country?</a:t>
            </a:r>
          </a:p>
        </p:txBody>
      </p:sp>
      <p:cxnSp>
        <p:nvCxnSpPr>
          <p:cNvPr id="31" name="Straight Connector 30">
            <a:extLst>
              <a:ext uri="{FF2B5EF4-FFF2-40B4-BE49-F238E27FC236}">
                <a16:creationId xmlns:a16="http://schemas.microsoft.com/office/drawing/2014/main" id="{4A6DC30B-5804-404D-A8A9-38A6ED0BE23B}"/>
              </a:ext>
            </a:extLst>
          </p:cNvPr>
          <p:cNvCxnSpPr/>
          <p:nvPr/>
        </p:nvCxnSpPr>
        <p:spPr>
          <a:xfrm>
            <a:off x="2030816" y="2975661"/>
            <a:ext cx="583660" cy="0"/>
          </a:xfrm>
          <a:prstGeom prst="line">
            <a:avLst/>
          </a:prstGeom>
          <a:ln w="8890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CC93D16B-DDDA-3C47-8CC4-3701A7E524FA}"/>
              </a:ext>
            </a:extLst>
          </p:cNvPr>
          <p:cNvSpPr/>
          <p:nvPr/>
        </p:nvSpPr>
        <p:spPr>
          <a:xfrm>
            <a:off x="6981870" y="1204377"/>
            <a:ext cx="4010808" cy="1477328"/>
          </a:xfrm>
          <a:prstGeom prst="rect">
            <a:avLst/>
          </a:prstGeom>
        </p:spPr>
        <p:txBody>
          <a:bodyPr wrap="square" lIns="0" tIns="0" rIns="0" bIns="0" anchor="t">
            <a:spAutoFit/>
          </a:bodyPr>
          <a:lstStyle/>
          <a:p>
            <a:r>
              <a:rPr lang="en-ID" sz="1600">
                <a:solidFill>
                  <a:schemeClr val="bg1"/>
                </a:solidFill>
                <a:latin typeface="Segoe UI Light" panose="020b0502040204020203" pitchFamily="34" charset="0"/>
                <a:cs typeface="Segoe UI" panose="020b0502040204020203" pitchFamily="34" charset="0"/>
              </a:rPr>
              <a:t>Lorem ipsum dolor sit amet, consectetur adipiscing elit, sed do eiusmod tempor incididunt ut labore et dolore magna aliqua. Ut enim ad minim veniam, quis nostrud exercitation ullamco laboris nisi ut aliquip ex ea commodo consequat. </a:t>
            </a:r>
            <a:endParaRPr lang="en-US" sz="1600">
              <a:solidFill>
                <a:schemeClr val="bg1"/>
              </a:solidFill>
              <a:latin typeface="Segoe UI Light" panose="020b0502040204020203" pitchFamily="34" charset="0"/>
              <a:cs typeface="Segoe UI" panose="020b0502040204020203" pitchFamily="34" charset="0"/>
            </a:endParaRPr>
          </a:p>
        </p:txBody>
      </p:sp>
      <p:cxnSp>
        <p:nvCxnSpPr>
          <p:cNvPr id="34" name="Straight Connector 33">
            <a:extLst>
              <a:ext uri="{FF2B5EF4-FFF2-40B4-BE49-F238E27FC236}">
                <a16:creationId xmlns:a16="http://schemas.microsoft.com/office/drawing/2014/main" id="{4FC3DEE8-023B-5A41-9C1D-4D207074B907}"/>
              </a:ext>
            </a:extLst>
          </p:cNvPr>
          <p:cNvCxnSpPr/>
          <p:nvPr/>
        </p:nvCxnSpPr>
        <p:spPr>
          <a:xfrm>
            <a:off x="6981870" y="2975658"/>
            <a:ext cx="4676730" cy="0"/>
          </a:xfrm>
          <a:prstGeom prst="line">
            <a:avLst/>
          </a:prstGeom>
          <a:ln>
            <a:solidFill>
              <a:srgbClr val="00ABF7"/>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D5285F56-28D9-7E47-9ACF-28C5C31DC07A}"/>
              </a:ext>
            </a:extLst>
          </p:cNvPr>
          <p:cNvSpPr/>
          <p:nvPr/>
        </p:nvSpPr>
        <p:spPr>
          <a:xfrm>
            <a:off x="6981870" y="3430378"/>
            <a:ext cx="4010808" cy="1862048"/>
          </a:xfrm>
          <a:prstGeom prst="rect">
            <a:avLst/>
          </a:prstGeom>
        </p:spPr>
        <p:txBody>
          <a:bodyPr wrap="square" lIns="0" tIns="0" rIns="0" bIns="0" anchor="t">
            <a:spAutoFit/>
          </a:bodyPr>
          <a:lstStyle/>
          <a:p>
            <a:pPr marL="216000" indent="-216000">
              <a:spcAft>
                <a:spcPts val="600"/>
              </a:spcAft>
              <a:buFont typeface="Arial" panose="020b0604020202020204" pitchFamily="34" charset="0"/>
              <a:buChar char="•"/>
            </a:pPr>
            <a:r>
              <a:rPr lang="en-ID" sz="1600">
                <a:solidFill>
                  <a:schemeClr val="bg1"/>
                </a:solidFill>
                <a:latin typeface="Segoe UI Light" panose="020b0502040204020203" pitchFamily="34" charset="0"/>
                <a:cs typeface="Segoe UI" panose="020b0502040204020203" pitchFamily="34" charset="0"/>
              </a:rPr>
              <a:t>Lorem Ipsum Dolor Sir Amet</a:t>
            </a:r>
          </a:p>
          <a:p>
            <a:pPr marL="216000" indent="-216000">
              <a:spcAft>
                <a:spcPts val="600"/>
              </a:spcAft>
              <a:buFont typeface="Arial" panose="020b0604020202020204" pitchFamily="34" charset="0"/>
              <a:buChar char="•"/>
            </a:pPr>
            <a:r>
              <a:rPr lang="en-ID" sz="1600">
                <a:solidFill>
                  <a:schemeClr val="bg1"/>
                </a:solidFill>
                <a:latin typeface="Segoe UI Light" panose="020b0502040204020203" pitchFamily="34" charset="0"/>
                <a:cs typeface="Segoe UI" panose="020b0502040204020203" pitchFamily="34" charset="0"/>
              </a:rPr>
              <a:t>Lorem Ipsum Dolor Sir Amet</a:t>
            </a:r>
            <a:endParaRPr lang="en-US" sz="1600">
              <a:solidFill>
                <a:schemeClr val="bg1"/>
              </a:solidFill>
              <a:latin typeface="Segoe UI Light" panose="020b0502040204020203" pitchFamily="34" charset="0"/>
              <a:cs typeface="Segoe UI" panose="020b0502040204020203" pitchFamily="34" charset="0"/>
            </a:endParaRPr>
          </a:p>
          <a:p>
            <a:pPr marL="216000" indent="-216000">
              <a:spcAft>
                <a:spcPts val="600"/>
              </a:spcAft>
              <a:buFont typeface="Arial" panose="020b0604020202020204" pitchFamily="34" charset="0"/>
              <a:buChar char="•"/>
            </a:pPr>
            <a:r>
              <a:rPr lang="en-ID" sz="1600">
                <a:solidFill>
                  <a:schemeClr val="bg1"/>
                </a:solidFill>
                <a:latin typeface="Segoe UI Light" panose="020b0502040204020203" pitchFamily="34" charset="0"/>
                <a:cs typeface="Segoe UI" panose="020b0502040204020203" pitchFamily="34" charset="0"/>
              </a:rPr>
              <a:t>Lorem Ipsum Dolor Sir Amet</a:t>
            </a:r>
            <a:endParaRPr lang="en-US" sz="1600">
              <a:solidFill>
                <a:schemeClr val="bg1"/>
              </a:solidFill>
              <a:latin typeface="Segoe UI Light" panose="020b0502040204020203" pitchFamily="34" charset="0"/>
              <a:cs typeface="Segoe UI" panose="020b0502040204020203" pitchFamily="34" charset="0"/>
            </a:endParaRPr>
          </a:p>
          <a:p>
            <a:pPr marL="216000" indent="-216000">
              <a:spcAft>
                <a:spcPts val="600"/>
              </a:spcAft>
              <a:buFont typeface="Arial" panose="020b0604020202020204" pitchFamily="34" charset="0"/>
              <a:buChar char="•"/>
            </a:pPr>
            <a:r>
              <a:rPr lang="en-ID" sz="1600">
                <a:solidFill>
                  <a:schemeClr val="bg1"/>
                </a:solidFill>
                <a:latin typeface="Segoe UI Light" panose="020b0502040204020203" pitchFamily="34" charset="0"/>
                <a:cs typeface="Segoe UI" panose="020b0502040204020203" pitchFamily="34" charset="0"/>
              </a:rPr>
              <a:t>Lorem Ipsum Dolor Sir Amet</a:t>
            </a:r>
            <a:endParaRPr lang="en-US" sz="1600">
              <a:solidFill>
                <a:schemeClr val="bg1"/>
              </a:solidFill>
              <a:latin typeface="Segoe UI Light" panose="020b0502040204020203" pitchFamily="34" charset="0"/>
              <a:cs typeface="Segoe UI" panose="020b0502040204020203" pitchFamily="34" charset="0"/>
            </a:endParaRPr>
          </a:p>
          <a:p>
            <a:pPr marL="216000" indent="-216000">
              <a:spcAft>
                <a:spcPts val="600"/>
              </a:spcAft>
              <a:buFont typeface="Arial" panose="020b0604020202020204" pitchFamily="34" charset="0"/>
              <a:buChar char="•"/>
            </a:pPr>
            <a:r>
              <a:rPr lang="en-ID" sz="1600">
                <a:solidFill>
                  <a:schemeClr val="bg1"/>
                </a:solidFill>
                <a:latin typeface="Segoe UI Light" panose="020b0502040204020203" pitchFamily="34" charset="0"/>
                <a:cs typeface="Segoe UI" panose="020b0502040204020203" pitchFamily="34" charset="0"/>
              </a:rPr>
              <a:t>Lorem Ipsum Dolor Sir Amet</a:t>
            </a:r>
            <a:endParaRPr lang="en-US" sz="1600">
              <a:solidFill>
                <a:schemeClr val="bg1"/>
              </a:solidFill>
              <a:latin typeface="Segoe UI Light" panose="020b0502040204020203" pitchFamily="34" charset="0"/>
              <a:cs typeface="Segoe UI" panose="020b0502040204020203" pitchFamily="34" charset="0"/>
            </a:endParaRPr>
          </a:p>
          <a:p>
            <a:pPr marL="216000" indent="-216000">
              <a:spcAft>
                <a:spcPts val="600"/>
              </a:spcAft>
              <a:buFont typeface="Arial" panose="020b0604020202020204" pitchFamily="34" charset="0"/>
              <a:buChar char="•"/>
            </a:pPr>
            <a:r>
              <a:rPr lang="en-ID" sz="1600">
                <a:solidFill>
                  <a:schemeClr val="bg1"/>
                </a:solidFill>
                <a:latin typeface="Segoe UI Light" panose="020b0502040204020203" pitchFamily="34" charset="0"/>
                <a:cs typeface="Segoe UI" panose="020b0502040204020203" pitchFamily="34" charset="0"/>
              </a:rPr>
              <a:t>Lorem Ipsum Dolor Sir Amet</a:t>
            </a:r>
            <a:endParaRPr lang="en-US" sz="1600">
              <a:solidFill>
                <a:schemeClr val="bg1"/>
              </a:solidFill>
              <a:latin typeface="Segoe UI Light" panose="020b0502040204020203" pitchFamily="34" charset="0"/>
              <a:cs typeface="Segoe UI" panose="020b0502040204020203" pitchFamily="34" charset="0"/>
            </a:endParaRPr>
          </a:p>
        </p:txBody>
      </p:sp>
      <p:grpSp>
        <p:nvGrpSpPr>
          <p:cNvPr id="36" name="Grupo 35">
            <a:extLst>
              <a:ext uri="{FF2B5EF4-FFF2-40B4-BE49-F238E27FC236}">
                <a16:creationId xmlns:a16="http://schemas.microsoft.com/office/drawing/2014/main" id="{E24EC756-BEAF-4A98-AD87-0C2A84165D0E}"/>
              </a:ext>
            </a:extLst>
          </p:cNvPr>
          <p:cNvGrpSpPr/>
          <p:nvPr/>
        </p:nvGrpSpPr>
        <p:grpSpPr>
          <a:xfrm>
            <a:off x="399465" y="5234151"/>
            <a:ext cx="1004234" cy="1655379"/>
            <a:chOff x="283851" y="5461857"/>
            <a:chExt cx="846969" cy="1396143"/>
          </a:xfrm>
          <a:solidFill>
            <a:schemeClr val="tx1">
              <a:lumMod val="50000"/>
              <a:lumOff val="50000"/>
            </a:schemeClr>
          </a:solidFill>
        </p:grpSpPr>
        <p:sp>
          <p:nvSpPr>
            <p:cNvPr id="37" name="Forma libre: forma 36">
              <a:extLst>
                <a:ext uri="{FF2B5EF4-FFF2-40B4-BE49-F238E27FC236}">
                  <a16:creationId xmlns:a16="http://schemas.microsoft.com/office/drawing/2014/main" id="{6298FD6A-3422-4D3F-A737-2CC1FCD10D88}"/>
                </a:ext>
              </a:extLst>
            </p:cNvPr>
            <p:cNvSpPr/>
            <p:nvPr/>
          </p:nvSpPr>
          <p:spPr>
            <a:xfrm>
              <a:off x="283851" y="5461857"/>
              <a:ext cx="846969" cy="468186"/>
            </a:xfrm>
            <a:custGeom>
              <a:gdLst>
                <a:gd name="connsiteX0" fmla="*/ 585515 w 846969"/>
                <a:gd name="connsiteY0" fmla="*/ 123160 h 468186"/>
                <a:gd name="connsiteX1" fmla="*/ 374091 w 846969"/>
                <a:gd name="connsiteY1" fmla="*/ 150510 h 468186"/>
                <a:gd name="connsiteX2" fmla="*/ 58700 w 846969"/>
                <a:gd name="connsiteY2" fmla="*/ 260683 h 468186"/>
                <a:gd name="connsiteX3" fmla="*/ 7105 w 846969"/>
                <a:gd name="connsiteY3" fmla="*/ 260683 h 468186"/>
                <a:gd name="connsiteX4" fmla="*/ 14476 w 846969"/>
                <a:gd name="connsiteY4" fmla="*/ 205208 h 468186"/>
                <a:gd name="connsiteX5" fmla="*/ 215232 w 846969"/>
                <a:gd name="connsiteY5" fmla="*/ 41694 h 468186"/>
                <a:gd name="connsiteX6" fmla="*/ 547303 w 846969"/>
                <a:gd name="connsiteY6" fmla="*/ 4259 h 468186"/>
                <a:gd name="connsiteX7" fmla="*/ 805280 w 846969"/>
                <a:gd name="connsiteY7" fmla="*/ 54302 h 468186"/>
                <a:gd name="connsiteX8" fmla="*/ 846788 w 846969"/>
                <a:gd name="connsiteY8" fmla="*/ 87470 h 468186"/>
                <a:gd name="connsiteX9" fmla="*/ 815366 w 846969"/>
                <a:gd name="connsiteY9" fmla="*/ 131307 h 468186"/>
                <a:gd name="connsiteX10" fmla="*/ 705968 w 846969"/>
                <a:gd name="connsiteY10" fmla="*/ 242644 h 468186"/>
                <a:gd name="connsiteX11" fmla="*/ 376612 w 846969"/>
                <a:gd name="connsiteY11" fmla="*/ 464348 h 468186"/>
                <a:gd name="connsiteX12" fmla="*/ 89735 w 846969"/>
                <a:gd name="connsiteY12" fmla="*/ 417990 h 468186"/>
                <a:gd name="connsiteX13" fmla="*/ 60058 w 846969"/>
                <a:gd name="connsiteY13" fmla="*/ 386762 h 468186"/>
                <a:gd name="connsiteX14" fmla="*/ 86826 w 846969"/>
                <a:gd name="connsiteY14" fmla="*/ 349326 h 468186"/>
                <a:gd name="connsiteX15" fmla="*/ 550407 w 846969"/>
                <a:gd name="connsiteY15" fmla="*/ 135186 h 468186"/>
                <a:gd name="connsiteX16" fmla="*/ 585321 w 846969"/>
                <a:gd name="connsiteY16" fmla="*/ 123160 h 46818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46969" h="468186">
                  <a:moveTo>
                    <a:pt x="585515" y="123160"/>
                  </a:moveTo>
                  <a:cubicBezTo>
                    <a:pt x="513747" y="122191"/>
                    <a:pt x="443531" y="133829"/>
                    <a:pt x="374091" y="150510"/>
                  </a:cubicBezTo>
                  <a:cubicBezTo>
                    <a:pt x="265275" y="176501"/>
                    <a:pt x="159757" y="212385"/>
                    <a:pt x="58700" y="260683"/>
                  </a:cubicBezTo>
                  <a:cubicBezTo>
                    <a:pt x="41631" y="268830"/>
                    <a:pt x="22816" y="281050"/>
                    <a:pt x="7105" y="260683"/>
                  </a:cubicBezTo>
                  <a:cubicBezTo>
                    <a:pt x="-7636" y="241480"/>
                    <a:pt x="3420" y="222278"/>
                    <a:pt x="14476" y="205208"/>
                  </a:cubicBezTo>
                  <a:cubicBezTo>
                    <a:pt x="63162" y="128591"/>
                    <a:pt x="132990" y="77578"/>
                    <a:pt x="215232" y="41694"/>
                  </a:cubicBezTo>
                  <a:cubicBezTo>
                    <a:pt x="322108" y="-5052"/>
                    <a:pt x="434802" y="-3694"/>
                    <a:pt x="547303" y="4259"/>
                  </a:cubicBezTo>
                  <a:cubicBezTo>
                    <a:pt x="634977" y="10660"/>
                    <a:pt x="720710" y="30638"/>
                    <a:pt x="805280" y="54302"/>
                  </a:cubicBezTo>
                  <a:cubicBezTo>
                    <a:pt x="823706" y="59345"/>
                    <a:pt x="844655" y="64000"/>
                    <a:pt x="846788" y="87470"/>
                  </a:cubicBezTo>
                  <a:cubicBezTo>
                    <a:pt x="848922" y="109583"/>
                    <a:pt x="831853" y="120639"/>
                    <a:pt x="815366" y="131307"/>
                  </a:cubicBezTo>
                  <a:cubicBezTo>
                    <a:pt x="770753" y="160402"/>
                    <a:pt x="734094" y="197450"/>
                    <a:pt x="705968" y="242644"/>
                  </a:cubicBezTo>
                  <a:cubicBezTo>
                    <a:pt x="629351" y="366007"/>
                    <a:pt x="524415" y="447279"/>
                    <a:pt x="376612" y="464348"/>
                  </a:cubicBezTo>
                  <a:cubicBezTo>
                    <a:pt x="276913" y="475792"/>
                    <a:pt x="180706" y="462021"/>
                    <a:pt x="89735" y="417990"/>
                  </a:cubicBezTo>
                  <a:cubicBezTo>
                    <a:pt x="75769" y="411201"/>
                    <a:pt x="60640" y="405188"/>
                    <a:pt x="60058" y="386762"/>
                  </a:cubicBezTo>
                  <a:cubicBezTo>
                    <a:pt x="59476" y="368141"/>
                    <a:pt x="72278" y="358248"/>
                    <a:pt x="86826" y="349326"/>
                  </a:cubicBezTo>
                  <a:cubicBezTo>
                    <a:pt x="232689" y="258937"/>
                    <a:pt x="387281" y="187945"/>
                    <a:pt x="550407" y="135186"/>
                  </a:cubicBezTo>
                  <a:cubicBezTo>
                    <a:pt x="562045" y="131501"/>
                    <a:pt x="573683" y="127234"/>
                    <a:pt x="585321" y="123160"/>
                  </a:cubicBezTo>
                  <a:close/>
                </a:path>
              </a:pathLst>
            </a:custGeom>
            <a:solidFill>
              <a:srgbClr val="00ABF7"/>
            </a:solidFill>
            <a:ln w="19266" cap="flat">
              <a:noFill/>
              <a:prstDash val="solid"/>
              <a:miter/>
            </a:ln>
          </p:spPr>
          <p:txBody>
            <a:bodyPr rtlCol="0" anchor="ctr"/>
            <a:lstStyle/>
            <a:p>
              <a:endParaRPr lang="es-PE"/>
            </a:p>
          </p:txBody>
        </p:sp>
        <p:sp>
          <p:nvSpPr>
            <p:cNvPr id="38" name="Forma libre: forma 37">
              <a:extLst>
                <a:ext uri="{FF2B5EF4-FFF2-40B4-BE49-F238E27FC236}">
                  <a16:creationId xmlns:a16="http://schemas.microsoft.com/office/drawing/2014/main" id="{4D78A838-CB16-4EE5-A244-031FE01D6E02}"/>
                </a:ext>
              </a:extLst>
            </p:cNvPr>
            <p:cNvSpPr/>
            <p:nvPr/>
          </p:nvSpPr>
          <p:spPr>
            <a:xfrm>
              <a:off x="507131" y="5943613"/>
              <a:ext cx="297179" cy="914387"/>
            </a:xfrm>
            <a:custGeom>
              <a:gdLst>
                <a:gd name="connsiteX0" fmla="*/ 76327 w 297179"/>
                <a:gd name="connsiteY0" fmla="*/ 250461 h 914387"/>
                <a:gd name="connsiteX1" fmla="*/ 87189 w 297179"/>
                <a:gd name="connsiteY1" fmla="*/ 213801 h 914387"/>
                <a:gd name="connsiteX2" fmla="*/ 91651 w 297179"/>
                <a:gd name="connsiteY2" fmla="*/ 56494 h 914387"/>
                <a:gd name="connsiteX3" fmla="*/ 107168 w 297179"/>
                <a:gd name="connsiteY3" fmla="*/ 30114 h 914387"/>
                <a:gd name="connsiteX4" fmla="*/ 134323 w 297179"/>
                <a:gd name="connsiteY4" fmla="*/ 56106 h 914387"/>
                <a:gd name="connsiteX5" fmla="*/ 139366 w 297179"/>
                <a:gd name="connsiteY5" fmla="*/ 216128 h 914387"/>
                <a:gd name="connsiteX6" fmla="*/ 149065 w 297179"/>
                <a:gd name="connsiteY6" fmla="*/ 248133 h 914387"/>
                <a:gd name="connsiteX7" fmla="*/ 159733 w 297179"/>
                <a:gd name="connsiteY7" fmla="*/ 208176 h 914387"/>
                <a:gd name="connsiteX8" fmla="*/ 161091 w 297179"/>
                <a:gd name="connsiteY8" fmla="*/ 65028 h 914387"/>
                <a:gd name="connsiteX9" fmla="*/ 161867 w 297179"/>
                <a:gd name="connsiteY9" fmla="*/ 42140 h 914387"/>
                <a:gd name="connsiteX10" fmla="*/ 189798 w 297179"/>
                <a:gd name="connsiteY10" fmla="*/ 20416 h 914387"/>
                <a:gd name="connsiteX11" fmla="*/ 205121 w 297179"/>
                <a:gd name="connsiteY11" fmla="*/ 42916 h 914387"/>
                <a:gd name="connsiteX12" fmla="*/ 208613 w 297179"/>
                <a:gd name="connsiteY12" fmla="*/ 214577 h 914387"/>
                <a:gd name="connsiteX13" fmla="*/ 218699 w 297179"/>
                <a:gd name="connsiteY13" fmla="*/ 245805 h 914387"/>
                <a:gd name="connsiteX14" fmla="*/ 229173 w 297179"/>
                <a:gd name="connsiteY14" fmla="*/ 214965 h 914387"/>
                <a:gd name="connsiteX15" fmla="*/ 234604 w 297179"/>
                <a:gd name="connsiteY15" fmla="*/ 37679 h 914387"/>
                <a:gd name="connsiteX16" fmla="*/ 235574 w 297179"/>
                <a:gd name="connsiteY16" fmla="*/ 20610 h 914387"/>
                <a:gd name="connsiteX17" fmla="*/ 266027 w 297179"/>
                <a:gd name="connsiteY17" fmla="*/ 49 h 914387"/>
                <a:gd name="connsiteX18" fmla="*/ 279217 w 297179"/>
                <a:gd name="connsiteY18" fmla="*/ 20998 h 914387"/>
                <a:gd name="connsiteX19" fmla="*/ 296480 w 297179"/>
                <a:gd name="connsiteY19" fmla="*/ 271991 h 914387"/>
                <a:gd name="connsiteX20" fmla="*/ 245660 w 297179"/>
                <a:gd name="connsiteY20" fmla="*/ 388953 h 914387"/>
                <a:gd name="connsiteX21" fmla="*/ 224518 w 297179"/>
                <a:gd name="connsiteY21" fmla="*/ 403695 h 914387"/>
                <a:gd name="connsiteX22" fmla="*/ 185337 w 297179"/>
                <a:gd name="connsiteY22" fmla="*/ 477984 h 914387"/>
                <a:gd name="connsiteX23" fmla="*/ 222384 w 297179"/>
                <a:gd name="connsiteY23" fmla="*/ 855637 h 914387"/>
                <a:gd name="connsiteX24" fmla="*/ 172535 w 297179"/>
                <a:gd name="connsiteY24" fmla="*/ 914216 h 914387"/>
                <a:gd name="connsiteX25" fmla="*/ 115315 w 297179"/>
                <a:gd name="connsiteY25" fmla="*/ 914216 h 914387"/>
                <a:gd name="connsiteX26" fmla="*/ 73806 w 297179"/>
                <a:gd name="connsiteY26" fmla="*/ 865918 h 914387"/>
                <a:gd name="connsiteX27" fmla="*/ 105228 w 297179"/>
                <a:gd name="connsiteY27" fmla="*/ 668265 h 914387"/>
                <a:gd name="connsiteX28" fmla="*/ 109496 w 297179"/>
                <a:gd name="connsiteY28" fmla="*/ 459557 h 914387"/>
                <a:gd name="connsiteX29" fmla="*/ 82728 w 297179"/>
                <a:gd name="connsiteY29" fmla="*/ 411259 h 914387"/>
                <a:gd name="connsiteX30" fmla="*/ 46068 w 297179"/>
                <a:gd name="connsiteY30" fmla="*/ 383716 h 914387"/>
                <a:gd name="connsiteX31" fmla="*/ 292 w 297179"/>
                <a:gd name="connsiteY31" fmla="*/ 284017 h 914387"/>
                <a:gd name="connsiteX32" fmla="*/ 16779 w 297179"/>
                <a:gd name="connsiteY32" fmla="*/ 50093 h 914387"/>
                <a:gd name="connsiteX33" fmla="*/ 37146 w 297179"/>
                <a:gd name="connsiteY33" fmla="*/ 27205 h 914387"/>
                <a:gd name="connsiteX34" fmla="*/ 64495 w 297179"/>
                <a:gd name="connsiteY34" fmla="*/ 52420 h 914387"/>
                <a:gd name="connsiteX35" fmla="*/ 66047 w 297179"/>
                <a:gd name="connsiteY35" fmla="*/ 204102 h 914387"/>
                <a:gd name="connsiteX36" fmla="*/ 76521 w 297179"/>
                <a:gd name="connsiteY36" fmla="*/ 250073 h 91438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97179" h="914387">
                  <a:moveTo>
                    <a:pt x="76327" y="250461"/>
                  </a:moveTo>
                  <a:cubicBezTo>
                    <a:pt x="90099" y="238823"/>
                    <a:pt x="86801" y="225633"/>
                    <a:pt x="87189" y="213801"/>
                  </a:cubicBezTo>
                  <a:cubicBezTo>
                    <a:pt x="88935" y="161430"/>
                    <a:pt x="90099" y="109059"/>
                    <a:pt x="91651" y="56494"/>
                  </a:cubicBezTo>
                  <a:cubicBezTo>
                    <a:pt x="92039" y="45050"/>
                    <a:pt x="91651" y="32830"/>
                    <a:pt x="107168" y="30114"/>
                  </a:cubicBezTo>
                  <a:cubicBezTo>
                    <a:pt x="127922" y="26817"/>
                    <a:pt x="133935" y="37291"/>
                    <a:pt x="134323" y="56106"/>
                  </a:cubicBezTo>
                  <a:cubicBezTo>
                    <a:pt x="135487" y="109447"/>
                    <a:pt x="137233" y="162788"/>
                    <a:pt x="139366" y="216128"/>
                  </a:cubicBezTo>
                  <a:cubicBezTo>
                    <a:pt x="139754" y="226603"/>
                    <a:pt x="135487" y="239210"/>
                    <a:pt x="149065" y="248133"/>
                  </a:cubicBezTo>
                  <a:cubicBezTo>
                    <a:pt x="160121" y="236495"/>
                    <a:pt x="159539" y="222141"/>
                    <a:pt x="159733" y="208176"/>
                  </a:cubicBezTo>
                  <a:cubicBezTo>
                    <a:pt x="160315" y="160460"/>
                    <a:pt x="160703" y="112744"/>
                    <a:pt x="161091" y="65028"/>
                  </a:cubicBezTo>
                  <a:cubicBezTo>
                    <a:pt x="161091" y="57463"/>
                    <a:pt x="161479" y="49705"/>
                    <a:pt x="161867" y="42140"/>
                  </a:cubicBezTo>
                  <a:cubicBezTo>
                    <a:pt x="162643" y="24101"/>
                    <a:pt x="175832" y="20804"/>
                    <a:pt x="189798" y="20416"/>
                  </a:cubicBezTo>
                  <a:cubicBezTo>
                    <a:pt x="205509" y="19834"/>
                    <a:pt x="204927" y="33218"/>
                    <a:pt x="205121" y="42916"/>
                  </a:cubicBezTo>
                  <a:cubicBezTo>
                    <a:pt x="206673" y="100136"/>
                    <a:pt x="207255" y="157356"/>
                    <a:pt x="208613" y="214577"/>
                  </a:cubicBezTo>
                  <a:cubicBezTo>
                    <a:pt x="209001" y="226021"/>
                    <a:pt x="204733" y="245805"/>
                    <a:pt x="218699" y="245805"/>
                  </a:cubicBezTo>
                  <a:cubicBezTo>
                    <a:pt x="233440" y="245805"/>
                    <a:pt x="228591" y="226215"/>
                    <a:pt x="229173" y="214965"/>
                  </a:cubicBezTo>
                  <a:cubicBezTo>
                    <a:pt x="231501" y="155805"/>
                    <a:pt x="232859" y="96839"/>
                    <a:pt x="234604" y="37679"/>
                  </a:cubicBezTo>
                  <a:cubicBezTo>
                    <a:pt x="234604" y="32054"/>
                    <a:pt x="234604" y="26041"/>
                    <a:pt x="235574" y="20610"/>
                  </a:cubicBezTo>
                  <a:cubicBezTo>
                    <a:pt x="238872" y="3929"/>
                    <a:pt x="252837" y="1019"/>
                    <a:pt x="266027" y="49"/>
                  </a:cubicBezTo>
                  <a:cubicBezTo>
                    <a:pt x="280574" y="-921"/>
                    <a:pt x="278635" y="12657"/>
                    <a:pt x="279217" y="20998"/>
                  </a:cubicBezTo>
                  <a:cubicBezTo>
                    <a:pt x="285036" y="104597"/>
                    <a:pt x="288915" y="188585"/>
                    <a:pt x="296480" y="271991"/>
                  </a:cubicBezTo>
                  <a:cubicBezTo>
                    <a:pt x="300941" y="321840"/>
                    <a:pt x="284066" y="359470"/>
                    <a:pt x="245660" y="388953"/>
                  </a:cubicBezTo>
                  <a:cubicBezTo>
                    <a:pt x="238872" y="394190"/>
                    <a:pt x="231695" y="399039"/>
                    <a:pt x="224518" y="403695"/>
                  </a:cubicBezTo>
                  <a:cubicBezTo>
                    <a:pt x="197363" y="421151"/>
                    <a:pt x="186694" y="445397"/>
                    <a:pt x="185337" y="477984"/>
                  </a:cubicBezTo>
                  <a:cubicBezTo>
                    <a:pt x="179906" y="605808"/>
                    <a:pt x="198332" y="730917"/>
                    <a:pt x="222384" y="855637"/>
                  </a:cubicBezTo>
                  <a:cubicBezTo>
                    <a:pt x="231307" y="901995"/>
                    <a:pt x="220445" y="914022"/>
                    <a:pt x="172535" y="914216"/>
                  </a:cubicBezTo>
                  <a:cubicBezTo>
                    <a:pt x="153526" y="914216"/>
                    <a:pt x="134323" y="914603"/>
                    <a:pt x="115315" y="914216"/>
                  </a:cubicBezTo>
                  <a:cubicBezTo>
                    <a:pt x="80207" y="913440"/>
                    <a:pt x="68569" y="900444"/>
                    <a:pt x="73806" y="865918"/>
                  </a:cubicBezTo>
                  <a:cubicBezTo>
                    <a:pt x="83892" y="799969"/>
                    <a:pt x="96112" y="734408"/>
                    <a:pt x="105228" y="668265"/>
                  </a:cubicBezTo>
                  <a:cubicBezTo>
                    <a:pt x="114733" y="599019"/>
                    <a:pt x="109883" y="529191"/>
                    <a:pt x="109496" y="459557"/>
                  </a:cubicBezTo>
                  <a:cubicBezTo>
                    <a:pt x="109496" y="439578"/>
                    <a:pt x="99603" y="423091"/>
                    <a:pt x="82728" y="411259"/>
                  </a:cubicBezTo>
                  <a:cubicBezTo>
                    <a:pt x="70314" y="402531"/>
                    <a:pt x="58094" y="393220"/>
                    <a:pt x="46068" y="383716"/>
                  </a:cubicBezTo>
                  <a:cubicBezTo>
                    <a:pt x="13870" y="358306"/>
                    <a:pt x="-2423" y="325332"/>
                    <a:pt x="292" y="284017"/>
                  </a:cubicBezTo>
                  <a:cubicBezTo>
                    <a:pt x="5529" y="206042"/>
                    <a:pt x="11348" y="128067"/>
                    <a:pt x="16779" y="50093"/>
                  </a:cubicBezTo>
                  <a:cubicBezTo>
                    <a:pt x="17749" y="36903"/>
                    <a:pt x="18137" y="25265"/>
                    <a:pt x="37146" y="27205"/>
                  </a:cubicBezTo>
                  <a:cubicBezTo>
                    <a:pt x="53633" y="28950"/>
                    <a:pt x="64301" y="33412"/>
                    <a:pt x="64495" y="52420"/>
                  </a:cubicBezTo>
                  <a:cubicBezTo>
                    <a:pt x="64495" y="103046"/>
                    <a:pt x="65465" y="153477"/>
                    <a:pt x="66047" y="204102"/>
                  </a:cubicBezTo>
                  <a:cubicBezTo>
                    <a:pt x="66047" y="219038"/>
                    <a:pt x="65465" y="234361"/>
                    <a:pt x="76521" y="250073"/>
                  </a:cubicBezTo>
                  <a:close/>
                </a:path>
              </a:pathLst>
            </a:custGeom>
            <a:solidFill>
              <a:schemeClr val="bg1">
                <a:lumMod val="50000"/>
              </a:schemeClr>
            </a:solidFill>
            <a:ln w="19266" cap="flat">
              <a:noFill/>
              <a:prstDash val="solid"/>
              <a:miter/>
            </a:ln>
          </p:spPr>
          <p:txBody>
            <a:bodyPr rtlCol="0" anchor="ctr"/>
            <a:lstStyle/>
            <a:p>
              <a:endParaRPr lang="es-PE"/>
            </a:p>
          </p:txBody>
        </p:sp>
      </p:grpSp>
      <p:pic>
        <p:nvPicPr>
          <p:cNvPr id="5" name="Imagen 4">
            <a:extLst>
              <a:ext uri="{FF2B5EF4-FFF2-40B4-BE49-F238E27FC236}">
                <a16:creationId xmlns:a16="http://schemas.microsoft.com/office/drawing/2014/main" id="{8B3C6EF9-7BE6-1427-5501-C00583B964E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3400" y="218722"/>
            <a:ext cx="4650746" cy="3488060"/>
          </a:xfrm>
          <a:prstGeom prst="rect">
            <a:avLst/>
          </a:prstGeom>
        </p:spPr>
      </p:pic>
    </p:spTree>
    <p:extLst>
      <p:ext uri="{BB962C8B-B14F-4D97-AF65-F5344CB8AC3E}">
        <p14:creationId xmlns:p14="http://schemas.microsoft.com/office/powerpoint/2010/main" val="1958231800"/>
      </p:ext>
    </p:extLst>
  </p:cSld>
  <p:clrMapOvr>
    <a:masterClrMapping/>
  </p:clrMapOvr>
  <p:transition/>
  <p:timing/>
</p:sld>
</file>

<file path=ppt/slides/slide7.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3" name="Rounded Rectangle 2">
            <a:extLst>
              <a:ext uri="{FF2B5EF4-FFF2-40B4-BE49-F238E27FC236}">
                <a16:creationId xmlns:a16="http://schemas.microsoft.com/office/drawing/2014/main" id="{87D69C06-DF18-0D4F-800A-AA26B6E35BA6}"/>
              </a:ext>
            </a:extLst>
          </p:cNvPr>
          <p:cNvSpPr/>
          <p:nvPr/>
        </p:nvSpPr>
        <p:spPr>
          <a:xfrm>
            <a:off x="74652" y="2894403"/>
            <a:ext cx="12022098" cy="2527742"/>
          </a:xfrm>
          <a:prstGeom prst="roundRect">
            <a:avLst>
              <a:gd name="adj" fmla="val 12259"/>
            </a:avLst>
          </a:prstGeom>
          <a:solidFill>
            <a:srgbClr val="00677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8" name="Rounded Rectangle 2">
            <a:extLst>
              <a:ext uri="{FF2B5EF4-FFF2-40B4-BE49-F238E27FC236}">
                <a16:creationId xmlns:a16="http://schemas.microsoft.com/office/drawing/2014/main" id="{A6CF0F13-993E-4FDB-8432-C82ECCFDE1C1}"/>
              </a:ext>
            </a:extLst>
          </p:cNvPr>
          <p:cNvSpPr/>
          <p:nvPr/>
        </p:nvSpPr>
        <p:spPr>
          <a:xfrm>
            <a:off x="437921" y="2978976"/>
            <a:ext cx="11125200" cy="2339162"/>
          </a:xfrm>
          <a:prstGeom prst="roundRect">
            <a:avLst>
              <a:gd name="adj" fmla="val 12259"/>
            </a:avLst>
          </a:prstGeom>
          <a:blipFill dpi="0" rotWithShape="1">
            <a:blip r:embed="rId3">
              <a:extLst>
                <a:ext uri="{28A0092B-C50C-407E-A947-70E740481C1C}">
                  <a14:useLocalDpi xmlns:a14="http://schemas.microsoft.com/office/drawing/2010/main" val="0"/>
                </a:ext>
              </a:extLst>
            </a:blip>
            <a:stretch>
              <a:fillRect l="-14000" t="-22000" r="-6000" b="-19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Rounded Rectangle 3">
            <a:extLst>
              <a:ext uri="{FF2B5EF4-FFF2-40B4-BE49-F238E27FC236}">
                <a16:creationId xmlns:a16="http://schemas.microsoft.com/office/drawing/2014/main" id="{717C3911-2232-AA42-837D-387EF058DE2E}"/>
              </a:ext>
            </a:extLst>
          </p:cNvPr>
          <p:cNvSpPr/>
          <p:nvPr/>
        </p:nvSpPr>
        <p:spPr>
          <a:xfrm>
            <a:off x="884717" y="2362648"/>
            <a:ext cx="2337391" cy="1228121"/>
          </a:xfrm>
          <a:prstGeom prst="roundRect">
            <a:avLst>
              <a:gd name="adj" fmla="val 14130"/>
            </a:avLst>
          </a:prstGeom>
          <a:solidFill>
            <a:schemeClr val="bg1">
              <a:alpha val="66000"/>
            </a:schemeClr>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Oval 12">
            <a:extLst>
              <a:ext uri="{FF2B5EF4-FFF2-40B4-BE49-F238E27FC236}">
                <a16:creationId xmlns:a16="http://schemas.microsoft.com/office/drawing/2014/main" id="{1753622A-53D3-D641-8079-0BD26B2EED26}"/>
              </a:ext>
            </a:extLst>
          </p:cNvPr>
          <p:cNvSpPr/>
          <p:nvPr/>
        </p:nvSpPr>
        <p:spPr>
          <a:xfrm>
            <a:off x="1136750" y="1950718"/>
            <a:ext cx="780038" cy="780038"/>
          </a:xfrm>
          <a:prstGeom prst="ellipse">
            <a:avLst/>
          </a:prstGeom>
          <a:solidFill>
            <a:srgbClr val="00677F"/>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C898646A-A368-1C44-865B-B96EE579998A}"/>
              </a:ext>
            </a:extLst>
          </p:cNvPr>
          <p:cNvSpPr/>
          <p:nvPr/>
        </p:nvSpPr>
        <p:spPr>
          <a:xfrm>
            <a:off x="1136750" y="2986291"/>
            <a:ext cx="1683478" cy="246221"/>
          </a:xfrm>
          <a:prstGeom prst="rect">
            <a:avLst/>
          </a:prstGeom>
        </p:spPr>
        <p:txBody>
          <a:bodyPr wrap="square" lIns="0" tIns="0" rIns="0" bIns="0" anchor="t">
            <a:spAutoFit/>
          </a:bodyPr>
          <a:lstStyle/>
          <a:p>
            <a:r>
              <a:rPr lang="en-ID" sz="1600">
                <a:latin typeface="Segoe UI Light" panose="020b0502040204020203" pitchFamily="34" charset="0"/>
                <a:cs typeface="Segoe UI" panose="020b0502040204020203" pitchFamily="34" charset="0"/>
              </a:rPr>
              <a:t>Lorem Ipsum Dolor</a:t>
            </a:r>
            <a:endParaRPr lang="en-US" sz="1600">
              <a:latin typeface="Segoe UI Light" panose="020b0502040204020203" pitchFamily="34" charset="0"/>
              <a:cs typeface="Segoe UI" panose="020b0502040204020203" pitchFamily="34" charset="0"/>
            </a:endParaRPr>
          </a:p>
        </p:txBody>
      </p:sp>
      <p:sp>
        <p:nvSpPr>
          <p:cNvPr id="17" name="Rounded Rectangle 16">
            <a:extLst>
              <a:ext uri="{FF2B5EF4-FFF2-40B4-BE49-F238E27FC236}">
                <a16:creationId xmlns:a16="http://schemas.microsoft.com/office/drawing/2014/main" id="{F5CD0636-4B0A-2646-8975-E94AB73A12F1}"/>
              </a:ext>
            </a:extLst>
          </p:cNvPr>
          <p:cNvSpPr/>
          <p:nvPr/>
        </p:nvSpPr>
        <p:spPr>
          <a:xfrm>
            <a:off x="3516275" y="2362648"/>
            <a:ext cx="2337391" cy="1228121"/>
          </a:xfrm>
          <a:prstGeom prst="roundRect">
            <a:avLst>
              <a:gd name="adj" fmla="val 14130"/>
            </a:avLst>
          </a:prstGeom>
          <a:solidFill>
            <a:schemeClr val="bg1">
              <a:alpha val="66000"/>
            </a:schemeClr>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Oval 17">
            <a:extLst>
              <a:ext uri="{FF2B5EF4-FFF2-40B4-BE49-F238E27FC236}">
                <a16:creationId xmlns:a16="http://schemas.microsoft.com/office/drawing/2014/main" id="{D6815004-9C2F-254B-985D-4A9112F0C06B}"/>
              </a:ext>
            </a:extLst>
          </p:cNvPr>
          <p:cNvSpPr/>
          <p:nvPr/>
        </p:nvSpPr>
        <p:spPr>
          <a:xfrm>
            <a:off x="3768308" y="1950718"/>
            <a:ext cx="780038" cy="780038"/>
          </a:xfrm>
          <a:prstGeom prst="ellipse">
            <a:avLst/>
          </a:prstGeom>
          <a:solidFill>
            <a:srgbClr val="00677F"/>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8DB82427-44E9-BB48-90C2-B997C0115412}"/>
              </a:ext>
            </a:extLst>
          </p:cNvPr>
          <p:cNvSpPr/>
          <p:nvPr/>
        </p:nvSpPr>
        <p:spPr>
          <a:xfrm>
            <a:off x="3768308" y="2986291"/>
            <a:ext cx="1683478" cy="246221"/>
          </a:xfrm>
          <a:prstGeom prst="rect">
            <a:avLst/>
          </a:prstGeom>
        </p:spPr>
        <p:txBody>
          <a:bodyPr wrap="square" lIns="0" tIns="0" rIns="0" bIns="0" anchor="t">
            <a:spAutoFit/>
          </a:bodyPr>
          <a:lstStyle/>
          <a:p>
            <a:r>
              <a:rPr lang="en-ID" sz="1600">
                <a:latin typeface="Segoe UI Light" panose="020b0502040204020203" pitchFamily="34" charset="0"/>
                <a:cs typeface="Segoe UI" panose="020b0502040204020203" pitchFamily="34" charset="0"/>
              </a:rPr>
              <a:t>Lorem Ipsum Dolor</a:t>
            </a:r>
            <a:endParaRPr lang="en-US" sz="1600">
              <a:latin typeface="Segoe UI Light" panose="020b0502040204020203" pitchFamily="34" charset="0"/>
              <a:cs typeface="Segoe UI" panose="020b0502040204020203" pitchFamily="34" charset="0"/>
            </a:endParaRPr>
          </a:p>
        </p:txBody>
      </p:sp>
      <p:sp>
        <p:nvSpPr>
          <p:cNvPr id="21" name="Rounded Rectangle 20">
            <a:extLst>
              <a:ext uri="{FF2B5EF4-FFF2-40B4-BE49-F238E27FC236}">
                <a16:creationId xmlns:a16="http://schemas.microsoft.com/office/drawing/2014/main" id="{1AEEB234-5A1C-7946-84F7-86EF207906D7}"/>
              </a:ext>
            </a:extLst>
          </p:cNvPr>
          <p:cNvSpPr/>
          <p:nvPr/>
        </p:nvSpPr>
        <p:spPr>
          <a:xfrm>
            <a:off x="6147833" y="2362648"/>
            <a:ext cx="2337391" cy="1228121"/>
          </a:xfrm>
          <a:prstGeom prst="roundRect">
            <a:avLst>
              <a:gd name="adj" fmla="val 14130"/>
            </a:avLst>
          </a:prstGeom>
          <a:solidFill>
            <a:schemeClr val="bg1">
              <a:alpha val="66000"/>
            </a:schemeClr>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 name="Oval 21">
            <a:extLst>
              <a:ext uri="{FF2B5EF4-FFF2-40B4-BE49-F238E27FC236}">
                <a16:creationId xmlns:a16="http://schemas.microsoft.com/office/drawing/2014/main" id="{37D59BBE-0DDB-6C4A-9A06-DFD75959E114}"/>
              </a:ext>
            </a:extLst>
          </p:cNvPr>
          <p:cNvSpPr/>
          <p:nvPr/>
        </p:nvSpPr>
        <p:spPr>
          <a:xfrm>
            <a:off x="6399866" y="1950718"/>
            <a:ext cx="780038" cy="780038"/>
          </a:xfrm>
          <a:prstGeom prst="ellipse">
            <a:avLst/>
          </a:prstGeom>
          <a:solidFill>
            <a:srgbClr val="00677F"/>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663EAB7B-B784-294A-80AF-2EB48E6403F0}"/>
              </a:ext>
            </a:extLst>
          </p:cNvPr>
          <p:cNvSpPr/>
          <p:nvPr/>
        </p:nvSpPr>
        <p:spPr>
          <a:xfrm>
            <a:off x="6399866" y="2986291"/>
            <a:ext cx="1683478" cy="246221"/>
          </a:xfrm>
          <a:prstGeom prst="rect">
            <a:avLst/>
          </a:prstGeom>
        </p:spPr>
        <p:txBody>
          <a:bodyPr wrap="square" lIns="0" tIns="0" rIns="0" bIns="0" anchor="t">
            <a:spAutoFit/>
          </a:bodyPr>
          <a:lstStyle/>
          <a:p>
            <a:r>
              <a:rPr lang="en-ID" sz="1600">
                <a:latin typeface="Segoe UI Light" panose="020b0502040204020203" pitchFamily="34" charset="0"/>
                <a:cs typeface="Segoe UI" panose="020b0502040204020203" pitchFamily="34" charset="0"/>
              </a:rPr>
              <a:t>Lorem Ipsum Dolor</a:t>
            </a:r>
            <a:endParaRPr lang="en-US" sz="1600">
              <a:latin typeface="Segoe UI Light" panose="020b0502040204020203" pitchFamily="34" charset="0"/>
              <a:cs typeface="Segoe UI" panose="020b0502040204020203" pitchFamily="34" charset="0"/>
            </a:endParaRPr>
          </a:p>
        </p:txBody>
      </p:sp>
      <p:sp>
        <p:nvSpPr>
          <p:cNvPr id="25" name="Rounded Rectangle 24">
            <a:extLst>
              <a:ext uri="{FF2B5EF4-FFF2-40B4-BE49-F238E27FC236}">
                <a16:creationId xmlns:a16="http://schemas.microsoft.com/office/drawing/2014/main" id="{D8FEC146-8EF6-334E-9A2E-F4ACB4CE4878}"/>
              </a:ext>
            </a:extLst>
          </p:cNvPr>
          <p:cNvSpPr/>
          <p:nvPr/>
        </p:nvSpPr>
        <p:spPr>
          <a:xfrm>
            <a:off x="8779392" y="2362648"/>
            <a:ext cx="2337391" cy="1228121"/>
          </a:xfrm>
          <a:prstGeom prst="roundRect">
            <a:avLst>
              <a:gd name="adj" fmla="val 14130"/>
            </a:avLst>
          </a:prstGeom>
          <a:solidFill>
            <a:schemeClr val="bg1">
              <a:alpha val="66000"/>
            </a:schemeClr>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6" name="Oval 25">
            <a:extLst>
              <a:ext uri="{FF2B5EF4-FFF2-40B4-BE49-F238E27FC236}">
                <a16:creationId xmlns:a16="http://schemas.microsoft.com/office/drawing/2014/main" id="{9F0E6D28-9ED5-CC42-A357-46313F20F263}"/>
              </a:ext>
            </a:extLst>
          </p:cNvPr>
          <p:cNvSpPr/>
          <p:nvPr/>
        </p:nvSpPr>
        <p:spPr>
          <a:xfrm>
            <a:off x="9031425" y="1950718"/>
            <a:ext cx="780038" cy="780038"/>
          </a:xfrm>
          <a:prstGeom prst="ellipse">
            <a:avLst/>
          </a:prstGeom>
          <a:solidFill>
            <a:srgbClr val="00677F"/>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65F9C8C3-E472-1D45-9AC7-DB2D5E55A9D6}"/>
              </a:ext>
            </a:extLst>
          </p:cNvPr>
          <p:cNvSpPr/>
          <p:nvPr/>
        </p:nvSpPr>
        <p:spPr>
          <a:xfrm>
            <a:off x="9031425" y="2986291"/>
            <a:ext cx="1683478" cy="246221"/>
          </a:xfrm>
          <a:prstGeom prst="rect">
            <a:avLst/>
          </a:prstGeom>
        </p:spPr>
        <p:txBody>
          <a:bodyPr wrap="square" lIns="0" tIns="0" rIns="0" bIns="0" anchor="t">
            <a:spAutoFit/>
          </a:bodyPr>
          <a:lstStyle/>
          <a:p>
            <a:r>
              <a:rPr lang="en-ID" sz="1600">
                <a:latin typeface="Segoe UI Light" panose="020b0502040204020203" pitchFamily="34" charset="0"/>
                <a:cs typeface="Segoe UI" panose="020b0502040204020203" pitchFamily="34" charset="0"/>
              </a:rPr>
              <a:t>Lorem Ipsum Dolor</a:t>
            </a:r>
            <a:endParaRPr lang="en-US" sz="1600">
              <a:latin typeface="Segoe UI Light" panose="020b0502040204020203" pitchFamily="34" charset="0"/>
              <a:cs typeface="Segoe UI" panose="020b0502040204020203" pitchFamily="34" charset="0"/>
            </a:endParaRPr>
          </a:p>
        </p:txBody>
      </p:sp>
      <p:sp>
        <p:nvSpPr>
          <p:cNvPr id="29" name="Rounded Rectangle 28">
            <a:extLst>
              <a:ext uri="{FF2B5EF4-FFF2-40B4-BE49-F238E27FC236}">
                <a16:creationId xmlns:a16="http://schemas.microsoft.com/office/drawing/2014/main" id="{F3F0B80F-3071-8245-A522-C2A011DA7165}"/>
              </a:ext>
            </a:extLst>
          </p:cNvPr>
          <p:cNvSpPr/>
          <p:nvPr/>
        </p:nvSpPr>
        <p:spPr>
          <a:xfrm flipV="1">
            <a:off x="884717" y="4593882"/>
            <a:ext cx="2337391" cy="1228121"/>
          </a:xfrm>
          <a:prstGeom prst="roundRect">
            <a:avLst>
              <a:gd name="adj" fmla="val 14130"/>
            </a:avLst>
          </a:prstGeom>
          <a:solidFill>
            <a:schemeClr val="bg1">
              <a:alpha val="66000"/>
            </a:schemeClr>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0" name="Oval 29">
            <a:extLst>
              <a:ext uri="{FF2B5EF4-FFF2-40B4-BE49-F238E27FC236}">
                <a16:creationId xmlns:a16="http://schemas.microsoft.com/office/drawing/2014/main" id="{36C20C22-299C-2B40-B896-5F78E3943943}"/>
              </a:ext>
            </a:extLst>
          </p:cNvPr>
          <p:cNvSpPr/>
          <p:nvPr/>
        </p:nvSpPr>
        <p:spPr>
          <a:xfrm flipV="1">
            <a:off x="1136750" y="5453895"/>
            <a:ext cx="780038" cy="780038"/>
          </a:xfrm>
          <a:prstGeom prst="ellipse">
            <a:avLst/>
          </a:prstGeom>
          <a:solidFill>
            <a:srgbClr val="00ABF7"/>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07095A1F-6166-604F-8321-18FE5FBD8D8C}"/>
              </a:ext>
            </a:extLst>
          </p:cNvPr>
          <p:cNvSpPr/>
          <p:nvPr/>
        </p:nvSpPr>
        <p:spPr>
          <a:xfrm>
            <a:off x="1136750" y="4952139"/>
            <a:ext cx="1683478" cy="246221"/>
          </a:xfrm>
          <a:prstGeom prst="rect">
            <a:avLst/>
          </a:prstGeom>
        </p:spPr>
        <p:txBody>
          <a:bodyPr wrap="square" lIns="0" tIns="0" rIns="0" bIns="0" anchor="t">
            <a:spAutoFit/>
          </a:bodyPr>
          <a:lstStyle/>
          <a:p>
            <a:r>
              <a:rPr lang="en-ID" sz="1600">
                <a:latin typeface="Segoe UI Light" panose="020b0502040204020203" pitchFamily="34" charset="0"/>
                <a:cs typeface="Segoe UI" panose="020b0502040204020203" pitchFamily="34" charset="0"/>
              </a:rPr>
              <a:t>Lorem Ipsum Dolor</a:t>
            </a:r>
            <a:endParaRPr lang="en-US" sz="1600">
              <a:latin typeface="Segoe UI Light" panose="020b0502040204020203" pitchFamily="34" charset="0"/>
              <a:cs typeface="Segoe UI" panose="020b0502040204020203" pitchFamily="34" charset="0"/>
            </a:endParaRPr>
          </a:p>
        </p:txBody>
      </p:sp>
      <p:sp>
        <p:nvSpPr>
          <p:cNvPr id="33" name="Rounded Rectangle 32">
            <a:extLst>
              <a:ext uri="{FF2B5EF4-FFF2-40B4-BE49-F238E27FC236}">
                <a16:creationId xmlns:a16="http://schemas.microsoft.com/office/drawing/2014/main" id="{7CF329B8-2886-A248-A2A5-60AF1AE4AFD4}"/>
              </a:ext>
            </a:extLst>
          </p:cNvPr>
          <p:cNvSpPr/>
          <p:nvPr/>
        </p:nvSpPr>
        <p:spPr>
          <a:xfrm flipV="1">
            <a:off x="3516275" y="4593882"/>
            <a:ext cx="2337391" cy="1228121"/>
          </a:xfrm>
          <a:prstGeom prst="roundRect">
            <a:avLst>
              <a:gd name="adj" fmla="val 14130"/>
            </a:avLst>
          </a:prstGeom>
          <a:solidFill>
            <a:schemeClr val="bg1">
              <a:alpha val="66000"/>
            </a:schemeClr>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4" name="Oval 33">
            <a:extLst>
              <a:ext uri="{FF2B5EF4-FFF2-40B4-BE49-F238E27FC236}">
                <a16:creationId xmlns:a16="http://schemas.microsoft.com/office/drawing/2014/main" id="{CA7D9C3A-7C8E-4C44-A007-A36F4AB88C46}"/>
              </a:ext>
            </a:extLst>
          </p:cNvPr>
          <p:cNvSpPr/>
          <p:nvPr/>
        </p:nvSpPr>
        <p:spPr>
          <a:xfrm flipV="1">
            <a:off x="3768308" y="5453895"/>
            <a:ext cx="780038" cy="780038"/>
          </a:xfrm>
          <a:prstGeom prst="ellipse">
            <a:avLst/>
          </a:prstGeom>
          <a:solidFill>
            <a:srgbClr val="00ABF7"/>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A4924D7A-952D-8E4D-B35C-CCA4950778E1}"/>
              </a:ext>
            </a:extLst>
          </p:cNvPr>
          <p:cNvSpPr/>
          <p:nvPr/>
        </p:nvSpPr>
        <p:spPr>
          <a:xfrm>
            <a:off x="3768308" y="4952139"/>
            <a:ext cx="1683478" cy="246221"/>
          </a:xfrm>
          <a:prstGeom prst="rect">
            <a:avLst/>
          </a:prstGeom>
        </p:spPr>
        <p:txBody>
          <a:bodyPr wrap="square" lIns="0" tIns="0" rIns="0" bIns="0" anchor="t">
            <a:spAutoFit/>
          </a:bodyPr>
          <a:lstStyle/>
          <a:p>
            <a:r>
              <a:rPr lang="en-ID" sz="1600">
                <a:latin typeface="Segoe UI Light" panose="020b0502040204020203" pitchFamily="34" charset="0"/>
                <a:cs typeface="Segoe UI" panose="020b0502040204020203" pitchFamily="34" charset="0"/>
              </a:rPr>
              <a:t>Lorem Ipsum Dolor</a:t>
            </a:r>
            <a:endParaRPr lang="en-US" sz="1600">
              <a:latin typeface="Segoe UI Light" panose="020b0502040204020203" pitchFamily="34" charset="0"/>
              <a:cs typeface="Segoe UI" panose="020b0502040204020203" pitchFamily="34" charset="0"/>
            </a:endParaRPr>
          </a:p>
        </p:txBody>
      </p:sp>
      <p:sp>
        <p:nvSpPr>
          <p:cNvPr id="37" name="Rounded Rectangle 36">
            <a:extLst>
              <a:ext uri="{FF2B5EF4-FFF2-40B4-BE49-F238E27FC236}">
                <a16:creationId xmlns:a16="http://schemas.microsoft.com/office/drawing/2014/main" id="{F159D20A-525A-7041-AA3E-AC432FAB4A57}"/>
              </a:ext>
            </a:extLst>
          </p:cNvPr>
          <p:cNvSpPr/>
          <p:nvPr/>
        </p:nvSpPr>
        <p:spPr>
          <a:xfrm flipV="1">
            <a:off x="6147833" y="4593882"/>
            <a:ext cx="2337391" cy="1228121"/>
          </a:xfrm>
          <a:prstGeom prst="roundRect">
            <a:avLst>
              <a:gd name="adj" fmla="val 14130"/>
            </a:avLst>
          </a:prstGeom>
          <a:solidFill>
            <a:schemeClr val="bg1">
              <a:alpha val="66000"/>
            </a:schemeClr>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8" name="Oval 37">
            <a:extLst>
              <a:ext uri="{FF2B5EF4-FFF2-40B4-BE49-F238E27FC236}">
                <a16:creationId xmlns:a16="http://schemas.microsoft.com/office/drawing/2014/main" id="{14532923-549F-0A4B-BBF5-FB9285AB4E62}"/>
              </a:ext>
            </a:extLst>
          </p:cNvPr>
          <p:cNvSpPr/>
          <p:nvPr/>
        </p:nvSpPr>
        <p:spPr>
          <a:xfrm flipV="1">
            <a:off x="6399866" y="5453895"/>
            <a:ext cx="780038" cy="780038"/>
          </a:xfrm>
          <a:prstGeom prst="ellipse">
            <a:avLst/>
          </a:prstGeom>
          <a:solidFill>
            <a:srgbClr val="00ABF7"/>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4C3FA71C-BDAF-3142-8991-AEEFE693D466}"/>
              </a:ext>
            </a:extLst>
          </p:cNvPr>
          <p:cNvSpPr/>
          <p:nvPr/>
        </p:nvSpPr>
        <p:spPr>
          <a:xfrm>
            <a:off x="6399866" y="4952139"/>
            <a:ext cx="1683478" cy="246221"/>
          </a:xfrm>
          <a:prstGeom prst="rect">
            <a:avLst/>
          </a:prstGeom>
        </p:spPr>
        <p:txBody>
          <a:bodyPr wrap="square" lIns="0" tIns="0" rIns="0" bIns="0" anchor="t">
            <a:spAutoFit/>
          </a:bodyPr>
          <a:lstStyle/>
          <a:p>
            <a:r>
              <a:rPr lang="en-ID" sz="1600">
                <a:latin typeface="Segoe UI Light" panose="020b0502040204020203" pitchFamily="34" charset="0"/>
                <a:cs typeface="Segoe UI" panose="020b0502040204020203" pitchFamily="34" charset="0"/>
              </a:rPr>
              <a:t>Lorem Ipsum Dolor</a:t>
            </a:r>
            <a:endParaRPr lang="en-US" sz="1600">
              <a:latin typeface="Segoe UI Light" panose="020b0502040204020203" pitchFamily="34" charset="0"/>
              <a:cs typeface="Segoe UI" panose="020b0502040204020203" pitchFamily="34" charset="0"/>
            </a:endParaRPr>
          </a:p>
        </p:txBody>
      </p:sp>
      <p:sp>
        <p:nvSpPr>
          <p:cNvPr id="41" name="Rounded Rectangle 40">
            <a:extLst>
              <a:ext uri="{FF2B5EF4-FFF2-40B4-BE49-F238E27FC236}">
                <a16:creationId xmlns:a16="http://schemas.microsoft.com/office/drawing/2014/main" id="{C00C41EE-6E21-8744-A12A-F32EB0F0069A}"/>
              </a:ext>
            </a:extLst>
          </p:cNvPr>
          <p:cNvSpPr/>
          <p:nvPr/>
        </p:nvSpPr>
        <p:spPr>
          <a:xfrm flipV="1">
            <a:off x="8779392" y="4593882"/>
            <a:ext cx="2337391" cy="1228121"/>
          </a:xfrm>
          <a:prstGeom prst="roundRect">
            <a:avLst>
              <a:gd name="adj" fmla="val 14130"/>
            </a:avLst>
          </a:prstGeom>
          <a:solidFill>
            <a:schemeClr val="bg1">
              <a:alpha val="66000"/>
            </a:schemeClr>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2" name="Oval 41">
            <a:extLst>
              <a:ext uri="{FF2B5EF4-FFF2-40B4-BE49-F238E27FC236}">
                <a16:creationId xmlns:a16="http://schemas.microsoft.com/office/drawing/2014/main" id="{DA22E6C3-73AE-A44B-AAD6-A93D7B3EE66C}"/>
              </a:ext>
            </a:extLst>
          </p:cNvPr>
          <p:cNvSpPr/>
          <p:nvPr/>
        </p:nvSpPr>
        <p:spPr>
          <a:xfrm flipV="1">
            <a:off x="9031425" y="5453895"/>
            <a:ext cx="780038" cy="780038"/>
          </a:xfrm>
          <a:prstGeom prst="ellipse">
            <a:avLst/>
          </a:prstGeom>
          <a:solidFill>
            <a:srgbClr val="00ABF7"/>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AE732CFB-DA6C-F149-B919-95E9D60852BB}"/>
              </a:ext>
            </a:extLst>
          </p:cNvPr>
          <p:cNvSpPr/>
          <p:nvPr/>
        </p:nvSpPr>
        <p:spPr>
          <a:xfrm>
            <a:off x="9031425" y="4952139"/>
            <a:ext cx="1683478" cy="246221"/>
          </a:xfrm>
          <a:prstGeom prst="rect">
            <a:avLst/>
          </a:prstGeom>
        </p:spPr>
        <p:txBody>
          <a:bodyPr wrap="square" lIns="0" tIns="0" rIns="0" bIns="0" anchor="t">
            <a:spAutoFit/>
          </a:bodyPr>
          <a:lstStyle/>
          <a:p>
            <a:r>
              <a:rPr lang="en-ID" sz="1600">
                <a:latin typeface="Segoe UI Light" panose="020b0502040204020203" pitchFamily="34" charset="0"/>
                <a:cs typeface="Segoe UI" panose="020b0502040204020203" pitchFamily="34" charset="0"/>
              </a:rPr>
              <a:t>Lorem Ipsum Dolor</a:t>
            </a:r>
            <a:endParaRPr lang="en-US" sz="1600">
              <a:latin typeface="Segoe UI Light" panose="020b0502040204020203" pitchFamily="34" charset="0"/>
              <a:cs typeface="Segoe UI" panose="020b0502040204020203" pitchFamily="34" charset="0"/>
            </a:endParaRPr>
          </a:p>
        </p:txBody>
      </p:sp>
      <p:grpSp>
        <p:nvGrpSpPr>
          <p:cNvPr id="44" name="Group 43">
            <a:extLst>
              <a:ext uri="{FF2B5EF4-FFF2-40B4-BE49-F238E27FC236}">
                <a16:creationId xmlns:a16="http://schemas.microsoft.com/office/drawing/2014/main" id="{0BD2670E-75A1-AC4E-B3D4-F151AA0ED01C}"/>
              </a:ext>
            </a:extLst>
          </p:cNvPr>
          <p:cNvGrpSpPr/>
          <p:nvPr/>
        </p:nvGrpSpPr>
        <p:grpSpPr>
          <a:xfrm>
            <a:off x="1342619" y="2167700"/>
            <a:ext cx="368300" cy="346075"/>
            <a:chOff x="5548313" y="2541588"/>
            <a:chExt cx="368300" cy="346075"/>
          </a:xfrm>
          <a:solidFill>
            <a:schemeClr val="bg1"/>
          </a:solidFill>
        </p:grpSpPr>
        <p:sp>
          <p:nvSpPr>
            <p:cNvPr id="45" name="Rectangle 839">
              <a:extLst>
                <a:ext uri="{FF2B5EF4-FFF2-40B4-BE49-F238E27FC236}">
                  <a16:creationId xmlns:a16="http://schemas.microsoft.com/office/drawing/2014/main" id="{AA081198-59A2-E74B-9643-6A734AE67CA5}"/>
                </a:ext>
              </a:extLst>
            </p:cNvPr>
            <p:cNvSpPr>
              <a:spLocks noChangeArrowheads="1"/>
            </p:cNvSpPr>
            <p:nvPr/>
          </p:nvSpPr>
          <p:spPr bwMode="auto">
            <a:xfrm>
              <a:off x="5675313" y="2782888"/>
              <a:ext cx="112713"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 name="Rectangle 840">
              <a:extLst>
                <a:ext uri="{FF2B5EF4-FFF2-40B4-BE49-F238E27FC236}">
                  <a16:creationId xmlns:a16="http://schemas.microsoft.com/office/drawing/2014/main" id="{0EF0D848-5779-E84C-B0FE-091DF218BB9C}"/>
                </a:ext>
              </a:extLst>
            </p:cNvPr>
            <p:cNvSpPr>
              <a:spLocks noChangeArrowheads="1"/>
            </p:cNvSpPr>
            <p:nvPr/>
          </p:nvSpPr>
          <p:spPr bwMode="auto">
            <a:xfrm>
              <a:off x="5768975" y="2843213"/>
              <a:ext cx="63500"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 name="Freeform 841">
              <a:extLst>
                <a:ext uri="{FF2B5EF4-FFF2-40B4-BE49-F238E27FC236}">
                  <a16:creationId xmlns:a16="http://schemas.microsoft.com/office/drawing/2014/main" id="{8B03963A-BE9E-CA46-903B-87A936596773}"/>
                </a:ext>
              </a:extLst>
            </p:cNvPr>
            <p:cNvSpPr/>
            <p:nvPr/>
          </p:nvSpPr>
          <p:spPr bwMode="auto">
            <a:xfrm>
              <a:off x="5727700" y="2601913"/>
              <a:ext cx="46038" cy="14288"/>
            </a:xfrm>
            <a:custGeom>
              <a:gdLst>
                <a:gd name="T0" fmla="*/ 10 w 12"/>
                <a:gd name="T1" fmla="*/ 4 h 4"/>
                <a:gd name="T2" fmla="*/ 2 w 12"/>
                <a:gd name="T3" fmla="*/ 4 h 4"/>
                <a:gd name="T4" fmla="*/ 0 w 12"/>
                <a:gd name="T5" fmla="*/ 2 h 4"/>
                <a:gd name="T6" fmla="*/ 2 w 12"/>
                <a:gd name="T7" fmla="*/ 0 h 4"/>
                <a:gd name="T8" fmla="*/ 10 w 12"/>
                <a:gd name="T9" fmla="*/ 0 h 4"/>
                <a:gd name="T10" fmla="*/ 12 w 12"/>
                <a:gd name="T11" fmla="*/ 2 h 4"/>
                <a:gd name="T12" fmla="*/ 10 w 12"/>
                <a:gd name="T13" fmla="*/ 4 h 4"/>
              </a:gdLst>
              <a:cxnLst>
                <a:cxn ang="0">
                  <a:pos x="T0" y="T1"/>
                </a:cxn>
                <a:cxn ang="0">
                  <a:pos x="T2" y="T3"/>
                </a:cxn>
                <a:cxn ang="0">
                  <a:pos x="T4" y="T5"/>
                </a:cxn>
                <a:cxn ang="0">
                  <a:pos x="T6" y="T7"/>
                </a:cxn>
                <a:cxn ang="0">
                  <a:pos x="T8" y="T9"/>
                </a:cxn>
                <a:cxn ang="0">
                  <a:pos x="T10" y="T11"/>
                </a:cxn>
                <a:cxn ang="0">
                  <a:pos x="T12" y="T13"/>
                </a:cxn>
              </a:cxnLst>
              <a:rect l="0" t="0" r="r" b="b"/>
              <a:pathLst>
                <a:path w="12" h="4">
                  <a:moveTo>
                    <a:pt x="10" y="4"/>
                  </a:moveTo>
                  <a:cubicBezTo>
                    <a:pt x="2" y="4"/>
                    <a:pt x="2" y="4"/>
                    <a:pt x="2" y="4"/>
                  </a:cubicBezTo>
                  <a:cubicBezTo>
                    <a:pt x="1" y="4"/>
                    <a:pt x="0" y="3"/>
                    <a:pt x="0" y="2"/>
                  </a:cubicBezTo>
                  <a:cubicBezTo>
                    <a:pt x="0" y="1"/>
                    <a:pt x="1" y="0"/>
                    <a:pt x="2" y="0"/>
                  </a:cubicBezTo>
                  <a:cubicBezTo>
                    <a:pt x="10" y="0"/>
                    <a:pt x="10" y="0"/>
                    <a:pt x="10" y="0"/>
                  </a:cubicBezTo>
                  <a:cubicBezTo>
                    <a:pt x="11" y="0"/>
                    <a:pt x="12" y="1"/>
                    <a:pt x="12" y="2"/>
                  </a:cubicBezTo>
                  <a:cubicBezTo>
                    <a:pt x="12" y="3"/>
                    <a:pt x="11"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8" name="Freeform 842">
              <a:extLst>
                <a:ext uri="{FF2B5EF4-FFF2-40B4-BE49-F238E27FC236}">
                  <a16:creationId xmlns:a16="http://schemas.microsoft.com/office/drawing/2014/main" id="{6C6B435A-50C2-9B4E-BA2E-50D93DE918C1}"/>
                </a:ext>
              </a:extLst>
            </p:cNvPr>
            <p:cNvSpPr/>
            <p:nvPr/>
          </p:nvSpPr>
          <p:spPr bwMode="auto">
            <a:xfrm>
              <a:off x="5743575" y="2632075"/>
              <a:ext cx="96838" cy="14288"/>
            </a:xfrm>
            <a:custGeom>
              <a:gdLst>
                <a:gd name="T0" fmla="*/ 24 w 26"/>
                <a:gd name="T1" fmla="*/ 4 h 4"/>
                <a:gd name="T2" fmla="*/ 2 w 26"/>
                <a:gd name="T3" fmla="*/ 4 h 4"/>
                <a:gd name="T4" fmla="*/ 0 w 26"/>
                <a:gd name="T5" fmla="*/ 2 h 4"/>
                <a:gd name="T6" fmla="*/ 2 w 26"/>
                <a:gd name="T7" fmla="*/ 0 h 4"/>
                <a:gd name="T8" fmla="*/ 24 w 26"/>
                <a:gd name="T9" fmla="*/ 0 h 4"/>
                <a:gd name="T10" fmla="*/ 26 w 26"/>
                <a:gd name="T11" fmla="*/ 2 h 4"/>
                <a:gd name="T12" fmla="*/ 24 w 26"/>
                <a:gd name="T13" fmla="*/ 4 h 4"/>
              </a:gdLst>
              <a:cxnLst>
                <a:cxn ang="0">
                  <a:pos x="T0" y="T1"/>
                </a:cxn>
                <a:cxn ang="0">
                  <a:pos x="T2" y="T3"/>
                </a:cxn>
                <a:cxn ang="0">
                  <a:pos x="T4" y="T5"/>
                </a:cxn>
                <a:cxn ang="0">
                  <a:pos x="T6" y="T7"/>
                </a:cxn>
                <a:cxn ang="0">
                  <a:pos x="T8" y="T9"/>
                </a:cxn>
                <a:cxn ang="0">
                  <a:pos x="T10" y="T11"/>
                </a:cxn>
                <a:cxn ang="0">
                  <a:pos x="T12" y="T13"/>
                </a:cxn>
              </a:cxnLst>
              <a:rect l="0" t="0" r="r" b="b"/>
              <a:pathLst>
                <a:path w="26" h="4">
                  <a:moveTo>
                    <a:pt x="24" y="4"/>
                  </a:move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cubicBezTo>
                    <a:pt x="26" y="3"/>
                    <a:pt x="25" y="4"/>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9" name="Freeform 843">
              <a:extLst>
                <a:ext uri="{FF2B5EF4-FFF2-40B4-BE49-F238E27FC236}">
                  <a16:creationId xmlns:a16="http://schemas.microsoft.com/office/drawing/2014/main" id="{34664304-7230-FF49-84BF-5D168DCE53D8}"/>
                </a:ext>
              </a:extLst>
            </p:cNvPr>
            <p:cNvSpPr/>
            <p:nvPr/>
          </p:nvSpPr>
          <p:spPr bwMode="auto">
            <a:xfrm>
              <a:off x="5719763" y="2662238"/>
              <a:ext cx="112713" cy="14288"/>
            </a:xfrm>
            <a:custGeom>
              <a:gdLst>
                <a:gd name="T0" fmla="*/ 28 w 30"/>
                <a:gd name="T1" fmla="*/ 4 h 4"/>
                <a:gd name="T2" fmla="*/ 2 w 30"/>
                <a:gd name="T3" fmla="*/ 4 h 4"/>
                <a:gd name="T4" fmla="*/ 0 w 30"/>
                <a:gd name="T5" fmla="*/ 2 h 4"/>
                <a:gd name="T6" fmla="*/ 2 w 30"/>
                <a:gd name="T7" fmla="*/ 0 h 4"/>
                <a:gd name="T8" fmla="*/ 28 w 30"/>
                <a:gd name="T9" fmla="*/ 0 h 4"/>
                <a:gd name="T10" fmla="*/ 30 w 30"/>
                <a:gd name="T11" fmla="*/ 2 h 4"/>
                <a:gd name="T12" fmla="*/ 28 w 30"/>
                <a:gd name="T13" fmla="*/ 4 h 4"/>
              </a:gdLst>
              <a:cxnLst>
                <a:cxn ang="0">
                  <a:pos x="T0" y="T1"/>
                </a:cxn>
                <a:cxn ang="0">
                  <a:pos x="T2" y="T3"/>
                </a:cxn>
                <a:cxn ang="0">
                  <a:pos x="T4" y="T5"/>
                </a:cxn>
                <a:cxn ang="0">
                  <a:pos x="T6" y="T7"/>
                </a:cxn>
                <a:cxn ang="0">
                  <a:pos x="T8" y="T9"/>
                </a:cxn>
                <a:cxn ang="0">
                  <a:pos x="T10" y="T11"/>
                </a:cxn>
                <a:cxn ang="0">
                  <a:pos x="T12" y="T13"/>
                </a:cxn>
              </a:cxnLst>
              <a:rect l="0" t="0" r="r" b="b"/>
              <a:pathLst>
                <a:path w="30" h="4">
                  <a:moveTo>
                    <a:pt x="28" y="4"/>
                  </a:moveTo>
                  <a:cubicBezTo>
                    <a:pt x="2" y="4"/>
                    <a:pt x="2" y="4"/>
                    <a:pt x="2" y="4"/>
                  </a:cubicBezTo>
                  <a:cubicBezTo>
                    <a:pt x="1" y="4"/>
                    <a:pt x="0" y="3"/>
                    <a:pt x="0" y="2"/>
                  </a:cubicBezTo>
                  <a:cubicBezTo>
                    <a:pt x="0" y="1"/>
                    <a:pt x="1" y="0"/>
                    <a:pt x="2" y="0"/>
                  </a:cubicBezTo>
                  <a:cubicBezTo>
                    <a:pt x="28" y="0"/>
                    <a:pt x="28" y="0"/>
                    <a:pt x="28" y="0"/>
                  </a:cubicBezTo>
                  <a:cubicBezTo>
                    <a:pt x="29" y="0"/>
                    <a:pt x="30" y="1"/>
                    <a:pt x="30" y="2"/>
                  </a:cubicBezTo>
                  <a:cubicBezTo>
                    <a:pt x="30" y="3"/>
                    <a:pt x="29" y="4"/>
                    <a:pt x="2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0" name="Freeform 844">
              <a:extLst>
                <a:ext uri="{FF2B5EF4-FFF2-40B4-BE49-F238E27FC236}">
                  <a16:creationId xmlns:a16="http://schemas.microsoft.com/office/drawing/2014/main" id="{8820AF8C-8CA4-5946-BAA4-BB964DFBF094}"/>
                </a:ext>
              </a:extLst>
            </p:cNvPr>
            <p:cNvSpPr/>
            <p:nvPr/>
          </p:nvSpPr>
          <p:spPr bwMode="auto">
            <a:xfrm>
              <a:off x="5719763" y="2692400"/>
              <a:ext cx="120650" cy="14288"/>
            </a:xfrm>
            <a:custGeom>
              <a:gdLst>
                <a:gd name="T0" fmla="*/ 30 w 32"/>
                <a:gd name="T1" fmla="*/ 4 h 4"/>
                <a:gd name="T2" fmla="*/ 2 w 32"/>
                <a:gd name="T3" fmla="*/ 4 h 4"/>
                <a:gd name="T4" fmla="*/ 0 w 32"/>
                <a:gd name="T5" fmla="*/ 2 h 4"/>
                <a:gd name="T6" fmla="*/ 2 w 32"/>
                <a:gd name="T7" fmla="*/ 0 h 4"/>
                <a:gd name="T8" fmla="*/ 30 w 32"/>
                <a:gd name="T9" fmla="*/ 0 h 4"/>
                <a:gd name="T10" fmla="*/ 32 w 32"/>
                <a:gd name="T11" fmla="*/ 2 h 4"/>
                <a:gd name="T12" fmla="*/ 30 w 32"/>
                <a:gd name="T13" fmla="*/ 4 h 4"/>
              </a:gdLst>
              <a:cxnLst>
                <a:cxn ang="0">
                  <a:pos x="T0" y="T1"/>
                </a:cxn>
                <a:cxn ang="0">
                  <a:pos x="T2" y="T3"/>
                </a:cxn>
                <a:cxn ang="0">
                  <a:pos x="T4" y="T5"/>
                </a:cxn>
                <a:cxn ang="0">
                  <a:pos x="T6" y="T7"/>
                </a:cxn>
                <a:cxn ang="0">
                  <a:pos x="T8" y="T9"/>
                </a:cxn>
                <a:cxn ang="0">
                  <a:pos x="T10" y="T11"/>
                </a:cxn>
                <a:cxn ang="0">
                  <a:pos x="T12" y="T13"/>
                </a:cxn>
              </a:cxnLst>
              <a:rect l="0" t="0" r="r" b="b"/>
              <a:pathLst>
                <a:path w="32" h="4">
                  <a:moveTo>
                    <a:pt x="30" y="4"/>
                  </a:moveTo>
                  <a:cubicBezTo>
                    <a:pt x="2" y="4"/>
                    <a:pt x="2" y="4"/>
                    <a:pt x="2" y="4"/>
                  </a:cubicBezTo>
                  <a:cubicBezTo>
                    <a:pt x="1" y="4"/>
                    <a:pt x="0" y="3"/>
                    <a:pt x="0" y="2"/>
                  </a:cubicBezTo>
                  <a:cubicBezTo>
                    <a:pt x="0" y="1"/>
                    <a:pt x="1" y="0"/>
                    <a:pt x="2" y="0"/>
                  </a:cubicBezTo>
                  <a:cubicBezTo>
                    <a:pt x="30" y="0"/>
                    <a:pt x="30" y="0"/>
                    <a:pt x="30" y="0"/>
                  </a:cubicBezTo>
                  <a:cubicBezTo>
                    <a:pt x="31" y="0"/>
                    <a:pt x="32" y="1"/>
                    <a:pt x="32" y="2"/>
                  </a:cubicBezTo>
                  <a:cubicBezTo>
                    <a:pt x="32" y="3"/>
                    <a:pt x="31" y="4"/>
                    <a:pt x="3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1" name="Freeform 845">
              <a:extLst>
                <a:ext uri="{FF2B5EF4-FFF2-40B4-BE49-F238E27FC236}">
                  <a16:creationId xmlns:a16="http://schemas.microsoft.com/office/drawing/2014/main" id="{D0CE094C-6886-2D4A-9D9C-774DAD8CF431}"/>
                </a:ext>
              </a:extLst>
            </p:cNvPr>
            <p:cNvSpPr/>
            <p:nvPr/>
          </p:nvSpPr>
          <p:spPr bwMode="auto">
            <a:xfrm>
              <a:off x="5719763" y="2722563"/>
              <a:ext cx="106363" cy="14288"/>
            </a:xfrm>
            <a:custGeom>
              <a:gdLst>
                <a:gd name="T0" fmla="*/ 26 w 28"/>
                <a:gd name="T1" fmla="*/ 4 h 4"/>
                <a:gd name="T2" fmla="*/ 2 w 28"/>
                <a:gd name="T3" fmla="*/ 4 h 4"/>
                <a:gd name="T4" fmla="*/ 0 w 28"/>
                <a:gd name="T5" fmla="*/ 2 h 4"/>
                <a:gd name="T6" fmla="*/ 2 w 28"/>
                <a:gd name="T7" fmla="*/ 0 h 4"/>
                <a:gd name="T8" fmla="*/ 26 w 28"/>
                <a:gd name="T9" fmla="*/ 0 h 4"/>
                <a:gd name="T10" fmla="*/ 28 w 28"/>
                <a:gd name="T11" fmla="*/ 2 h 4"/>
                <a:gd name="T12" fmla="*/ 26 w 28"/>
                <a:gd name="T13" fmla="*/ 4 h 4"/>
              </a:gdLst>
              <a:cxnLst>
                <a:cxn ang="0">
                  <a:pos x="T0" y="T1"/>
                </a:cxn>
                <a:cxn ang="0">
                  <a:pos x="T2" y="T3"/>
                </a:cxn>
                <a:cxn ang="0">
                  <a:pos x="T4" y="T5"/>
                </a:cxn>
                <a:cxn ang="0">
                  <a:pos x="T6" y="T7"/>
                </a:cxn>
                <a:cxn ang="0">
                  <a:pos x="T8" y="T9"/>
                </a:cxn>
                <a:cxn ang="0">
                  <a:pos x="T10" y="T11"/>
                </a:cxn>
                <a:cxn ang="0">
                  <a:pos x="T12" y="T13"/>
                </a:cxn>
              </a:cxnLst>
              <a:rect l="0" t="0" r="r" b="b"/>
              <a:pathLst>
                <a:path w="28" h="4">
                  <a:moveTo>
                    <a:pt x="26" y="4"/>
                  </a:moveTo>
                  <a:cubicBezTo>
                    <a:pt x="2" y="4"/>
                    <a:pt x="2" y="4"/>
                    <a:pt x="2" y="4"/>
                  </a:cubicBezTo>
                  <a:cubicBezTo>
                    <a:pt x="1" y="4"/>
                    <a:pt x="0" y="3"/>
                    <a:pt x="0" y="2"/>
                  </a:cubicBezTo>
                  <a:cubicBezTo>
                    <a:pt x="0" y="1"/>
                    <a:pt x="1" y="0"/>
                    <a:pt x="2" y="0"/>
                  </a:cubicBezTo>
                  <a:cubicBezTo>
                    <a:pt x="26" y="0"/>
                    <a:pt x="26" y="0"/>
                    <a:pt x="26" y="0"/>
                  </a:cubicBezTo>
                  <a:cubicBezTo>
                    <a:pt x="27" y="0"/>
                    <a:pt x="28" y="1"/>
                    <a:pt x="28" y="2"/>
                  </a:cubicBezTo>
                  <a:cubicBezTo>
                    <a:pt x="28" y="3"/>
                    <a:pt x="27" y="4"/>
                    <a:pt x="2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2" name="Freeform 846">
              <a:extLst>
                <a:ext uri="{FF2B5EF4-FFF2-40B4-BE49-F238E27FC236}">
                  <a16:creationId xmlns:a16="http://schemas.microsoft.com/office/drawing/2014/main" id="{5580E7EF-5AFA-194C-AF12-B3D692E9BE92}"/>
                </a:ext>
              </a:extLst>
            </p:cNvPr>
            <p:cNvSpPr/>
            <p:nvPr/>
          </p:nvSpPr>
          <p:spPr bwMode="auto">
            <a:xfrm>
              <a:off x="5713413" y="2752725"/>
              <a:ext cx="119063" cy="14288"/>
            </a:xfrm>
            <a:custGeom>
              <a:gdLst>
                <a:gd name="T0" fmla="*/ 30 w 32"/>
                <a:gd name="T1" fmla="*/ 4 h 4"/>
                <a:gd name="T2" fmla="*/ 2 w 32"/>
                <a:gd name="T3" fmla="*/ 4 h 4"/>
                <a:gd name="T4" fmla="*/ 0 w 32"/>
                <a:gd name="T5" fmla="*/ 2 h 4"/>
                <a:gd name="T6" fmla="*/ 2 w 32"/>
                <a:gd name="T7" fmla="*/ 0 h 4"/>
                <a:gd name="T8" fmla="*/ 30 w 32"/>
                <a:gd name="T9" fmla="*/ 0 h 4"/>
                <a:gd name="T10" fmla="*/ 32 w 32"/>
                <a:gd name="T11" fmla="*/ 2 h 4"/>
                <a:gd name="T12" fmla="*/ 30 w 32"/>
                <a:gd name="T13" fmla="*/ 4 h 4"/>
              </a:gdLst>
              <a:cxnLst>
                <a:cxn ang="0">
                  <a:pos x="T0" y="T1"/>
                </a:cxn>
                <a:cxn ang="0">
                  <a:pos x="T2" y="T3"/>
                </a:cxn>
                <a:cxn ang="0">
                  <a:pos x="T4" y="T5"/>
                </a:cxn>
                <a:cxn ang="0">
                  <a:pos x="T6" y="T7"/>
                </a:cxn>
                <a:cxn ang="0">
                  <a:pos x="T8" y="T9"/>
                </a:cxn>
                <a:cxn ang="0">
                  <a:pos x="T10" y="T11"/>
                </a:cxn>
                <a:cxn ang="0">
                  <a:pos x="T12" y="T13"/>
                </a:cxn>
              </a:cxnLst>
              <a:rect l="0" t="0" r="r" b="b"/>
              <a:pathLst>
                <a:path w="32" h="4">
                  <a:moveTo>
                    <a:pt x="30" y="4"/>
                  </a:moveTo>
                  <a:cubicBezTo>
                    <a:pt x="2" y="4"/>
                    <a:pt x="2" y="4"/>
                    <a:pt x="2" y="4"/>
                  </a:cubicBezTo>
                  <a:cubicBezTo>
                    <a:pt x="1" y="4"/>
                    <a:pt x="0" y="3"/>
                    <a:pt x="0" y="2"/>
                  </a:cubicBezTo>
                  <a:cubicBezTo>
                    <a:pt x="0" y="1"/>
                    <a:pt x="1" y="0"/>
                    <a:pt x="2" y="0"/>
                  </a:cubicBezTo>
                  <a:cubicBezTo>
                    <a:pt x="30" y="0"/>
                    <a:pt x="30" y="0"/>
                    <a:pt x="30" y="0"/>
                  </a:cubicBezTo>
                  <a:cubicBezTo>
                    <a:pt x="31" y="0"/>
                    <a:pt x="32" y="1"/>
                    <a:pt x="32" y="2"/>
                  </a:cubicBezTo>
                  <a:cubicBezTo>
                    <a:pt x="32" y="3"/>
                    <a:pt x="31" y="4"/>
                    <a:pt x="3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3" name="Rectangle 847">
              <a:extLst>
                <a:ext uri="{FF2B5EF4-FFF2-40B4-BE49-F238E27FC236}">
                  <a16:creationId xmlns:a16="http://schemas.microsoft.com/office/drawing/2014/main" id="{C0AEE264-EF57-2B42-80E0-749737EC4114}"/>
                </a:ext>
              </a:extLst>
            </p:cNvPr>
            <p:cNvSpPr>
              <a:spLocks noChangeArrowheads="1"/>
            </p:cNvSpPr>
            <p:nvPr/>
          </p:nvSpPr>
          <p:spPr bwMode="auto">
            <a:xfrm>
              <a:off x="5705475" y="2541588"/>
              <a:ext cx="187325"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4" name="Freeform 848">
              <a:extLst>
                <a:ext uri="{FF2B5EF4-FFF2-40B4-BE49-F238E27FC236}">
                  <a16:creationId xmlns:a16="http://schemas.microsoft.com/office/drawing/2014/main" id="{A83DA0DC-8F82-1A4E-8F40-E3F093ACC032}"/>
                </a:ext>
              </a:extLst>
            </p:cNvPr>
            <p:cNvSpPr>
              <a:spLocks noEditPoints="1"/>
            </p:cNvSpPr>
            <p:nvPr/>
          </p:nvSpPr>
          <p:spPr bwMode="auto">
            <a:xfrm>
              <a:off x="5548313" y="2541588"/>
              <a:ext cx="368300" cy="346075"/>
            </a:xfrm>
            <a:custGeom>
              <a:gdLst>
                <a:gd name="T0" fmla="*/ 52 w 98"/>
                <a:gd name="T1" fmla="*/ 92 h 92"/>
                <a:gd name="T2" fmla="*/ 2 w 98"/>
                <a:gd name="T3" fmla="*/ 92 h 92"/>
                <a:gd name="T4" fmla="*/ 0 w 98"/>
                <a:gd name="T5" fmla="*/ 90 h 92"/>
                <a:gd name="T6" fmla="*/ 2 w 98"/>
                <a:gd name="T7" fmla="*/ 88 h 92"/>
                <a:gd name="T8" fmla="*/ 6 w 98"/>
                <a:gd name="T9" fmla="*/ 87 h 92"/>
                <a:gd name="T10" fmla="*/ 7 w 98"/>
                <a:gd name="T11" fmla="*/ 77 h 92"/>
                <a:gd name="T12" fmla="*/ 10 w 98"/>
                <a:gd name="T13" fmla="*/ 66 h 92"/>
                <a:gd name="T14" fmla="*/ 14 w 98"/>
                <a:gd name="T15" fmla="*/ 64 h 92"/>
                <a:gd name="T16" fmla="*/ 32 w 98"/>
                <a:gd name="T17" fmla="*/ 64 h 92"/>
                <a:gd name="T18" fmla="*/ 36 w 98"/>
                <a:gd name="T19" fmla="*/ 8 h 92"/>
                <a:gd name="T20" fmla="*/ 42 w 98"/>
                <a:gd name="T21" fmla="*/ 0 h 92"/>
                <a:gd name="T22" fmla="*/ 42 w 98"/>
                <a:gd name="T23" fmla="*/ 4 h 92"/>
                <a:gd name="T24" fmla="*/ 40 w 98"/>
                <a:gd name="T25" fmla="*/ 8 h 92"/>
                <a:gd name="T26" fmla="*/ 36 w 98"/>
                <a:gd name="T27" fmla="*/ 66 h 92"/>
                <a:gd name="T28" fmla="*/ 34 w 98"/>
                <a:gd name="T29" fmla="*/ 68 h 92"/>
                <a:gd name="T30" fmla="*/ 14 w 98"/>
                <a:gd name="T31" fmla="*/ 68 h 92"/>
                <a:gd name="T32" fmla="*/ 13 w 98"/>
                <a:gd name="T33" fmla="*/ 68 h 92"/>
                <a:gd name="T34" fmla="*/ 11 w 98"/>
                <a:gd name="T35" fmla="*/ 76 h 92"/>
                <a:gd name="T36" fmla="*/ 10 w 98"/>
                <a:gd name="T37" fmla="*/ 88 h 92"/>
                <a:gd name="T38" fmla="*/ 52 w 98"/>
                <a:gd name="T39" fmla="*/ 88 h 92"/>
                <a:gd name="T40" fmla="*/ 56 w 98"/>
                <a:gd name="T41" fmla="*/ 87 h 92"/>
                <a:gd name="T42" fmla="*/ 57 w 98"/>
                <a:gd name="T43" fmla="*/ 77 h 92"/>
                <a:gd name="T44" fmla="*/ 60 w 98"/>
                <a:gd name="T45" fmla="*/ 66 h 92"/>
                <a:gd name="T46" fmla="*/ 64 w 98"/>
                <a:gd name="T47" fmla="*/ 64 h 92"/>
                <a:gd name="T48" fmla="*/ 69 w 98"/>
                <a:gd name="T49" fmla="*/ 66 h 92"/>
                <a:gd name="T50" fmla="*/ 70 w 98"/>
                <a:gd name="T51" fmla="*/ 73 h 92"/>
                <a:gd name="T52" fmla="*/ 72 w 98"/>
                <a:gd name="T53" fmla="*/ 79 h 92"/>
                <a:gd name="T54" fmla="*/ 76 w 98"/>
                <a:gd name="T55" fmla="*/ 80 h 92"/>
                <a:gd name="T56" fmla="*/ 78 w 98"/>
                <a:gd name="T57" fmla="*/ 79 h 92"/>
                <a:gd name="T58" fmla="*/ 86 w 98"/>
                <a:gd name="T59" fmla="*/ 8 h 92"/>
                <a:gd name="T60" fmla="*/ 92 w 98"/>
                <a:gd name="T61" fmla="*/ 0 h 92"/>
                <a:gd name="T62" fmla="*/ 98 w 98"/>
                <a:gd name="T63" fmla="*/ 14 h 92"/>
                <a:gd name="T64" fmla="*/ 96 w 98"/>
                <a:gd name="T65" fmla="*/ 16 h 92"/>
                <a:gd name="T66" fmla="*/ 90 w 98"/>
                <a:gd name="T67" fmla="*/ 16 h 92"/>
                <a:gd name="T68" fmla="*/ 81 w 98"/>
                <a:gd name="T69" fmla="*/ 82 h 92"/>
                <a:gd name="T70" fmla="*/ 76 w 98"/>
                <a:gd name="T71" fmla="*/ 84 h 92"/>
                <a:gd name="T72" fmla="*/ 69 w 98"/>
                <a:gd name="T73" fmla="*/ 82 h 92"/>
                <a:gd name="T74" fmla="*/ 66 w 98"/>
                <a:gd name="T75" fmla="*/ 73 h 92"/>
                <a:gd name="T76" fmla="*/ 66 w 98"/>
                <a:gd name="T77" fmla="*/ 68 h 92"/>
                <a:gd name="T78" fmla="*/ 64 w 98"/>
                <a:gd name="T79" fmla="*/ 68 h 92"/>
                <a:gd name="T80" fmla="*/ 62 w 98"/>
                <a:gd name="T81" fmla="*/ 68 h 92"/>
                <a:gd name="T82" fmla="*/ 61 w 98"/>
                <a:gd name="T83" fmla="*/ 76 h 92"/>
                <a:gd name="T84" fmla="*/ 58 w 98"/>
                <a:gd name="T85" fmla="*/ 90 h 92"/>
                <a:gd name="T86" fmla="*/ 52 w 98"/>
                <a:gd name="T87" fmla="*/ 92 h 92"/>
                <a:gd name="T88" fmla="*/ 90 w 98"/>
                <a:gd name="T89" fmla="*/ 12 h 92"/>
                <a:gd name="T90" fmla="*/ 94 w 98"/>
                <a:gd name="T91" fmla="*/ 12 h 92"/>
                <a:gd name="T92" fmla="*/ 92 w 98"/>
                <a:gd name="T93" fmla="*/ 4 h 92"/>
                <a:gd name="T94" fmla="*/ 90 w 98"/>
                <a:gd name="T95" fmla="*/ 8 h 92"/>
                <a:gd name="T96" fmla="*/ 90 w 98"/>
                <a:gd name="T97" fmla="*/ 12 h 9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 h="92">
                  <a:moveTo>
                    <a:pt x="52" y="92"/>
                  </a:moveTo>
                  <a:cubicBezTo>
                    <a:pt x="2" y="92"/>
                    <a:pt x="2" y="92"/>
                    <a:pt x="2" y="92"/>
                  </a:cubicBezTo>
                  <a:cubicBezTo>
                    <a:pt x="1" y="92"/>
                    <a:pt x="0" y="91"/>
                    <a:pt x="0" y="90"/>
                  </a:cubicBezTo>
                  <a:cubicBezTo>
                    <a:pt x="0" y="89"/>
                    <a:pt x="1" y="88"/>
                    <a:pt x="2" y="88"/>
                  </a:cubicBezTo>
                  <a:cubicBezTo>
                    <a:pt x="4" y="88"/>
                    <a:pt x="5" y="88"/>
                    <a:pt x="6" y="87"/>
                  </a:cubicBezTo>
                  <a:cubicBezTo>
                    <a:pt x="8" y="85"/>
                    <a:pt x="8" y="80"/>
                    <a:pt x="7" y="77"/>
                  </a:cubicBezTo>
                  <a:cubicBezTo>
                    <a:pt x="7" y="72"/>
                    <a:pt x="7" y="68"/>
                    <a:pt x="10" y="66"/>
                  </a:cubicBezTo>
                  <a:cubicBezTo>
                    <a:pt x="11" y="65"/>
                    <a:pt x="12" y="64"/>
                    <a:pt x="14" y="64"/>
                  </a:cubicBezTo>
                  <a:cubicBezTo>
                    <a:pt x="32" y="64"/>
                    <a:pt x="32" y="64"/>
                    <a:pt x="32" y="64"/>
                  </a:cubicBezTo>
                  <a:cubicBezTo>
                    <a:pt x="36" y="42"/>
                    <a:pt x="36" y="8"/>
                    <a:pt x="36" y="8"/>
                  </a:cubicBezTo>
                  <a:cubicBezTo>
                    <a:pt x="36" y="5"/>
                    <a:pt x="37" y="0"/>
                    <a:pt x="42" y="0"/>
                  </a:cubicBezTo>
                  <a:cubicBezTo>
                    <a:pt x="42" y="4"/>
                    <a:pt x="42" y="4"/>
                    <a:pt x="42" y="4"/>
                  </a:cubicBezTo>
                  <a:cubicBezTo>
                    <a:pt x="40" y="4"/>
                    <a:pt x="40" y="8"/>
                    <a:pt x="40" y="8"/>
                  </a:cubicBezTo>
                  <a:cubicBezTo>
                    <a:pt x="40" y="9"/>
                    <a:pt x="40" y="44"/>
                    <a:pt x="36" y="66"/>
                  </a:cubicBezTo>
                  <a:cubicBezTo>
                    <a:pt x="36" y="67"/>
                    <a:pt x="35" y="68"/>
                    <a:pt x="34" y="68"/>
                  </a:cubicBezTo>
                  <a:cubicBezTo>
                    <a:pt x="14" y="68"/>
                    <a:pt x="14" y="68"/>
                    <a:pt x="14" y="68"/>
                  </a:cubicBezTo>
                  <a:cubicBezTo>
                    <a:pt x="13" y="68"/>
                    <a:pt x="13" y="68"/>
                    <a:pt x="13" y="68"/>
                  </a:cubicBezTo>
                  <a:cubicBezTo>
                    <a:pt x="11" y="70"/>
                    <a:pt x="11" y="73"/>
                    <a:pt x="11" y="76"/>
                  </a:cubicBezTo>
                  <a:cubicBezTo>
                    <a:pt x="12" y="80"/>
                    <a:pt x="12" y="85"/>
                    <a:pt x="10" y="88"/>
                  </a:cubicBezTo>
                  <a:cubicBezTo>
                    <a:pt x="52" y="88"/>
                    <a:pt x="52" y="88"/>
                    <a:pt x="52" y="88"/>
                  </a:cubicBezTo>
                  <a:cubicBezTo>
                    <a:pt x="54" y="88"/>
                    <a:pt x="55" y="88"/>
                    <a:pt x="56" y="87"/>
                  </a:cubicBezTo>
                  <a:cubicBezTo>
                    <a:pt x="57" y="85"/>
                    <a:pt x="57" y="80"/>
                    <a:pt x="57" y="77"/>
                  </a:cubicBezTo>
                  <a:cubicBezTo>
                    <a:pt x="57" y="72"/>
                    <a:pt x="57" y="68"/>
                    <a:pt x="60" y="66"/>
                  </a:cubicBezTo>
                  <a:cubicBezTo>
                    <a:pt x="61" y="65"/>
                    <a:pt x="62" y="64"/>
                    <a:pt x="64" y="64"/>
                  </a:cubicBezTo>
                  <a:cubicBezTo>
                    <a:pt x="66" y="64"/>
                    <a:pt x="68" y="65"/>
                    <a:pt x="69" y="66"/>
                  </a:cubicBezTo>
                  <a:cubicBezTo>
                    <a:pt x="70" y="68"/>
                    <a:pt x="70" y="70"/>
                    <a:pt x="70" y="73"/>
                  </a:cubicBezTo>
                  <a:cubicBezTo>
                    <a:pt x="70" y="75"/>
                    <a:pt x="70" y="78"/>
                    <a:pt x="72" y="79"/>
                  </a:cubicBezTo>
                  <a:cubicBezTo>
                    <a:pt x="72" y="80"/>
                    <a:pt x="74" y="80"/>
                    <a:pt x="76" y="80"/>
                  </a:cubicBezTo>
                  <a:cubicBezTo>
                    <a:pt x="76" y="80"/>
                    <a:pt x="77" y="80"/>
                    <a:pt x="78" y="79"/>
                  </a:cubicBezTo>
                  <a:cubicBezTo>
                    <a:pt x="86" y="71"/>
                    <a:pt x="86" y="25"/>
                    <a:pt x="86" y="8"/>
                  </a:cubicBezTo>
                  <a:cubicBezTo>
                    <a:pt x="86" y="5"/>
                    <a:pt x="87" y="0"/>
                    <a:pt x="92" y="0"/>
                  </a:cubicBezTo>
                  <a:cubicBezTo>
                    <a:pt x="97" y="0"/>
                    <a:pt x="98" y="10"/>
                    <a:pt x="98" y="14"/>
                  </a:cubicBezTo>
                  <a:cubicBezTo>
                    <a:pt x="98" y="15"/>
                    <a:pt x="97" y="16"/>
                    <a:pt x="96" y="16"/>
                  </a:cubicBezTo>
                  <a:cubicBezTo>
                    <a:pt x="90" y="16"/>
                    <a:pt x="90" y="16"/>
                    <a:pt x="90" y="16"/>
                  </a:cubicBezTo>
                  <a:cubicBezTo>
                    <a:pt x="90" y="34"/>
                    <a:pt x="89" y="73"/>
                    <a:pt x="81" y="82"/>
                  </a:cubicBezTo>
                  <a:cubicBezTo>
                    <a:pt x="79" y="83"/>
                    <a:pt x="78" y="84"/>
                    <a:pt x="76" y="84"/>
                  </a:cubicBezTo>
                  <a:cubicBezTo>
                    <a:pt x="73" y="84"/>
                    <a:pt x="70" y="83"/>
                    <a:pt x="69" y="82"/>
                  </a:cubicBezTo>
                  <a:cubicBezTo>
                    <a:pt x="66" y="79"/>
                    <a:pt x="66" y="76"/>
                    <a:pt x="66" y="73"/>
                  </a:cubicBezTo>
                  <a:cubicBezTo>
                    <a:pt x="66" y="71"/>
                    <a:pt x="66" y="69"/>
                    <a:pt x="66" y="68"/>
                  </a:cubicBezTo>
                  <a:cubicBezTo>
                    <a:pt x="65" y="68"/>
                    <a:pt x="65" y="68"/>
                    <a:pt x="64" y="68"/>
                  </a:cubicBezTo>
                  <a:cubicBezTo>
                    <a:pt x="63" y="68"/>
                    <a:pt x="63" y="68"/>
                    <a:pt x="62" y="68"/>
                  </a:cubicBezTo>
                  <a:cubicBezTo>
                    <a:pt x="61" y="70"/>
                    <a:pt x="61" y="73"/>
                    <a:pt x="61" y="76"/>
                  </a:cubicBezTo>
                  <a:cubicBezTo>
                    <a:pt x="61" y="81"/>
                    <a:pt x="61" y="87"/>
                    <a:pt x="58" y="90"/>
                  </a:cubicBezTo>
                  <a:cubicBezTo>
                    <a:pt x="57" y="91"/>
                    <a:pt x="55" y="92"/>
                    <a:pt x="52" y="92"/>
                  </a:cubicBezTo>
                  <a:close/>
                  <a:moveTo>
                    <a:pt x="90" y="12"/>
                  </a:moveTo>
                  <a:cubicBezTo>
                    <a:pt x="94" y="12"/>
                    <a:pt x="94" y="12"/>
                    <a:pt x="94" y="12"/>
                  </a:cubicBezTo>
                  <a:cubicBezTo>
                    <a:pt x="94" y="8"/>
                    <a:pt x="93" y="4"/>
                    <a:pt x="92" y="4"/>
                  </a:cubicBezTo>
                  <a:cubicBezTo>
                    <a:pt x="90" y="4"/>
                    <a:pt x="90" y="8"/>
                    <a:pt x="90" y="8"/>
                  </a:cubicBezTo>
                  <a:cubicBezTo>
                    <a:pt x="90" y="9"/>
                    <a:pt x="90" y="10"/>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55" name="Group 54">
            <a:extLst>
              <a:ext uri="{FF2B5EF4-FFF2-40B4-BE49-F238E27FC236}">
                <a16:creationId xmlns:a16="http://schemas.microsoft.com/office/drawing/2014/main" id="{DD158D35-1593-8546-B277-2D6F07C7D86E}"/>
              </a:ext>
            </a:extLst>
          </p:cNvPr>
          <p:cNvGrpSpPr/>
          <p:nvPr/>
        </p:nvGrpSpPr>
        <p:grpSpPr>
          <a:xfrm>
            <a:off x="3985290" y="2183575"/>
            <a:ext cx="346075" cy="314325"/>
            <a:chOff x="1168401" y="747713"/>
            <a:chExt cx="346075" cy="314325"/>
          </a:xfrm>
        </p:grpSpPr>
        <p:sp>
          <p:nvSpPr>
            <p:cNvPr id="56" name="Freeform 23">
              <a:extLst>
                <a:ext uri="{FF2B5EF4-FFF2-40B4-BE49-F238E27FC236}">
                  <a16:creationId xmlns:a16="http://schemas.microsoft.com/office/drawing/2014/main" id="{F436B817-A297-0A48-8C5C-C3DD2D0E59CE}"/>
                </a:ext>
              </a:extLst>
            </p:cNvPr>
            <p:cNvSpPr/>
            <p:nvPr/>
          </p:nvSpPr>
          <p:spPr bwMode="auto">
            <a:xfrm>
              <a:off x="1168401" y="747713"/>
              <a:ext cx="269875" cy="239713"/>
            </a:xfrm>
            <a:custGeom>
              <a:gdLst>
                <a:gd name="T0" fmla="*/ 56 w 72"/>
                <a:gd name="T1" fmla="*/ 0 h 64"/>
                <a:gd name="T2" fmla="*/ 16 w 72"/>
                <a:gd name="T3" fmla="*/ 0 h 64"/>
                <a:gd name="T4" fmla="*/ 0 w 72"/>
                <a:gd name="T5" fmla="*/ 16 h 64"/>
                <a:gd name="T6" fmla="*/ 0 w 72"/>
                <a:gd name="T7" fmla="*/ 32 h 64"/>
                <a:gd name="T8" fmla="*/ 16 w 72"/>
                <a:gd name="T9" fmla="*/ 48 h 64"/>
                <a:gd name="T10" fmla="*/ 22 w 72"/>
                <a:gd name="T11" fmla="*/ 48 h 64"/>
                <a:gd name="T12" fmla="*/ 22 w 72"/>
                <a:gd name="T13" fmla="*/ 64 h 64"/>
                <a:gd name="T14" fmla="*/ 38 w 72"/>
                <a:gd name="T15" fmla="*/ 48 h 64"/>
                <a:gd name="T16" fmla="*/ 56 w 72"/>
                <a:gd name="T17" fmla="*/ 48 h 64"/>
                <a:gd name="T18" fmla="*/ 72 w 72"/>
                <a:gd name="T19" fmla="*/ 32 h 64"/>
                <a:gd name="T20" fmla="*/ 72 w 72"/>
                <a:gd name="T21" fmla="*/ 16 h 64"/>
                <a:gd name="T22" fmla="*/ 56 w 72"/>
                <a:gd name="T23" fmla="*/ 0 h 6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64">
                  <a:moveTo>
                    <a:pt x="56" y="0"/>
                  </a:moveTo>
                  <a:cubicBezTo>
                    <a:pt x="16" y="0"/>
                    <a:pt x="16" y="0"/>
                    <a:pt x="16" y="0"/>
                  </a:cubicBezTo>
                  <a:cubicBezTo>
                    <a:pt x="7" y="0"/>
                    <a:pt x="0" y="7"/>
                    <a:pt x="0" y="16"/>
                  </a:cubicBezTo>
                  <a:cubicBezTo>
                    <a:pt x="0" y="32"/>
                    <a:pt x="0" y="32"/>
                    <a:pt x="0" y="32"/>
                  </a:cubicBezTo>
                  <a:cubicBezTo>
                    <a:pt x="0" y="41"/>
                    <a:pt x="7" y="48"/>
                    <a:pt x="16" y="48"/>
                  </a:cubicBezTo>
                  <a:cubicBezTo>
                    <a:pt x="22" y="48"/>
                    <a:pt x="22" y="48"/>
                    <a:pt x="22" y="48"/>
                  </a:cubicBezTo>
                  <a:cubicBezTo>
                    <a:pt x="22" y="64"/>
                    <a:pt x="22" y="64"/>
                    <a:pt x="22" y="64"/>
                  </a:cubicBezTo>
                  <a:cubicBezTo>
                    <a:pt x="38" y="48"/>
                    <a:pt x="38" y="48"/>
                    <a:pt x="38" y="48"/>
                  </a:cubicBezTo>
                  <a:cubicBezTo>
                    <a:pt x="56" y="48"/>
                    <a:pt x="56" y="48"/>
                    <a:pt x="56" y="48"/>
                  </a:cubicBezTo>
                  <a:cubicBezTo>
                    <a:pt x="65" y="48"/>
                    <a:pt x="72" y="41"/>
                    <a:pt x="72" y="32"/>
                  </a:cubicBezTo>
                  <a:cubicBezTo>
                    <a:pt x="72" y="16"/>
                    <a:pt x="72" y="16"/>
                    <a:pt x="72" y="16"/>
                  </a:cubicBezTo>
                  <a:cubicBezTo>
                    <a:pt x="72" y="7"/>
                    <a:pt x="65" y="0"/>
                    <a:pt x="56" y="0"/>
                  </a:cubicBezTo>
                  <a:close/>
                </a:path>
              </a:pathLst>
            </a:custGeom>
            <a:noFill/>
            <a:ln w="15875"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7" name="Freeform 24">
              <a:extLst>
                <a:ext uri="{FF2B5EF4-FFF2-40B4-BE49-F238E27FC236}">
                  <a16:creationId xmlns:a16="http://schemas.microsoft.com/office/drawing/2014/main" id="{CFBCE050-B6F8-204A-A577-5A2F540C2E7A}"/>
                </a:ext>
              </a:extLst>
            </p:cNvPr>
            <p:cNvSpPr/>
            <p:nvPr/>
          </p:nvSpPr>
          <p:spPr bwMode="auto">
            <a:xfrm>
              <a:off x="1333501" y="912813"/>
              <a:ext cx="180975" cy="149225"/>
            </a:xfrm>
            <a:custGeom>
              <a:gdLst>
                <a:gd name="T0" fmla="*/ 0 w 48"/>
                <a:gd name="T1" fmla="*/ 18 h 40"/>
                <a:gd name="T2" fmla="*/ 10 w 48"/>
                <a:gd name="T3" fmla="*/ 28 h 40"/>
                <a:gd name="T4" fmla="*/ 20 w 48"/>
                <a:gd name="T5" fmla="*/ 28 h 40"/>
                <a:gd name="T6" fmla="*/ 32 w 48"/>
                <a:gd name="T7" fmla="*/ 40 h 40"/>
                <a:gd name="T8" fmla="*/ 32 w 48"/>
                <a:gd name="T9" fmla="*/ 28 h 40"/>
                <a:gd name="T10" fmla="*/ 38 w 48"/>
                <a:gd name="T11" fmla="*/ 28 h 40"/>
                <a:gd name="T12" fmla="*/ 48 w 48"/>
                <a:gd name="T13" fmla="*/ 18 h 40"/>
                <a:gd name="T14" fmla="*/ 48 w 48"/>
                <a:gd name="T15" fmla="*/ 10 h 40"/>
                <a:gd name="T16" fmla="*/ 38 w 48"/>
                <a:gd name="T17" fmla="*/ 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0">
                  <a:moveTo>
                    <a:pt x="0" y="18"/>
                  </a:moveTo>
                  <a:cubicBezTo>
                    <a:pt x="0" y="24"/>
                    <a:pt x="4" y="28"/>
                    <a:pt x="10" y="28"/>
                  </a:cubicBezTo>
                  <a:cubicBezTo>
                    <a:pt x="20" y="28"/>
                    <a:pt x="20" y="28"/>
                    <a:pt x="20" y="28"/>
                  </a:cubicBezTo>
                  <a:cubicBezTo>
                    <a:pt x="32" y="40"/>
                    <a:pt x="32" y="40"/>
                    <a:pt x="32" y="40"/>
                  </a:cubicBezTo>
                  <a:cubicBezTo>
                    <a:pt x="32" y="28"/>
                    <a:pt x="32" y="28"/>
                    <a:pt x="32" y="28"/>
                  </a:cubicBezTo>
                  <a:cubicBezTo>
                    <a:pt x="38" y="28"/>
                    <a:pt x="38" y="28"/>
                    <a:pt x="38" y="28"/>
                  </a:cubicBezTo>
                  <a:cubicBezTo>
                    <a:pt x="44" y="28"/>
                    <a:pt x="48" y="24"/>
                    <a:pt x="48" y="18"/>
                  </a:cubicBezTo>
                  <a:cubicBezTo>
                    <a:pt x="48" y="10"/>
                    <a:pt x="48" y="10"/>
                    <a:pt x="48" y="10"/>
                  </a:cubicBezTo>
                  <a:cubicBezTo>
                    <a:pt x="48" y="4"/>
                    <a:pt x="44" y="0"/>
                    <a:pt x="38" y="0"/>
                  </a:cubicBezTo>
                </a:path>
              </a:pathLst>
            </a:custGeom>
            <a:noFill/>
            <a:ln w="15875"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58" name="Group 57">
            <a:extLst>
              <a:ext uri="{FF2B5EF4-FFF2-40B4-BE49-F238E27FC236}">
                <a16:creationId xmlns:a16="http://schemas.microsoft.com/office/drawing/2014/main" id="{EEAE19CB-CC77-A24E-A027-9D64CAEFF9BA}"/>
              </a:ext>
            </a:extLst>
          </p:cNvPr>
          <p:cNvGrpSpPr/>
          <p:nvPr/>
        </p:nvGrpSpPr>
        <p:grpSpPr>
          <a:xfrm>
            <a:off x="6616848" y="2174843"/>
            <a:ext cx="346075" cy="331788"/>
            <a:chOff x="7726363" y="2909889"/>
            <a:chExt cx="346075" cy="331788"/>
          </a:xfrm>
        </p:grpSpPr>
        <p:sp>
          <p:nvSpPr>
            <p:cNvPr id="59" name="Freeform 59">
              <a:extLst>
                <a:ext uri="{FF2B5EF4-FFF2-40B4-BE49-F238E27FC236}">
                  <a16:creationId xmlns:a16="http://schemas.microsoft.com/office/drawing/2014/main" id="{BFEB73B8-44CB-E640-9163-FCB0778E82DC}"/>
                </a:ext>
              </a:extLst>
            </p:cNvPr>
            <p:cNvSpPr/>
            <p:nvPr/>
          </p:nvSpPr>
          <p:spPr bwMode="auto">
            <a:xfrm>
              <a:off x="7800976" y="2909889"/>
              <a:ext cx="195263" cy="195263"/>
            </a:xfrm>
            <a:custGeom>
              <a:gdLst>
                <a:gd name="T0" fmla="*/ 123 w 123"/>
                <a:gd name="T1" fmla="*/ 123 h 123"/>
                <a:gd name="T2" fmla="*/ 123 w 123"/>
                <a:gd name="T3" fmla="*/ 0 h 123"/>
                <a:gd name="T4" fmla="*/ 0 w 123"/>
                <a:gd name="T5" fmla="*/ 0 h 123"/>
                <a:gd name="T6" fmla="*/ 0 w 123"/>
                <a:gd name="T7" fmla="*/ 123 h 123"/>
              </a:gdLst>
              <a:cxnLst>
                <a:cxn ang="0">
                  <a:pos x="T0" y="T1"/>
                </a:cxn>
                <a:cxn ang="0">
                  <a:pos x="T2" y="T3"/>
                </a:cxn>
                <a:cxn ang="0">
                  <a:pos x="T4" y="T5"/>
                </a:cxn>
                <a:cxn ang="0">
                  <a:pos x="T6" y="T7"/>
                </a:cxn>
              </a:cxnLst>
              <a:rect l="0" t="0" r="r" b="b"/>
              <a:pathLst>
                <a:path w="123" h="123">
                  <a:moveTo>
                    <a:pt x="123" y="123"/>
                  </a:moveTo>
                  <a:lnTo>
                    <a:pt x="123" y="0"/>
                  </a:lnTo>
                  <a:lnTo>
                    <a:pt x="0" y="0"/>
                  </a:lnTo>
                  <a:lnTo>
                    <a:pt x="0" y="123"/>
                  </a:lnTo>
                </a:path>
              </a:pathLst>
            </a:custGeom>
            <a:noFill/>
            <a:ln w="15875"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0" name="Line 60">
              <a:extLst>
                <a:ext uri="{FF2B5EF4-FFF2-40B4-BE49-F238E27FC236}">
                  <a16:creationId xmlns:a16="http://schemas.microsoft.com/office/drawing/2014/main" id="{E57DDA70-3D2C-8C4E-ADFA-FEE994D66861}"/>
                </a:ext>
              </a:extLst>
            </p:cNvPr>
            <p:cNvSpPr>
              <a:spLocks noChangeShapeType="1"/>
            </p:cNvSpPr>
            <p:nvPr/>
          </p:nvSpPr>
          <p:spPr bwMode="auto">
            <a:xfrm>
              <a:off x="7847013" y="2955926"/>
              <a:ext cx="14288" cy="0"/>
            </a:xfrm>
            <a:prstGeom prst="line">
              <a:avLst/>
            </a:prstGeom>
            <a:noFill/>
            <a:ln w="15875"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1" name="Line 61">
              <a:extLst>
                <a:ext uri="{FF2B5EF4-FFF2-40B4-BE49-F238E27FC236}">
                  <a16:creationId xmlns:a16="http://schemas.microsoft.com/office/drawing/2014/main" id="{54BC4FCB-AD14-6F46-BC92-21CD8DEB6DB4}"/>
                </a:ext>
              </a:extLst>
            </p:cNvPr>
            <p:cNvSpPr>
              <a:spLocks noChangeShapeType="1"/>
            </p:cNvSpPr>
            <p:nvPr/>
          </p:nvSpPr>
          <p:spPr bwMode="auto">
            <a:xfrm>
              <a:off x="7877176" y="2984501"/>
              <a:ext cx="74613" cy="0"/>
            </a:xfrm>
            <a:prstGeom prst="line">
              <a:avLst/>
            </a:prstGeom>
            <a:noFill/>
            <a:ln w="15875"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2" name="Line 62">
              <a:extLst>
                <a:ext uri="{FF2B5EF4-FFF2-40B4-BE49-F238E27FC236}">
                  <a16:creationId xmlns:a16="http://schemas.microsoft.com/office/drawing/2014/main" id="{612896B3-336D-CD41-982F-91C538733C10}"/>
                </a:ext>
              </a:extLst>
            </p:cNvPr>
            <p:cNvSpPr>
              <a:spLocks noChangeShapeType="1"/>
            </p:cNvSpPr>
            <p:nvPr/>
          </p:nvSpPr>
          <p:spPr bwMode="auto">
            <a:xfrm>
              <a:off x="7847013" y="3014664"/>
              <a:ext cx="104775" cy="0"/>
            </a:xfrm>
            <a:prstGeom prst="line">
              <a:avLst/>
            </a:prstGeom>
            <a:noFill/>
            <a:ln w="15875"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3" name="Line 63">
              <a:extLst>
                <a:ext uri="{FF2B5EF4-FFF2-40B4-BE49-F238E27FC236}">
                  <a16:creationId xmlns:a16="http://schemas.microsoft.com/office/drawing/2014/main" id="{EF76781E-FEA0-1946-A8CF-B6BEDE34E8FA}"/>
                </a:ext>
              </a:extLst>
            </p:cNvPr>
            <p:cNvSpPr>
              <a:spLocks noChangeShapeType="1"/>
            </p:cNvSpPr>
            <p:nvPr/>
          </p:nvSpPr>
          <p:spPr bwMode="auto">
            <a:xfrm>
              <a:off x="7847013" y="3044826"/>
              <a:ext cx="104775" cy="0"/>
            </a:xfrm>
            <a:prstGeom prst="line">
              <a:avLst/>
            </a:prstGeom>
            <a:noFill/>
            <a:ln w="15875"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4" name="Line 64">
              <a:extLst>
                <a:ext uri="{FF2B5EF4-FFF2-40B4-BE49-F238E27FC236}">
                  <a16:creationId xmlns:a16="http://schemas.microsoft.com/office/drawing/2014/main" id="{2C388504-95D6-F446-A241-C085C55CE35A}"/>
                </a:ext>
              </a:extLst>
            </p:cNvPr>
            <p:cNvSpPr>
              <a:spLocks noChangeShapeType="1"/>
            </p:cNvSpPr>
            <p:nvPr/>
          </p:nvSpPr>
          <p:spPr bwMode="auto">
            <a:xfrm>
              <a:off x="7847013" y="3074989"/>
              <a:ext cx="104775" cy="0"/>
            </a:xfrm>
            <a:prstGeom prst="line">
              <a:avLst/>
            </a:prstGeom>
            <a:noFill/>
            <a:ln w="15875"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5" name="Freeform 65">
              <a:extLst>
                <a:ext uri="{FF2B5EF4-FFF2-40B4-BE49-F238E27FC236}">
                  <a16:creationId xmlns:a16="http://schemas.microsoft.com/office/drawing/2014/main" id="{1B45A0D6-30DE-8845-BD7A-EA9451345F06}"/>
                </a:ext>
              </a:extLst>
            </p:cNvPr>
            <p:cNvSpPr/>
            <p:nvPr/>
          </p:nvSpPr>
          <p:spPr bwMode="auto">
            <a:xfrm>
              <a:off x="7726363" y="3135314"/>
              <a:ext cx="346075" cy="106363"/>
            </a:xfrm>
            <a:custGeom>
              <a:gdLst>
                <a:gd name="T0" fmla="*/ 92 w 92"/>
                <a:gd name="T1" fmla="*/ 28 h 28"/>
                <a:gd name="T2" fmla="*/ 0 w 92"/>
                <a:gd name="T3" fmla="*/ 28 h 28"/>
                <a:gd name="T4" fmla="*/ 0 w 92"/>
                <a:gd name="T5" fmla="*/ 0 h 28"/>
                <a:gd name="T6" fmla="*/ 30 w 92"/>
                <a:gd name="T7" fmla="*/ 0 h 28"/>
                <a:gd name="T8" fmla="*/ 30 w 92"/>
                <a:gd name="T9" fmla="*/ 4 h 28"/>
                <a:gd name="T10" fmla="*/ 38 w 92"/>
                <a:gd name="T11" fmla="*/ 12 h 28"/>
                <a:gd name="T12" fmla="*/ 56 w 92"/>
                <a:gd name="T13" fmla="*/ 12 h 28"/>
                <a:gd name="T14" fmla="*/ 64 w 92"/>
                <a:gd name="T15" fmla="*/ 4 h 28"/>
                <a:gd name="T16" fmla="*/ 64 w 92"/>
                <a:gd name="T17" fmla="*/ 0 h 28"/>
                <a:gd name="T18" fmla="*/ 92 w 92"/>
                <a:gd name="T19" fmla="*/ 0 h 28"/>
                <a:gd name="T20" fmla="*/ 92 w 92"/>
                <a:gd name="T21" fmla="*/ 28 h 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28">
                  <a:moveTo>
                    <a:pt x="92" y="28"/>
                  </a:moveTo>
                  <a:cubicBezTo>
                    <a:pt x="0" y="28"/>
                    <a:pt x="0" y="28"/>
                    <a:pt x="0" y="28"/>
                  </a:cubicBezTo>
                  <a:cubicBezTo>
                    <a:pt x="0" y="0"/>
                    <a:pt x="0" y="0"/>
                    <a:pt x="0" y="0"/>
                  </a:cubicBezTo>
                  <a:cubicBezTo>
                    <a:pt x="30" y="0"/>
                    <a:pt x="30" y="0"/>
                    <a:pt x="30" y="0"/>
                  </a:cubicBezTo>
                  <a:cubicBezTo>
                    <a:pt x="30" y="4"/>
                    <a:pt x="30" y="4"/>
                    <a:pt x="30" y="4"/>
                  </a:cubicBezTo>
                  <a:cubicBezTo>
                    <a:pt x="30" y="8"/>
                    <a:pt x="34" y="12"/>
                    <a:pt x="38" y="12"/>
                  </a:cubicBezTo>
                  <a:cubicBezTo>
                    <a:pt x="56" y="12"/>
                    <a:pt x="56" y="12"/>
                    <a:pt x="56" y="12"/>
                  </a:cubicBezTo>
                  <a:cubicBezTo>
                    <a:pt x="60" y="12"/>
                    <a:pt x="64" y="8"/>
                    <a:pt x="64" y="4"/>
                  </a:cubicBezTo>
                  <a:cubicBezTo>
                    <a:pt x="64" y="0"/>
                    <a:pt x="64" y="0"/>
                    <a:pt x="64" y="0"/>
                  </a:cubicBezTo>
                  <a:cubicBezTo>
                    <a:pt x="92" y="0"/>
                    <a:pt x="92" y="0"/>
                    <a:pt x="92" y="0"/>
                  </a:cubicBezTo>
                  <a:lnTo>
                    <a:pt x="92" y="28"/>
                  </a:lnTo>
                  <a:close/>
                </a:path>
              </a:pathLst>
            </a:custGeom>
            <a:noFill/>
            <a:ln w="15875"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6" name="Freeform 66">
              <a:extLst>
                <a:ext uri="{FF2B5EF4-FFF2-40B4-BE49-F238E27FC236}">
                  <a16:creationId xmlns:a16="http://schemas.microsoft.com/office/drawing/2014/main" id="{E1479A2F-3B3F-754D-964E-0E50AE5D81FE}"/>
                </a:ext>
              </a:extLst>
            </p:cNvPr>
            <p:cNvSpPr/>
            <p:nvPr/>
          </p:nvSpPr>
          <p:spPr bwMode="auto">
            <a:xfrm>
              <a:off x="7726363" y="3044826"/>
              <a:ext cx="74613" cy="90488"/>
            </a:xfrm>
            <a:custGeom>
              <a:gdLst>
                <a:gd name="T0" fmla="*/ 0 w 47"/>
                <a:gd name="T1" fmla="*/ 57 h 57"/>
                <a:gd name="T2" fmla="*/ 33 w 47"/>
                <a:gd name="T3" fmla="*/ 0 h 57"/>
                <a:gd name="T4" fmla="*/ 47 w 47"/>
                <a:gd name="T5" fmla="*/ 0 h 57"/>
              </a:gdLst>
              <a:cxnLst>
                <a:cxn ang="0">
                  <a:pos x="T0" y="T1"/>
                </a:cxn>
                <a:cxn ang="0">
                  <a:pos x="T2" y="T3"/>
                </a:cxn>
                <a:cxn ang="0">
                  <a:pos x="T4" y="T5"/>
                </a:cxn>
              </a:cxnLst>
              <a:rect l="0" t="0" r="r" b="b"/>
              <a:pathLst>
                <a:path w="47" h="57">
                  <a:moveTo>
                    <a:pt x="0" y="57"/>
                  </a:moveTo>
                  <a:lnTo>
                    <a:pt x="33" y="0"/>
                  </a:lnTo>
                  <a:lnTo>
                    <a:pt x="47" y="0"/>
                  </a:lnTo>
                </a:path>
              </a:pathLst>
            </a:custGeom>
            <a:noFill/>
            <a:ln w="15875"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7" name="Freeform 67">
              <a:extLst>
                <a:ext uri="{FF2B5EF4-FFF2-40B4-BE49-F238E27FC236}">
                  <a16:creationId xmlns:a16="http://schemas.microsoft.com/office/drawing/2014/main" id="{1BA6D346-5B7D-B345-8466-FD1E86AE80DD}"/>
                </a:ext>
              </a:extLst>
            </p:cNvPr>
            <p:cNvSpPr/>
            <p:nvPr/>
          </p:nvSpPr>
          <p:spPr bwMode="auto">
            <a:xfrm>
              <a:off x="7996238" y="3044826"/>
              <a:ext cx="76200" cy="90488"/>
            </a:xfrm>
            <a:custGeom>
              <a:gdLst>
                <a:gd name="T0" fmla="*/ 0 w 48"/>
                <a:gd name="T1" fmla="*/ 0 h 57"/>
                <a:gd name="T2" fmla="*/ 15 w 48"/>
                <a:gd name="T3" fmla="*/ 0 h 57"/>
                <a:gd name="T4" fmla="*/ 48 w 48"/>
                <a:gd name="T5" fmla="*/ 57 h 57"/>
              </a:gdLst>
              <a:cxnLst>
                <a:cxn ang="0">
                  <a:pos x="T0" y="T1"/>
                </a:cxn>
                <a:cxn ang="0">
                  <a:pos x="T2" y="T3"/>
                </a:cxn>
                <a:cxn ang="0">
                  <a:pos x="T4" y="T5"/>
                </a:cxn>
              </a:cxnLst>
              <a:rect l="0" t="0" r="r" b="b"/>
              <a:pathLst>
                <a:path w="48" h="57">
                  <a:moveTo>
                    <a:pt x="0" y="0"/>
                  </a:moveTo>
                  <a:lnTo>
                    <a:pt x="15" y="0"/>
                  </a:lnTo>
                  <a:lnTo>
                    <a:pt x="48" y="57"/>
                  </a:lnTo>
                </a:path>
              </a:pathLst>
            </a:custGeom>
            <a:noFill/>
            <a:ln w="15875"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68" name="Group 67">
            <a:extLst>
              <a:ext uri="{FF2B5EF4-FFF2-40B4-BE49-F238E27FC236}">
                <a16:creationId xmlns:a16="http://schemas.microsoft.com/office/drawing/2014/main" id="{EEEF27F3-2029-F844-AC12-257A47C08148}"/>
              </a:ext>
            </a:extLst>
          </p:cNvPr>
          <p:cNvGrpSpPr/>
          <p:nvPr/>
        </p:nvGrpSpPr>
        <p:grpSpPr>
          <a:xfrm>
            <a:off x="9249200" y="2167699"/>
            <a:ext cx="344488" cy="346076"/>
            <a:chOff x="9169401" y="3255963"/>
            <a:chExt cx="344488" cy="346076"/>
          </a:xfrm>
        </p:grpSpPr>
        <p:sp>
          <p:nvSpPr>
            <p:cNvPr id="69" name="Rectangle 294">
              <a:extLst>
                <a:ext uri="{FF2B5EF4-FFF2-40B4-BE49-F238E27FC236}">
                  <a16:creationId xmlns:a16="http://schemas.microsoft.com/office/drawing/2014/main" id="{8347AF4F-D849-7040-8C10-23D49B8DDA52}"/>
                </a:ext>
              </a:extLst>
            </p:cNvPr>
            <p:cNvSpPr>
              <a:spLocks noChangeArrowheads="1"/>
            </p:cNvSpPr>
            <p:nvPr/>
          </p:nvSpPr>
          <p:spPr bwMode="auto">
            <a:xfrm>
              <a:off x="9199563" y="3571876"/>
              <a:ext cx="284163" cy="30163"/>
            </a:xfrm>
            <a:prstGeom prst="rect">
              <a:avLst/>
            </a:prstGeom>
            <a:noFill/>
            <a:ln w="15875"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0" name="Rectangle 295">
              <a:extLst>
                <a:ext uri="{FF2B5EF4-FFF2-40B4-BE49-F238E27FC236}">
                  <a16:creationId xmlns:a16="http://schemas.microsoft.com/office/drawing/2014/main" id="{15CA8881-07F0-AC41-905C-9D1F689DD1C3}"/>
                </a:ext>
              </a:extLst>
            </p:cNvPr>
            <p:cNvSpPr>
              <a:spLocks noChangeArrowheads="1"/>
            </p:cNvSpPr>
            <p:nvPr/>
          </p:nvSpPr>
          <p:spPr bwMode="auto">
            <a:xfrm>
              <a:off x="9213851" y="3451226"/>
              <a:ext cx="255588" cy="120650"/>
            </a:xfrm>
            <a:prstGeom prst="rect">
              <a:avLst/>
            </a:prstGeom>
            <a:noFill/>
            <a:ln w="15875"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1" name="Line 296">
              <a:extLst>
                <a:ext uri="{FF2B5EF4-FFF2-40B4-BE49-F238E27FC236}">
                  <a16:creationId xmlns:a16="http://schemas.microsoft.com/office/drawing/2014/main" id="{1F8943AD-4D0A-BA48-91B2-C5C7ECF834EE}"/>
                </a:ext>
              </a:extLst>
            </p:cNvPr>
            <p:cNvSpPr>
              <a:spLocks noChangeShapeType="1"/>
            </p:cNvSpPr>
            <p:nvPr/>
          </p:nvSpPr>
          <p:spPr bwMode="auto">
            <a:xfrm flipH="1">
              <a:off x="9169401" y="3602038"/>
              <a:ext cx="344488" cy="0"/>
            </a:xfrm>
            <a:prstGeom prst="line">
              <a:avLst/>
            </a:prstGeom>
            <a:noFill/>
            <a:ln w="15875"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2" name="Line 297">
              <a:extLst>
                <a:ext uri="{FF2B5EF4-FFF2-40B4-BE49-F238E27FC236}">
                  <a16:creationId xmlns:a16="http://schemas.microsoft.com/office/drawing/2014/main" id="{40894F1C-E560-BB46-89FE-926A1560009C}"/>
                </a:ext>
              </a:extLst>
            </p:cNvPr>
            <p:cNvSpPr>
              <a:spLocks noChangeShapeType="1"/>
            </p:cNvSpPr>
            <p:nvPr/>
          </p:nvSpPr>
          <p:spPr bwMode="auto">
            <a:xfrm flipH="1">
              <a:off x="9213851" y="3360738"/>
              <a:ext cx="255588" cy="0"/>
            </a:xfrm>
            <a:prstGeom prst="line">
              <a:avLst/>
            </a:prstGeom>
            <a:noFill/>
            <a:ln w="15875"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3" name="Line 298">
              <a:extLst>
                <a:ext uri="{FF2B5EF4-FFF2-40B4-BE49-F238E27FC236}">
                  <a16:creationId xmlns:a16="http://schemas.microsoft.com/office/drawing/2014/main" id="{74DDBF58-BDCC-D445-9129-8D1444601509}"/>
                </a:ext>
              </a:extLst>
            </p:cNvPr>
            <p:cNvSpPr>
              <a:spLocks noChangeShapeType="1"/>
            </p:cNvSpPr>
            <p:nvPr/>
          </p:nvSpPr>
          <p:spPr bwMode="auto">
            <a:xfrm flipH="1">
              <a:off x="9199563" y="3451226"/>
              <a:ext cx="284163" cy="0"/>
            </a:xfrm>
            <a:prstGeom prst="line">
              <a:avLst/>
            </a:prstGeom>
            <a:noFill/>
            <a:ln w="15875"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4" name="Rectangle 299">
              <a:extLst>
                <a:ext uri="{FF2B5EF4-FFF2-40B4-BE49-F238E27FC236}">
                  <a16:creationId xmlns:a16="http://schemas.microsoft.com/office/drawing/2014/main" id="{30028DAF-FA4C-7447-A097-F6868CE5B589}"/>
                </a:ext>
              </a:extLst>
            </p:cNvPr>
            <p:cNvSpPr>
              <a:spLocks noChangeArrowheads="1"/>
            </p:cNvSpPr>
            <p:nvPr/>
          </p:nvSpPr>
          <p:spPr bwMode="auto">
            <a:xfrm>
              <a:off x="9244013" y="3360738"/>
              <a:ext cx="195263" cy="90488"/>
            </a:xfrm>
            <a:prstGeom prst="rect">
              <a:avLst/>
            </a:prstGeom>
            <a:noFill/>
            <a:ln w="15875"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5" name="Freeform 300">
              <a:extLst>
                <a:ext uri="{FF2B5EF4-FFF2-40B4-BE49-F238E27FC236}">
                  <a16:creationId xmlns:a16="http://schemas.microsoft.com/office/drawing/2014/main" id="{D4B89974-F566-E24D-84D8-C0C3F22381F8}"/>
                </a:ext>
              </a:extLst>
            </p:cNvPr>
            <p:cNvSpPr/>
            <p:nvPr/>
          </p:nvSpPr>
          <p:spPr bwMode="auto">
            <a:xfrm>
              <a:off x="9244013" y="3255963"/>
              <a:ext cx="195263" cy="104775"/>
            </a:xfrm>
            <a:custGeom>
              <a:gdLst>
                <a:gd name="T0" fmla="*/ 0 w 52"/>
                <a:gd name="T1" fmla="*/ 26 h 28"/>
                <a:gd name="T2" fmla="*/ 26 w 52"/>
                <a:gd name="T3" fmla="*/ 0 h 28"/>
                <a:gd name="T4" fmla="*/ 52 w 52"/>
                <a:gd name="T5" fmla="*/ 26 h 28"/>
                <a:gd name="T6" fmla="*/ 52 w 52"/>
                <a:gd name="T7" fmla="*/ 28 h 28"/>
                <a:gd name="T8" fmla="*/ 0 w 52"/>
                <a:gd name="T9" fmla="*/ 28 h 28"/>
                <a:gd name="T10" fmla="*/ 0 w 52"/>
                <a:gd name="T11" fmla="*/ 26 h 28"/>
              </a:gdLst>
              <a:cxnLst>
                <a:cxn ang="0">
                  <a:pos x="T0" y="T1"/>
                </a:cxn>
                <a:cxn ang="0">
                  <a:pos x="T2" y="T3"/>
                </a:cxn>
                <a:cxn ang="0">
                  <a:pos x="T4" y="T5"/>
                </a:cxn>
                <a:cxn ang="0">
                  <a:pos x="T6" y="T7"/>
                </a:cxn>
                <a:cxn ang="0">
                  <a:pos x="T8" y="T9"/>
                </a:cxn>
                <a:cxn ang="0">
                  <a:pos x="T10" y="T11"/>
                </a:cxn>
              </a:cxnLst>
              <a:rect l="0" t="0" r="r" b="b"/>
              <a:pathLst>
                <a:path w="52" h="28">
                  <a:moveTo>
                    <a:pt x="0" y="26"/>
                  </a:moveTo>
                  <a:cubicBezTo>
                    <a:pt x="0" y="12"/>
                    <a:pt x="12" y="0"/>
                    <a:pt x="26" y="0"/>
                  </a:cubicBezTo>
                  <a:cubicBezTo>
                    <a:pt x="40" y="0"/>
                    <a:pt x="52" y="12"/>
                    <a:pt x="52" y="26"/>
                  </a:cubicBezTo>
                  <a:cubicBezTo>
                    <a:pt x="52" y="28"/>
                    <a:pt x="52" y="28"/>
                    <a:pt x="52" y="28"/>
                  </a:cubicBezTo>
                  <a:cubicBezTo>
                    <a:pt x="0" y="28"/>
                    <a:pt x="0" y="28"/>
                    <a:pt x="0" y="28"/>
                  </a:cubicBezTo>
                  <a:lnTo>
                    <a:pt x="0" y="26"/>
                  </a:lnTo>
                  <a:close/>
                </a:path>
              </a:pathLst>
            </a:custGeom>
            <a:noFill/>
            <a:ln w="15875"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6" name="Freeform 301">
              <a:extLst>
                <a:ext uri="{FF2B5EF4-FFF2-40B4-BE49-F238E27FC236}">
                  <a16:creationId xmlns:a16="http://schemas.microsoft.com/office/drawing/2014/main" id="{55B3ADB8-D707-6947-B410-F59105382496}"/>
                </a:ext>
              </a:extLst>
            </p:cNvPr>
            <p:cNvSpPr/>
            <p:nvPr/>
          </p:nvSpPr>
          <p:spPr bwMode="auto">
            <a:xfrm>
              <a:off x="9304338" y="3481388"/>
              <a:ext cx="74613" cy="90488"/>
            </a:xfrm>
            <a:custGeom>
              <a:gdLst>
                <a:gd name="T0" fmla="*/ 20 w 20"/>
                <a:gd name="T1" fmla="*/ 10 h 24"/>
                <a:gd name="T2" fmla="*/ 10 w 20"/>
                <a:gd name="T3" fmla="*/ 0 h 24"/>
                <a:gd name="T4" fmla="*/ 0 w 20"/>
                <a:gd name="T5" fmla="*/ 10 h 24"/>
                <a:gd name="T6" fmla="*/ 0 w 20"/>
                <a:gd name="T7" fmla="*/ 24 h 24"/>
                <a:gd name="T8" fmla="*/ 20 w 20"/>
                <a:gd name="T9" fmla="*/ 24 h 24"/>
                <a:gd name="T10" fmla="*/ 20 w 20"/>
                <a:gd name="T11" fmla="*/ 10 h 24"/>
              </a:gdLst>
              <a:cxnLst>
                <a:cxn ang="0">
                  <a:pos x="T0" y="T1"/>
                </a:cxn>
                <a:cxn ang="0">
                  <a:pos x="T2" y="T3"/>
                </a:cxn>
                <a:cxn ang="0">
                  <a:pos x="T4" y="T5"/>
                </a:cxn>
                <a:cxn ang="0">
                  <a:pos x="T6" y="T7"/>
                </a:cxn>
                <a:cxn ang="0">
                  <a:pos x="T8" y="T9"/>
                </a:cxn>
                <a:cxn ang="0">
                  <a:pos x="T10" y="T11"/>
                </a:cxn>
              </a:cxnLst>
              <a:rect l="0" t="0" r="r" b="b"/>
              <a:pathLst>
                <a:path w="20" h="24">
                  <a:moveTo>
                    <a:pt x="20" y="10"/>
                  </a:moveTo>
                  <a:cubicBezTo>
                    <a:pt x="20" y="4"/>
                    <a:pt x="16" y="0"/>
                    <a:pt x="10" y="0"/>
                  </a:cubicBezTo>
                  <a:cubicBezTo>
                    <a:pt x="4" y="0"/>
                    <a:pt x="0" y="4"/>
                    <a:pt x="0" y="10"/>
                  </a:cubicBezTo>
                  <a:cubicBezTo>
                    <a:pt x="0" y="24"/>
                    <a:pt x="0" y="24"/>
                    <a:pt x="0" y="24"/>
                  </a:cubicBezTo>
                  <a:cubicBezTo>
                    <a:pt x="20" y="24"/>
                    <a:pt x="20" y="24"/>
                    <a:pt x="20" y="24"/>
                  </a:cubicBezTo>
                  <a:lnTo>
                    <a:pt x="20" y="10"/>
                  </a:lnTo>
                  <a:close/>
                </a:path>
              </a:pathLst>
            </a:custGeom>
            <a:noFill/>
            <a:ln w="15875"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7" name="Rectangle 302">
              <a:extLst>
                <a:ext uri="{FF2B5EF4-FFF2-40B4-BE49-F238E27FC236}">
                  <a16:creationId xmlns:a16="http://schemas.microsoft.com/office/drawing/2014/main" id="{34C89A58-3311-604F-B2E8-7BD8ECA75560}"/>
                </a:ext>
              </a:extLst>
            </p:cNvPr>
            <p:cNvSpPr>
              <a:spLocks noChangeArrowheads="1"/>
            </p:cNvSpPr>
            <p:nvPr/>
          </p:nvSpPr>
          <p:spPr bwMode="auto">
            <a:xfrm>
              <a:off x="9244013" y="3481388"/>
              <a:ext cx="30163" cy="30163"/>
            </a:xfrm>
            <a:prstGeom prst="rect">
              <a:avLst/>
            </a:prstGeom>
            <a:noFill/>
            <a:ln w="15875"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8" name="Rectangle 303">
              <a:extLst>
                <a:ext uri="{FF2B5EF4-FFF2-40B4-BE49-F238E27FC236}">
                  <a16:creationId xmlns:a16="http://schemas.microsoft.com/office/drawing/2014/main" id="{0E35437D-67B2-3448-886A-3AB66F64C1FD}"/>
                </a:ext>
              </a:extLst>
            </p:cNvPr>
            <p:cNvSpPr>
              <a:spLocks noChangeArrowheads="1"/>
            </p:cNvSpPr>
            <p:nvPr/>
          </p:nvSpPr>
          <p:spPr bwMode="auto">
            <a:xfrm>
              <a:off x="9409113" y="3481388"/>
              <a:ext cx="30163" cy="30163"/>
            </a:xfrm>
            <a:prstGeom prst="rect">
              <a:avLst/>
            </a:prstGeom>
            <a:noFill/>
            <a:ln w="15875"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9" name="Line 304">
              <a:extLst>
                <a:ext uri="{FF2B5EF4-FFF2-40B4-BE49-F238E27FC236}">
                  <a16:creationId xmlns:a16="http://schemas.microsoft.com/office/drawing/2014/main" id="{BBBE3420-D1B7-4A40-A736-F93D79D6B27C}"/>
                </a:ext>
              </a:extLst>
            </p:cNvPr>
            <p:cNvSpPr>
              <a:spLocks noChangeShapeType="1"/>
            </p:cNvSpPr>
            <p:nvPr/>
          </p:nvSpPr>
          <p:spPr bwMode="auto">
            <a:xfrm>
              <a:off x="9364663" y="3390901"/>
              <a:ext cx="44450" cy="0"/>
            </a:xfrm>
            <a:prstGeom prst="line">
              <a:avLst/>
            </a:prstGeom>
            <a:noFill/>
            <a:ln w="15875"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0" name="Line 305">
              <a:extLst>
                <a:ext uri="{FF2B5EF4-FFF2-40B4-BE49-F238E27FC236}">
                  <a16:creationId xmlns:a16="http://schemas.microsoft.com/office/drawing/2014/main" id="{04E2F90B-FADB-7246-99AD-4407321B8B86}"/>
                </a:ext>
              </a:extLst>
            </p:cNvPr>
            <p:cNvSpPr>
              <a:spLocks noChangeShapeType="1"/>
            </p:cNvSpPr>
            <p:nvPr/>
          </p:nvSpPr>
          <p:spPr bwMode="auto">
            <a:xfrm>
              <a:off x="9364663" y="3421063"/>
              <a:ext cx="44450" cy="0"/>
            </a:xfrm>
            <a:prstGeom prst="line">
              <a:avLst/>
            </a:prstGeom>
            <a:noFill/>
            <a:ln w="15875"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1" name="Line 306">
              <a:extLst>
                <a:ext uri="{FF2B5EF4-FFF2-40B4-BE49-F238E27FC236}">
                  <a16:creationId xmlns:a16="http://schemas.microsoft.com/office/drawing/2014/main" id="{43C24ACB-2A1B-244D-9356-EA1753FA80CE}"/>
                </a:ext>
              </a:extLst>
            </p:cNvPr>
            <p:cNvSpPr>
              <a:spLocks noChangeShapeType="1"/>
            </p:cNvSpPr>
            <p:nvPr/>
          </p:nvSpPr>
          <p:spPr bwMode="auto">
            <a:xfrm>
              <a:off x="9274176" y="3390901"/>
              <a:ext cx="44450" cy="0"/>
            </a:xfrm>
            <a:prstGeom prst="line">
              <a:avLst/>
            </a:prstGeom>
            <a:noFill/>
            <a:ln w="15875"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2" name="Line 307">
              <a:extLst>
                <a:ext uri="{FF2B5EF4-FFF2-40B4-BE49-F238E27FC236}">
                  <a16:creationId xmlns:a16="http://schemas.microsoft.com/office/drawing/2014/main" id="{14E14806-7527-2B4E-8BBE-ADBC2FB1EC07}"/>
                </a:ext>
              </a:extLst>
            </p:cNvPr>
            <p:cNvSpPr>
              <a:spLocks noChangeShapeType="1"/>
            </p:cNvSpPr>
            <p:nvPr/>
          </p:nvSpPr>
          <p:spPr bwMode="auto">
            <a:xfrm>
              <a:off x="9274176" y="3421063"/>
              <a:ext cx="44450" cy="0"/>
            </a:xfrm>
            <a:prstGeom prst="line">
              <a:avLst/>
            </a:prstGeom>
            <a:noFill/>
            <a:ln w="15875"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121" name="Group 120">
            <a:extLst>
              <a:ext uri="{FF2B5EF4-FFF2-40B4-BE49-F238E27FC236}">
                <a16:creationId xmlns:a16="http://schemas.microsoft.com/office/drawing/2014/main" id="{35B74C4E-4E48-2141-967D-C0AF7B8C671B}"/>
              </a:ext>
            </a:extLst>
          </p:cNvPr>
          <p:cNvGrpSpPr/>
          <p:nvPr/>
        </p:nvGrpSpPr>
        <p:grpSpPr>
          <a:xfrm>
            <a:off x="1349763" y="5670876"/>
            <a:ext cx="354012" cy="346076"/>
            <a:chOff x="1610519" y="5477256"/>
            <a:chExt cx="354012" cy="346076"/>
          </a:xfrm>
        </p:grpSpPr>
        <p:sp>
          <p:nvSpPr>
            <p:cNvPr id="85" name="Oval 211">
              <a:extLst>
                <a:ext uri="{FF2B5EF4-FFF2-40B4-BE49-F238E27FC236}">
                  <a16:creationId xmlns:a16="http://schemas.microsoft.com/office/drawing/2014/main" id="{248CEF0E-13A0-AE47-9BA4-4F15A64704FF}"/>
                </a:ext>
              </a:extLst>
            </p:cNvPr>
            <p:cNvSpPr>
              <a:spLocks noChangeArrowheads="1"/>
            </p:cNvSpPr>
            <p:nvPr/>
          </p:nvSpPr>
          <p:spPr bwMode="auto">
            <a:xfrm>
              <a:off x="1918494" y="5499481"/>
              <a:ext cx="15875" cy="1428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86" name="Oval 212">
              <a:extLst>
                <a:ext uri="{FF2B5EF4-FFF2-40B4-BE49-F238E27FC236}">
                  <a16:creationId xmlns:a16="http://schemas.microsoft.com/office/drawing/2014/main" id="{1949268F-D644-6F4A-B693-B366DCF134C9}"/>
                </a:ext>
              </a:extLst>
            </p:cNvPr>
            <p:cNvSpPr>
              <a:spLocks noChangeArrowheads="1"/>
            </p:cNvSpPr>
            <p:nvPr/>
          </p:nvSpPr>
          <p:spPr bwMode="auto">
            <a:xfrm>
              <a:off x="1888331" y="5499481"/>
              <a:ext cx="15875" cy="1428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87" name="Oval 213">
              <a:extLst>
                <a:ext uri="{FF2B5EF4-FFF2-40B4-BE49-F238E27FC236}">
                  <a16:creationId xmlns:a16="http://schemas.microsoft.com/office/drawing/2014/main" id="{F13E6EE7-A18A-1B41-8414-75A6578B8E44}"/>
                </a:ext>
              </a:extLst>
            </p:cNvPr>
            <p:cNvSpPr>
              <a:spLocks noChangeArrowheads="1"/>
            </p:cNvSpPr>
            <p:nvPr/>
          </p:nvSpPr>
          <p:spPr bwMode="auto">
            <a:xfrm>
              <a:off x="1859756" y="5499481"/>
              <a:ext cx="14288" cy="1428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88" name="Oval 214">
              <a:extLst>
                <a:ext uri="{FF2B5EF4-FFF2-40B4-BE49-F238E27FC236}">
                  <a16:creationId xmlns:a16="http://schemas.microsoft.com/office/drawing/2014/main" id="{81614B6D-B726-AC42-8222-2721BE0502DA}"/>
                </a:ext>
              </a:extLst>
            </p:cNvPr>
            <p:cNvSpPr>
              <a:spLocks noChangeArrowheads="1"/>
            </p:cNvSpPr>
            <p:nvPr/>
          </p:nvSpPr>
          <p:spPr bwMode="auto">
            <a:xfrm>
              <a:off x="1829594" y="5499481"/>
              <a:ext cx="14288" cy="1428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89" name="Oval 215">
              <a:extLst>
                <a:ext uri="{FF2B5EF4-FFF2-40B4-BE49-F238E27FC236}">
                  <a16:creationId xmlns:a16="http://schemas.microsoft.com/office/drawing/2014/main" id="{825E3C5C-0022-764E-AC57-8037E1B014AE}"/>
                </a:ext>
              </a:extLst>
            </p:cNvPr>
            <p:cNvSpPr>
              <a:spLocks noChangeArrowheads="1"/>
            </p:cNvSpPr>
            <p:nvPr/>
          </p:nvSpPr>
          <p:spPr bwMode="auto">
            <a:xfrm>
              <a:off x="1918494" y="5801106"/>
              <a:ext cx="15875" cy="1428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90" name="Oval 216">
              <a:extLst>
                <a:ext uri="{FF2B5EF4-FFF2-40B4-BE49-F238E27FC236}">
                  <a16:creationId xmlns:a16="http://schemas.microsoft.com/office/drawing/2014/main" id="{F24320BC-DA96-8547-A488-240623EF62B0}"/>
                </a:ext>
              </a:extLst>
            </p:cNvPr>
            <p:cNvSpPr>
              <a:spLocks noChangeArrowheads="1"/>
            </p:cNvSpPr>
            <p:nvPr/>
          </p:nvSpPr>
          <p:spPr bwMode="auto">
            <a:xfrm>
              <a:off x="1888331" y="5801106"/>
              <a:ext cx="15875" cy="1428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91" name="Oval 217">
              <a:extLst>
                <a:ext uri="{FF2B5EF4-FFF2-40B4-BE49-F238E27FC236}">
                  <a16:creationId xmlns:a16="http://schemas.microsoft.com/office/drawing/2014/main" id="{31EAC160-BF53-9D4D-8575-7C2BF39BF373}"/>
                </a:ext>
              </a:extLst>
            </p:cNvPr>
            <p:cNvSpPr>
              <a:spLocks noChangeArrowheads="1"/>
            </p:cNvSpPr>
            <p:nvPr/>
          </p:nvSpPr>
          <p:spPr bwMode="auto">
            <a:xfrm>
              <a:off x="1859756" y="5801106"/>
              <a:ext cx="14288" cy="1428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92" name="Oval 218">
              <a:extLst>
                <a:ext uri="{FF2B5EF4-FFF2-40B4-BE49-F238E27FC236}">
                  <a16:creationId xmlns:a16="http://schemas.microsoft.com/office/drawing/2014/main" id="{28328333-5EE9-3A41-969C-2A232247E525}"/>
                </a:ext>
              </a:extLst>
            </p:cNvPr>
            <p:cNvSpPr>
              <a:spLocks noChangeArrowheads="1"/>
            </p:cNvSpPr>
            <p:nvPr/>
          </p:nvSpPr>
          <p:spPr bwMode="auto">
            <a:xfrm>
              <a:off x="1829594" y="5801106"/>
              <a:ext cx="14288" cy="1428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93" name="Oval 219">
              <a:extLst>
                <a:ext uri="{FF2B5EF4-FFF2-40B4-BE49-F238E27FC236}">
                  <a16:creationId xmlns:a16="http://schemas.microsoft.com/office/drawing/2014/main" id="{05C401DF-7931-B04F-BB82-0671E1054256}"/>
                </a:ext>
              </a:extLst>
            </p:cNvPr>
            <p:cNvSpPr>
              <a:spLocks noChangeArrowheads="1"/>
            </p:cNvSpPr>
            <p:nvPr/>
          </p:nvSpPr>
          <p:spPr bwMode="auto">
            <a:xfrm>
              <a:off x="1799431" y="5499481"/>
              <a:ext cx="14288" cy="1428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94" name="Oval 220">
              <a:extLst>
                <a:ext uri="{FF2B5EF4-FFF2-40B4-BE49-F238E27FC236}">
                  <a16:creationId xmlns:a16="http://schemas.microsoft.com/office/drawing/2014/main" id="{CF905EE0-1198-E640-81C0-91F8B8837CAE}"/>
                </a:ext>
              </a:extLst>
            </p:cNvPr>
            <p:cNvSpPr>
              <a:spLocks noChangeArrowheads="1"/>
            </p:cNvSpPr>
            <p:nvPr/>
          </p:nvSpPr>
          <p:spPr bwMode="auto">
            <a:xfrm>
              <a:off x="1799431" y="5801106"/>
              <a:ext cx="14288" cy="1428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95" name="Oval 221">
              <a:extLst>
                <a:ext uri="{FF2B5EF4-FFF2-40B4-BE49-F238E27FC236}">
                  <a16:creationId xmlns:a16="http://schemas.microsoft.com/office/drawing/2014/main" id="{6004F127-D8DF-8A43-9782-C7C838F70017}"/>
                </a:ext>
              </a:extLst>
            </p:cNvPr>
            <p:cNvSpPr>
              <a:spLocks noChangeArrowheads="1"/>
            </p:cNvSpPr>
            <p:nvPr/>
          </p:nvSpPr>
          <p:spPr bwMode="auto">
            <a:xfrm>
              <a:off x="1948656" y="5499481"/>
              <a:ext cx="15875" cy="1428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96" name="Oval 222">
              <a:extLst>
                <a:ext uri="{FF2B5EF4-FFF2-40B4-BE49-F238E27FC236}">
                  <a16:creationId xmlns:a16="http://schemas.microsoft.com/office/drawing/2014/main" id="{78EE4823-DCC9-4543-A1D8-AAF40563C27E}"/>
                </a:ext>
              </a:extLst>
            </p:cNvPr>
            <p:cNvSpPr>
              <a:spLocks noChangeArrowheads="1"/>
            </p:cNvSpPr>
            <p:nvPr/>
          </p:nvSpPr>
          <p:spPr bwMode="auto">
            <a:xfrm>
              <a:off x="1948656" y="5529644"/>
              <a:ext cx="15875" cy="1428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97" name="Oval 223">
              <a:extLst>
                <a:ext uri="{FF2B5EF4-FFF2-40B4-BE49-F238E27FC236}">
                  <a16:creationId xmlns:a16="http://schemas.microsoft.com/office/drawing/2014/main" id="{5008BBEB-0028-614F-87AB-1496B8C20003}"/>
                </a:ext>
              </a:extLst>
            </p:cNvPr>
            <p:cNvSpPr>
              <a:spLocks noChangeArrowheads="1"/>
            </p:cNvSpPr>
            <p:nvPr/>
          </p:nvSpPr>
          <p:spPr bwMode="auto">
            <a:xfrm>
              <a:off x="1948656" y="5559806"/>
              <a:ext cx="15875" cy="1428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98" name="Oval 224">
              <a:extLst>
                <a:ext uri="{FF2B5EF4-FFF2-40B4-BE49-F238E27FC236}">
                  <a16:creationId xmlns:a16="http://schemas.microsoft.com/office/drawing/2014/main" id="{514F6B78-A977-FD48-AF5F-C1D7FC9DE464}"/>
                </a:ext>
              </a:extLst>
            </p:cNvPr>
            <p:cNvSpPr>
              <a:spLocks noChangeArrowheads="1"/>
            </p:cNvSpPr>
            <p:nvPr/>
          </p:nvSpPr>
          <p:spPr bwMode="auto">
            <a:xfrm>
              <a:off x="1948656" y="5589969"/>
              <a:ext cx="15875" cy="1428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99" name="Oval 225">
              <a:extLst>
                <a:ext uri="{FF2B5EF4-FFF2-40B4-BE49-F238E27FC236}">
                  <a16:creationId xmlns:a16="http://schemas.microsoft.com/office/drawing/2014/main" id="{94159C87-6D20-DE48-95E3-0F0B2577A946}"/>
                </a:ext>
              </a:extLst>
            </p:cNvPr>
            <p:cNvSpPr>
              <a:spLocks noChangeArrowheads="1"/>
            </p:cNvSpPr>
            <p:nvPr/>
          </p:nvSpPr>
          <p:spPr bwMode="auto">
            <a:xfrm>
              <a:off x="1948656" y="5620131"/>
              <a:ext cx="15875" cy="1428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100" name="Oval 226">
              <a:extLst>
                <a:ext uri="{FF2B5EF4-FFF2-40B4-BE49-F238E27FC236}">
                  <a16:creationId xmlns:a16="http://schemas.microsoft.com/office/drawing/2014/main" id="{1BA85698-0016-C248-915B-CD966DE9AE63}"/>
                </a:ext>
              </a:extLst>
            </p:cNvPr>
            <p:cNvSpPr>
              <a:spLocks noChangeArrowheads="1"/>
            </p:cNvSpPr>
            <p:nvPr/>
          </p:nvSpPr>
          <p:spPr bwMode="auto">
            <a:xfrm>
              <a:off x="1948656" y="5650294"/>
              <a:ext cx="15875" cy="1428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101" name="Oval 227">
              <a:extLst>
                <a:ext uri="{FF2B5EF4-FFF2-40B4-BE49-F238E27FC236}">
                  <a16:creationId xmlns:a16="http://schemas.microsoft.com/office/drawing/2014/main" id="{A4DB9D0F-C1B5-094D-B507-F56F802D5CDA}"/>
                </a:ext>
              </a:extLst>
            </p:cNvPr>
            <p:cNvSpPr>
              <a:spLocks noChangeArrowheads="1"/>
            </p:cNvSpPr>
            <p:nvPr/>
          </p:nvSpPr>
          <p:spPr bwMode="auto">
            <a:xfrm>
              <a:off x="1948656" y="5680456"/>
              <a:ext cx="15875" cy="1428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102" name="Oval 228">
              <a:extLst>
                <a:ext uri="{FF2B5EF4-FFF2-40B4-BE49-F238E27FC236}">
                  <a16:creationId xmlns:a16="http://schemas.microsoft.com/office/drawing/2014/main" id="{D6D6A650-BE1D-9140-A967-D9C1DB5BB3C0}"/>
                </a:ext>
              </a:extLst>
            </p:cNvPr>
            <p:cNvSpPr>
              <a:spLocks noChangeArrowheads="1"/>
            </p:cNvSpPr>
            <p:nvPr/>
          </p:nvSpPr>
          <p:spPr bwMode="auto">
            <a:xfrm>
              <a:off x="1948656" y="5710619"/>
              <a:ext cx="15875" cy="1428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103" name="Oval 229">
              <a:extLst>
                <a:ext uri="{FF2B5EF4-FFF2-40B4-BE49-F238E27FC236}">
                  <a16:creationId xmlns:a16="http://schemas.microsoft.com/office/drawing/2014/main" id="{2DEE85EB-4B7B-034D-BC12-D46D829E845D}"/>
                </a:ext>
              </a:extLst>
            </p:cNvPr>
            <p:cNvSpPr>
              <a:spLocks noChangeArrowheads="1"/>
            </p:cNvSpPr>
            <p:nvPr/>
          </p:nvSpPr>
          <p:spPr bwMode="auto">
            <a:xfrm>
              <a:off x="1948656" y="5740781"/>
              <a:ext cx="15875" cy="1428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104" name="Oval 230">
              <a:extLst>
                <a:ext uri="{FF2B5EF4-FFF2-40B4-BE49-F238E27FC236}">
                  <a16:creationId xmlns:a16="http://schemas.microsoft.com/office/drawing/2014/main" id="{24BDF4D0-9C0F-F349-8828-CD65BD741B6F}"/>
                </a:ext>
              </a:extLst>
            </p:cNvPr>
            <p:cNvSpPr>
              <a:spLocks noChangeArrowheads="1"/>
            </p:cNvSpPr>
            <p:nvPr/>
          </p:nvSpPr>
          <p:spPr bwMode="auto">
            <a:xfrm>
              <a:off x="1948656" y="5770944"/>
              <a:ext cx="15875" cy="1428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105" name="Oval 231">
              <a:extLst>
                <a:ext uri="{FF2B5EF4-FFF2-40B4-BE49-F238E27FC236}">
                  <a16:creationId xmlns:a16="http://schemas.microsoft.com/office/drawing/2014/main" id="{226D092A-FB39-F340-8FD6-C80DF71D4B09}"/>
                </a:ext>
              </a:extLst>
            </p:cNvPr>
            <p:cNvSpPr>
              <a:spLocks noChangeArrowheads="1"/>
            </p:cNvSpPr>
            <p:nvPr/>
          </p:nvSpPr>
          <p:spPr bwMode="auto">
            <a:xfrm>
              <a:off x="1948656" y="5801106"/>
              <a:ext cx="15875" cy="1428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120" name="Group 119">
              <a:extLst>
                <a:ext uri="{FF2B5EF4-FFF2-40B4-BE49-F238E27FC236}">
                  <a16:creationId xmlns:a16="http://schemas.microsoft.com/office/drawing/2014/main" id="{B8882C5F-EF80-6443-AC84-AEDD3D624903}"/>
                </a:ext>
              </a:extLst>
            </p:cNvPr>
            <p:cNvGrpSpPr/>
            <p:nvPr/>
          </p:nvGrpSpPr>
          <p:grpSpPr>
            <a:xfrm>
              <a:off x="1610519" y="5477256"/>
              <a:ext cx="263525" cy="346076"/>
              <a:chOff x="1610519" y="5477256"/>
              <a:chExt cx="263525" cy="346076"/>
            </a:xfrm>
          </p:grpSpPr>
          <p:sp>
            <p:nvSpPr>
              <p:cNvPr id="84" name="Freeform 210">
                <a:extLst>
                  <a:ext uri="{FF2B5EF4-FFF2-40B4-BE49-F238E27FC236}">
                    <a16:creationId xmlns:a16="http://schemas.microsoft.com/office/drawing/2014/main" id="{5A75709D-2689-BB49-83B4-FD68896C33E9}"/>
                  </a:ext>
                </a:extLst>
              </p:cNvPr>
              <p:cNvSpPr/>
              <p:nvPr/>
            </p:nvSpPr>
            <p:spPr bwMode="auto">
              <a:xfrm>
                <a:off x="1813719" y="5604256"/>
                <a:ext cx="60325" cy="76200"/>
              </a:xfrm>
              <a:custGeom>
                <a:gdLst>
                  <a:gd name="T0" fmla="*/ 0 w 38"/>
                  <a:gd name="T1" fmla="*/ 48 h 48"/>
                  <a:gd name="T2" fmla="*/ 38 w 38"/>
                  <a:gd name="T3" fmla="*/ 38 h 48"/>
                  <a:gd name="T4" fmla="*/ 31 w 38"/>
                  <a:gd name="T5" fmla="*/ 0 h 48"/>
                </a:gdLst>
                <a:cxnLst>
                  <a:cxn ang="0">
                    <a:pos x="T0" y="T1"/>
                  </a:cxn>
                  <a:cxn ang="0">
                    <a:pos x="T2" y="T3"/>
                  </a:cxn>
                  <a:cxn ang="0">
                    <a:pos x="T4" y="T5"/>
                  </a:cxn>
                </a:cxnLst>
                <a:rect l="0" t="0" r="r" b="b"/>
                <a:pathLst>
                  <a:path w="38" h="48">
                    <a:moveTo>
                      <a:pt x="0" y="48"/>
                    </a:moveTo>
                    <a:lnTo>
                      <a:pt x="38" y="38"/>
                    </a:lnTo>
                    <a:lnTo>
                      <a:pt x="31" y="0"/>
                    </a:lnTo>
                  </a:path>
                </a:pathLst>
              </a:custGeom>
              <a:noFill/>
              <a:ln w="15875"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6" name="Freeform 232">
                <a:extLst>
                  <a:ext uri="{FF2B5EF4-FFF2-40B4-BE49-F238E27FC236}">
                    <a16:creationId xmlns:a16="http://schemas.microsoft.com/office/drawing/2014/main" id="{C06B5FD4-70B5-294A-BB5D-3068E41457CE}"/>
                  </a:ext>
                </a:extLst>
              </p:cNvPr>
              <p:cNvSpPr/>
              <p:nvPr/>
            </p:nvSpPr>
            <p:spPr bwMode="auto">
              <a:xfrm>
                <a:off x="1610519" y="5507419"/>
                <a:ext cx="136525" cy="301625"/>
              </a:xfrm>
              <a:custGeom>
                <a:gdLst>
                  <a:gd name="T0" fmla="*/ 86 w 86"/>
                  <a:gd name="T1" fmla="*/ 190 h 190"/>
                  <a:gd name="T2" fmla="*/ 0 w 86"/>
                  <a:gd name="T3" fmla="*/ 190 h 190"/>
                  <a:gd name="T4" fmla="*/ 0 w 86"/>
                  <a:gd name="T5" fmla="*/ 0 h 190"/>
                  <a:gd name="T6" fmla="*/ 86 w 86"/>
                  <a:gd name="T7" fmla="*/ 0 h 190"/>
                </a:gdLst>
                <a:cxnLst>
                  <a:cxn ang="0">
                    <a:pos x="T0" y="T1"/>
                  </a:cxn>
                  <a:cxn ang="0">
                    <a:pos x="T2" y="T3"/>
                  </a:cxn>
                  <a:cxn ang="0">
                    <a:pos x="T4" y="T5"/>
                  </a:cxn>
                  <a:cxn ang="0">
                    <a:pos x="T6" y="T7"/>
                  </a:cxn>
                </a:cxnLst>
                <a:rect l="0" t="0" r="r" b="b"/>
                <a:pathLst>
                  <a:path w="86" h="190">
                    <a:moveTo>
                      <a:pt x="86" y="190"/>
                    </a:moveTo>
                    <a:lnTo>
                      <a:pt x="0" y="190"/>
                    </a:lnTo>
                    <a:lnTo>
                      <a:pt x="0" y="0"/>
                    </a:lnTo>
                    <a:lnTo>
                      <a:pt x="86" y="0"/>
                    </a:lnTo>
                  </a:path>
                </a:pathLst>
              </a:custGeom>
              <a:noFill/>
              <a:ln w="15875"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7" name="Line 233">
                <a:extLst>
                  <a:ext uri="{FF2B5EF4-FFF2-40B4-BE49-F238E27FC236}">
                    <a16:creationId xmlns:a16="http://schemas.microsoft.com/office/drawing/2014/main" id="{EB3DEB1F-B643-5141-9E29-40DA8867BE29}"/>
                  </a:ext>
                </a:extLst>
              </p:cNvPr>
              <p:cNvSpPr>
                <a:spLocks noChangeShapeType="1"/>
              </p:cNvSpPr>
              <p:nvPr/>
            </p:nvSpPr>
            <p:spPr bwMode="auto">
              <a:xfrm flipH="1">
                <a:off x="1777206" y="5672519"/>
                <a:ext cx="0" cy="150813"/>
              </a:xfrm>
              <a:prstGeom prst="line">
                <a:avLst/>
              </a:prstGeom>
              <a:noFill/>
              <a:ln w="15875"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8" name="Line 234">
                <a:extLst>
                  <a:ext uri="{FF2B5EF4-FFF2-40B4-BE49-F238E27FC236}">
                    <a16:creationId xmlns:a16="http://schemas.microsoft.com/office/drawing/2014/main" id="{E2A82EC3-8480-5A45-8A18-33B742DDE7E3}"/>
                  </a:ext>
                </a:extLst>
              </p:cNvPr>
              <p:cNvSpPr>
                <a:spLocks noChangeShapeType="1"/>
              </p:cNvSpPr>
              <p:nvPr/>
            </p:nvSpPr>
            <p:spPr bwMode="auto">
              <a:xfrm flipH="1">
                <a:off x="1777206" y="5477256"/>
                <a:ext cx="0" cy="104775"/>
              </a:xfrm>
              <a:prstGeom prst="line">
                <a:avLst/>
              </a:prstGeom>
              <a:noFill/>
              <a:ln w="15875"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9" name="Freeform 235">
                <a:extLst>
                  <a:ext uri="{FF2B5EF4-FFF2-40B4-BE49-F238E27FC236}">
                    <a16:creationId xmlns:a16="http://schemas.microsoft.com/office/drawing/2014/main" id="{7DBAC61B-D83C-F548-86B5-1439F79EE729}"/>
                  </a:ext>
                </a:extLst>
              </p:cNvPr>
              <p:cNvSpPr/>
              <p:nvPr/>
            </p:nvSpPr>
            <p:spPr bwMode="auto">
              <a:xfrm>
                <a:off x="1678781" y="5628069"/>
                <a:ext cx="195263" cy="36513"/>
              </a:xfrm>
              <a:custGeom>
                <a:gdLst>
                  <a:gd name="T0" fmla="*/ 52 w 52"/>
                  <a:gd name="T1" fmla="*/ 10 h 10"/>
                  <a:gd name="T2" fmla="*/ 26 w 52"/>
                  <a:gd name="T3" fmla="*/ 0 h 10"/>
                  <a:gd name="T4" fmla="*/ 0 w 52"/>
                  <a:gd name="T5" fmla="*/ 10 h 10"/>
                </a:gdLst>
                <a:cxnLst>
                  <a:cxn ang="0">
                    <a:pos x="T0" y="T1"/>
                  </a:cxn>
                  <a:cxn ang="0">
                    <a:pos x="T2" y="T3"/>
                  </a:cxn>
                  <a:cxn ang="0">
                    <a:pos x="T4" y="T5"/>
                  </a:cxn>
                </a:cxnLst>
                <a:rect l="0" t="0" r="r" b="b"/>
                <a:pathLst>
                  <a:path w="52" h="10">
                    <a:moveTo>
                      <a:pt x="52" y="10"/>
                    </a:moveTo>
                    <a:cubicBezTo>
                      <a:pt x="45" y="4"/>
                      <a:pt x="36" y="0"/>
                      <a:pt x="26" y="0"/>
                    </a:cubicBezTo>
                    <a:cubicBezTo>
                      <a:pt x="16" y="0"/>
                      <a:pt x="7" y="4"/>
                      <a:pt x="0" y="10"/>
                    </a:cubicBezTo>
                  </a:path>
                </a:pathLst>
              </a:custGeom>
              <a:noFill/>
              <a:ln w="15875"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110" name="Group 109">
            <a:extLst>
              <a:ext uri="{FF2B5EF4-FFF2-40B4-BE49-F238E27FC236}">
                <a16:creationId xmlns:a16="http://schemas.microsoft.com/office/drawing/2014/main" id="{0346E7AD-77D9-6B44-A468-14AE6DD4DA81}"/>
              </a:ext>
            </a:extLst>
          </p:cNvPr>
          <p:cNvGrpSpPr/>
          <p:nvPr/>
        </p:nvGrpSpPr>
        <p:grpSpPr>
          <a:xfrm>
            <a:off x="3983702" y="5676433"/>
            <a:ext cx="349251" cy="334963"/>
            <a:chOff x="9164638" y="3270250"/>
            <a:chExt cx="349251" cy="334963"/>
          </a:xfrm>
        </p:grpSpPr>
        <p:sp>
          <p:nvSpPr>
            <p:cNvPr id="111" name="Line 114">
              <a:extLst>
                <a:ext uri="{FF2B5EF4-FFF2-40B4-BE49-F238E27FC236}">
                  <a16:creationId xmlns:a16="http://schemas.microsoft.com/office/drawing/2014/main" id="{BCC42D30-0FFB-6E47-A172-B3AFBCE85385}"/>
                </a:ext>
              </a:extLst>
            </p:cNvPr>
            <p:cNvSpPr>
              <a:spLocks noChangeShapeType="1"/>
            </p:cNvSpPr>
            <p:nvPr/>
          </p:nvSpPr>
          <p:spPr bwMode="auto">
            <a:xfrm flipH="1" flipV="1">
              <a:off x="9229726" y="3294063"/>
              <a:ext cx="28575" cy="30163"/>
            </a:xfrm>
            <a:prstGeom prst="line">
              <a:avLst/>
            </a:prstGeom>
            <a:noFill/>
            <a:ln w="15875"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2" name="Line 115">
              <a:extLst>
                <a:ext uri="{FF2B5EF4-FFF2-40B4-BE49-F238E27FC236}">
                  <a16:creationId xmlns:a16="http://schemas.microsoft.com/office/drawing/2014/main" id="{4C7F79E4-4CBF-D94D-BC6D-8725B20F41D8}"/>
                </a:ext>
              </a:extLst>
            </p:cNvPr>
            <p:cNvSpPr>
              <a:spLocks noChangeShapeType="1"/>
            </p:cNvSpPr>
            <p:nvPr/>
          </p:nvSpPr>
          <p:spPr bwMode="auto">
            <a:xfrm flipH="1" flipV="1">
              <a:off x="9304338" y="3270250"/>
              <a:ext cx="0" cy="38100"/>
            </a:xfrm>
            <a:prstGeom prst="line">
              <a:avLst/>
            </a:prstGeom>
            <a:noFill/>
            <a:ln w="15875"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3" name="Line 116">
              <a:extLst>
                <a:ext uri="{FF2B5EF4-FFF2-40B4-BE49-F238E27FC236}">
                  <a16:creationId xmlns:a16="http://schemas.microsoft.com/office/drawing/2014/main" id="{79E74798-A49D-704C-B68C-4A31BE9CD643}"/>
                </a:ext>
              </a:extLst>
            </p:cNvPr>
            <p:cNvSpPr>
              <a:spLocks noChangeShapeType="1"/>
            </p:cNvSpPr>
            <p:nvPr/>
          </p:nvSpPr>
          <p:spPr bwMode="auto">
            <a:xfrm flipH="1">
              <a:off x="9205913" y="3376613"/>
              <a:ext cx="38100" cy="0"/>
            </a:xfrm>
            <a:prstGeom prst="line">
              <a:avLst/>
            </a:prstGeom>
            <a:noFill/>
            <a:ln w="15875"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4" name="Freeform 117">
              <a:extLst>
                <a:ext uri="{FF2B5EF4-FFF2-40B4-BE49-F238E27FC236}">
                  <a16:creationId xmlns:a16="http://schemas.microsoft.com/office/drawing/2014/main" id="{C86B8CC6-D19A-AA4B-AF12-00119C7C2CF2}"/>
                </a:ext>
              </a:extLst>
            </p:cNvPr>
            <p:cNvSpPr/>
            <p:nvPr/>
          </p:nvSpPr>
          <p:spPr bwMode="auto">
            <a:xfrm>
              <a:off x="9164638" y="3444875"/>
              <a:ext cx="161925" cy="160338"/>
            </a:xfrm>
            <a:custGeom>
              <a:gdLst>
                <a:gd name="T0" fmla="*/ 43 w 43"/>
                <a:gd name="T1" fmla="*/ 24 h 43"/>
                <a:gd name="T2" fmla="*/ 29 w 43"/>
                <a:gd name="T3" fmla="*/ 38 h 43"/>
                <a:gd name="T4" fmla="*/ 9 w 43"/>
                <a:gd name="T5" fmla="*/ 38 h 43"/>
                <a:gd name="T6" fmla="*/ 5 w 43"/>
                <a:gd name="T7" fmla="*/ 34 h 43"/>
                <a:gd name="T8" fmla="*/ 5 w 43"/>
                <a:gd name="T9" fmla="*/ 14 h 43"/>
                <a:gd name="T10" fmla="*/ 19 w 43"/>
                <a:gd name="T11" fmla="*/ 0 h 43"/>
              </a:gdLst>
              <a:cxnLst>
                <a:cxn ang="0">
                  <a:pos x="T0" y="T1"/>
                </a:cxn>
                <a:cxn ang="0">
                  <a:pos x="T2" y="T3"/>
                </a:cxn>
                <a:cxn ang="0">
                  <a:pos x="T4" y="T5"/>
                </a:cxn>
                <a:cxn ang="0">
                  <a:pos x="T6" y="T7"/>
                </a:cxn>
                <a:cxn ang="0">
                  <a:pos x="T8" y="T9"/>
                </a:cxn>
                <a:cxn ang="0">
                  <a:pos x="T10" y="T11"/>
                </a:cxn>
              </a:cxnLst>
              <a:rect l="0" t="0" r="r" b="b"/>
              <a:pathLst>
                <a:path w="43" h="43">
                  <a:moveTo>
                    <a:pt x="43" y="24"/>
                  </a:moveTo>
                  <a:cubicBezTo>
                    <a:pt x="29" y="38"/>
                    <a:pt x="29" y="38"/>
                    <a:pt x="29" y="38"/>
                  </a:cubicBezTo>
                  <a:cubicBezTo>
                    <a:pt x="24" y="43"/>
                    <a:pt x="15" y="43"/>
                    <a:pt x="9" y="38"/>
                  </a:cubicBezTo>
                  <a:cubicBezTo>
                    <a:pt x="5" y="34"/>
                    <a:pt x="5" y="34"/>
                    <a:pt x="5" y="34"/>
                  </a:cubicBezTo>
                  <a:cubicBezTo>
                    <a:pt x="0" y="28"/>
                    <a:pt x="0" y="19"/>
                    <a:pt x="5" y="14"/>
                  </a:cubicBezTo>
                  <a:cubicBezTo>
                    <a:pt x="19" y="0"/>
                    <a:pt x="19" y="0"/>
                    <a:pt x="19" y="0"/>
                  </a:cubicBezTo>
                </a:path>
              </a:pathLst>
            </a:custGeom>
            <a:noFill/>
            <a:ln w="15875"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5" name="Freeform 118">
              <a:extLst>
                <a:ext uri="{FF2B5EF4-FFF2-40B4-BE49-F238E27FC236}">
                  <a16:creationId xmlns:a16="http://schemas.microsoft.com/office/drawing/2014/main" id="{80CFE59E-46F3-1140-A3FA-C4D8F58817AC}"/>
                </a:ext>
              </a:extLst>
            </p:cNvPr>
            <p:cNvSpPr/>
            <p:nvPr/>
          </p:nvSpPr>
          <p:spPr bwMode="auto">
            <a:xfrm>
              <a:off x="9394826" y="3376613"/>
              <a:ext cx="119063" cy="134938"/>
            </a:xfrm>
            <a:custGeom>
              <a:gdLst>
                <a:gd name="T0" fmla="*/ 0 w 32"/>
                <a:gd name="T1" fmla="*/ 0 h 36"/>
                <a:gd name="T2" fmla="*/ 18 w 32"/>
                <a:gd name="T3" fmla="*/ 0 h 36"/>
                <a:gd name="T4" fmla="*/ 32 w 32"/>
                <a:gd name="T5" fmla="*/ 14 h 36"/>
                <a:gd name="T6" fmla="*/ 32 w 32"/>
                <a:gd name="T7" fmla="*/ 22 h 36"/>
                <a:gd name="T8" fmla="*/ 17 w 32"/>
                <a:gd name="T9" fmla="*/ 36 h 36"/>
                <a:gd name="T10" fmla="*/ 0 w 32"/>
                <a:gd name="T11" fmla="*/ 36 h 36"/>
              </a:gdLst>
              <a:cxnLst>
                <a:cxn ang="0">
                  <a:pos x="T0" y="T1"/>
                </a:cxn>
                <a:cxn ang="0">
                  <a:pos x="T2" y="T3"/>
                </a:cxn>
                <a:cxn ang="0">
                  <a:pos x="T4" y="T5"/>
                </a:cxn>
                <a:cxn ang="0">
                  <a:pos x="T6" y="T7"/>
                </a:cxn>
                <a:cxn ang="0">
                  <a:pos x="T8" y="T9"/>
                </a:cxn>
                <a:cxn ang="0">
                  <a:pos x="T10" y="T11"/>
                </a:cxn>
              </a:cxnLst>
              <a:rect l="0" t="0" r="r" b="b"/>
              <a:pathLst>
                <a:path w="32" h="36">
                  <a:moveTo>
                    <a:pt x="0" y="0"/>
                  </a:moveTo>
                  <a:cubicBezTo>
                    <a:pt x="18" y="0"/>
                    <a:pt x="18" y="0"/>
                    <a:pt x="18" y="0"/>
                  </a:cubicBezTo>
                  <a:cubicBezTo>
                    <a:pt x="25" y="0"/>
                    <a:pt x="32" y="7"/>
                    <a:pt x="32" y="14"/>
                  </a:cubicBezTo>
                  <a:cubicBezTo>
                    <a:pt x="32" y="22"/>
                    <a:pt x="32" y="22"/>
                    <a:pt x="32" y="22"/>
                  </a:cubicBezTo>
                  <a:cubicBezTo>
                    <a:pt x="32" y="30"/>
                    <a:pt x="25" y="36"/>
                    <a:pt x="17" y="36"/>
                  </a:cubicBezTo>
                  <a:cubicBezTo>
                    <a:pt x="0" y="36"/>
                    <a:pt x="0" y="36"/>
                    <a:pt x="0" y="36"/>
                  </a:cubicBezTo>
                </a:path>
              </a:pathLst>
            </a:custGeom>
            <a:noFill/>
            <a:ln w="15875"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116" name="Group 115">
            <a:extLst>
              <a:ext uri="{FF2B5EF4-FFF2-40B4-BE49-F238E27FC236}">
                <a16:creationId xmlns:a16="http://schemas.microsoft.com/office/drawing/2014/main" id="{3E12EF71-658C-E04D-9020-9BAA400DA448}"/>
              </a:ext>
            </a:extLst>
          </p:cNvPr>
          <p:cNvGrpSpPr/>
          <p:nvPr/>
        </p:nvGrpSpPr>
        <p:grpSpPr>
          <a:xfrm>
            <a:off x="6616848" y="5670877"/>
            <a:ext cx="346075" cy="346075"/>
            <a:chOff x="2678113" y="4700588"/>
            <a:chExt cx="346075" cy="346075"/>
          </a:xfrm>
        </p:grpSpPr>
        <p:sp>
          <p:nvSpPr>
            <p:cNvPr id="117" name="Oval 183">
              <a:extLst>
                <a:ext uri="{FF2B5EF4-FFF2-40B4-BE49-F238E27FC236}">
                  <a16:creationId xmlns:a16="http://schemas.microsoft.com/office/drawing/2014/main" id="{59EC41C9-86F9-1C4F-85F0-05C72158D963}"/>
                </a:ext>
              </a:extLst>
            </p:cNvPr>
            <p:cNvSpPr>
              <a:spLocks noChangeArrowheads="1"/>
            </p:cNvSpPr>
            <p:nvPr/>
          </p:nvSpPr>
          <p:spPr bwMode="auto">
            <a:xfrm>
              <a:off x="2678113" y="4700588"/>
              <a:ext cx="239713" cy="241300"/>
            </a:xfrm>
            <a:prstGeom prst="ellipse">
              <a:avLst/>
            </a:prstGeom>
            <a:noFill/>
            <a:ln w="15875" cap="flat">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8" name="Line 184">
              <a:extLst>
                <a:ext uri="{FF2B5EF4-FFF2-40B4-BE49-F238E27FC236}">
                  <a16:creationId xmlns:a16="http://schemas.microsoft.com/office/drawing/2014/main" id="{2E9865B1-2981-CD4A-AAE3-E383CCEE104E}"/>
                </a:ext>
              </a:extLst>
            </p:cNvPr>
            <p:cNvSpPr>
              <a:spLocks noChangeShapeType="1"/>
            </p:cNvSpPr>
            <p:nvPr/>
          </p:nvSpPr>
          <p:spPr bwMode="auto">
            <a:xfrm>
              <a:off x="2884488" y="4908550"/>
              <a:ext cx="139700" cy="138113"/>
            </a:xfrm>
            <a:prstGeom prst="line">
              <a:avLst/>
            </a:prstGeom>
            <a:noFill/>
            <a:ln w="15875"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119" name="Freeform 118">
            <a:extLst>
              <a:ext uri="{FF2B5EF4-FFF2-40B4-BE49-F238E27FC236}">
                <a16:creationId xmlns:a16="http://schemas.microsoft.com/office/drawing/2014/main" id="{79F69C93-B92F-9040-B186-4EEF38466171}"/>
              </a:ext>
            </a:extLst>
          </p:cNvPr>
          <p:cNvSpPr/>
          <p:nvPr/>
        </p:nvSpPr>
        <p:spPr bwMode="auto">
          <a:xfrm>
            <a:off x="9248407" y="5738345"/>
            <a:ext cx="346075" cy="211138"/>
          </a:xfrm>
          <a:custGeom>
            <a:gdLst>
              <a:gd name="T0" fmla="*/ 92 w 92"/>
              <a:gd name="T1" fmla="*/ 36 h 56"/>
              <a:gd name="T2" fmla="*/ 71 w 92"/>
              <a:gd name="T3" fmla="*/ 16 h 56"/>
              <a:gd name="T4" fmla="*/ 46 w 92"/>
              <a:gd name="T5" fmla="*/ 0 h 56"/>
              <a:gd name="T6" fmla="*/ 18 w 92"/>
              <a:gd name="T7" fmla="*/ 26 h 56"/>
              <a:gd name="T8" fmla="*/ 0 w 92"/>
              <a:gd name="T9" fmla="*/ 41 h 56"/>
              <a:gd name="T10" fmla="*/ 16 w 92"/>
              <a:gd name="T11" fmla="*/ 56 h 56"/>
              <a:gd name="T12" fmla="*/ 74 w 92"/>
              <a:gd name="T13" fmla="*/ 56 h 56"/>
              <a:gd name="T14" fmla="*/ 92 w 92"/>
              <a:gd name="T15" fmla="*/ 36 h 56"/>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56">
                <a:moveTo>
                  <a:pt x="92" y="36"/>
                </a:moveTo>
                <a:cubicBezTo>
                  <a:pt x="92" y="25"/>
                  <a:pt x="83" y="16"/>
                  <a:pt x="71" y="16"/>
                </a:cubicBezTo>
                <a:cubicBezTo>
                  <a:pt x="67" y="7"/>
                  <a:pt x="57" y="0"/>
                  <a:pt x="46" y="0"/>
                </a:cubicBezTo>
                <a:cubicBezTo>
                  <a:pt x="31" y="0"/>
                  <a:pt x="19" y="12"/>
                  <a:pt x="18" y="26"/>
                </a:cubicBezTo>
                <a:cubicBezTo>
                  <a:pt x="9" y="24"/>
                  <a:pt x="0" y="31"/>
                  <a:pt x="0" y="41"/>
                </a:cubicBezTo>
                <a:cubicBezTo>
                  <a:pt x="0" y="56"/>
                  <a:pt x="16" y="56"/>
                  <a:pt x="16" y="56"/>
                </a:cubicBezTo>
                <a:cubicBezTo>
                  <a:pt x="74" y="56"/>
                  <a:pt x="74" y="56"/>
                  <a:pt x="74" y="56"/>
                </a:cubicBezTo>
                <a:cubicBezTo>
                  <a:pt x="74" y="56"/>
                  <a:pt x="92" y="54"/>
                  <a:pt x="92" y="36"/>
                </a:cubicBezTo>
                <a:close/>
              </a:path>
            </a:pathLst>
          </a:custGeom>
          <a:noFill/>
          <a:ln w="15875" cap="flat">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cxnSp>
        <p:nvCxnSpPr>
          <p:cNvPr id="10" name="Conector recto 9">
            <a:extLst>
              <a:ext uri="{FF2B5EF4-FFF2-40B4-BE49-F238E27FC236}">
                <a16:creationId xmlns:a16="http://schemas.microsoft.com/office/drawing/2014/main" id="{0ADECE61-5883-0E35-4874-722CA004E7E4}"/>
              </a:ext>
            </a:extLst>
          </p:cNvPr>
          <p:cNvCxnSpPr/>
          <p:nvPr/>
        </p:nvCxnSpPr>
        <p:spPr>
          <a:xfrm flipH="1">
            <a:off x="990631" y="1011118"/>
            <a:ext cx="10243035" cy="14931"/>
          </a:xfrm>
          <a:prstGeom prst="line">
            <a:avLst/>
          </a:prstGeom>
          <a:ln w="28575">
            <a:solidFill>
              <a:srgbClr val="00677F"/>
            </a:solidFill>
          </a:ln>
        </p:spPr>
        <p:style>
          <a:lnRef idx="1">
            <a:schemeClr val="accent1"/>
          </a:lnRef>
          <a:fillRef idx="0">
            <a:schemeClr val="accent1"/>
          </a:fillRef>
          <a:effectRef idx="0">
            <a:schemeClr val="accent1"/>
          </a:effectRef>
          <a:fontRef idx="minor">
            <a:schemeClr val="tx1"/>
          </a:fontRef>
        </p:style>
      </p:cxnSp>
      <p:pic>
        <p:nvPicPr>
          <p:cNvPr id="11" name="Imagen 10">
            <a:extLst>
              <a:ext uri="{FF2B5EF4-FFF2-40B4-BE49-F238E27FC236}">
                <a16:creationId xmlns:a16="http://schemas.microsoft.com/office/drawing/2014/main" id="{9FE756BF-B8A1-3329-FAF0-453D284C4D4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41323" y="152883"/>
            <a:ext cx="1384685" cy="1384685"/>
          </a:xfrm>
          <a:prstGeom prst="rect">
            <a:avLst/>
          </a:prstGeom>
        </p:spPr>
      </p:pic>
      <p:sp>
        <p:nvSpPr>
          <p:cNvPr id="12" name="TextBox 9">
            <a:extLst>
              <a:ext uri="{FF2B5EF4-FFF2-40B4-BE49-F238E27FC236}">
                <a16:creationId xmlns:a16="http://schemas.microsoft.com/office/drawing/2014/main" id="{01101DEC-D7EF-C06A-8898-BFB7F58951E0}"/>
              </a:ext>
            </a:extLst>
          </p:cNvPr>
          <p:cNvSpPr txBox="1"/>
          <p:nvPr/>
        </p:nvSpPr>
        <p:spPr>
          <a:xfrm>
            <a:off x="914171" y="127378"/>
            <a:ext cx="3876061" cy="923330"/>
          </a:xfrm>
          <a:prstGeom prst="rect">
            <a:avLst/>
          </a:prstGeom>
          <a:noFill/>
        </p:spPr>
        <p:txBody>
          <a:bodyPr wrap="none" lIns="0" tIns="0" rIns="0" bIns="0" rtlCol="0">
            <a:spAutoFit/>
          </a:bodyPr>
          <a:lstStyle/>
          <a:p>
            <a:r>
              <a:rPr lang="en-US" sz="6000" b="1">
                <a:solidFill>
                  <a:schemeClr val="tx1">
                    <a:lumMod val="65000"/>
                    <a:lumOff val="35000"/>
                  </a:schemeClr>
                </a:solidFill>
                <a:latin typeface="Segoe UI" panose="020b0502040204020203" pitchFamily="34" charset="0"/>
                <a:cs typeface="Segoe UI" panose="020b0502040204020203" pitchFamily="34" charset="0"/>
              </a:rPr>
              <a:t>BAHAMAS</a:t>
            </a:r>
          </a:p>
        </p:txBody>
      </p:sp>
      <p:sp>
        <p:nvSpPr>
          <p:cNvPr id="15" name="TextBox 9">
            <a:extLst>
              <a:ext uri="{FF2B5EF4-FFF2-40B4-BE49-F238E27FC236}">
                <a16:creationId xmlns:a16="http://schemas.microsoft.com/office/drawing/2014/main" id="{771731D5-B687-23C8-BE1D-1E91F2ABFB2A}"/>
              </a:ext>
            </a:extLst>
          </p:cNvPr>
          <p:cNvSpPr txBox="1"/>
          <p:nvPr/>
        </p:nvSpPr>
        <p:spPr>
          <a:xfrm>
            <a:off x="911835" y="1034371"/>
            <a:ext cx="2068067" cy="430887"/>
          </a:xfrm>
          <a:prstGeom prst="rect">
            <a:avLst/>
          </a:prstGeom>
          <a:noFill/>
        </p:spPr>
        <p:txBody>
          <a:bodyPr wrap="none" lIns="0" tIns="0" rIns="0" bIns="0" rtlCol="0">
            <a:spAutoFit/>
          </a:bodyPr>
          <a:lstStyle/>
          <a:p>
            <a:pPr algn="ctr"/>
            <a:r>
              <a:rPr lang="en-US" sz="2800" b="1">
                <a:solidFill>
                  <a:srgbClr val="02BAC8"/>
                </a:solidFill>
                <a:latin typeface="Segoe UI" panose="020b0502040204020203" pitchFamily="34" charset="0"/>
                <a:cs typeface="Segoe UI" panose="020b0502040204020203" pitchFamily="34" charset="0"/>
              </a:rPr>
              <a:t>Gastronomy</a:t>
            </a:r>
          </a:p>
        </p:txBody>
      </p:sp>
      <p:grpSp>
        <p:nvGrpSpPr>
          <p:cNvPr id="16" name="Grupo 15">
            <a:extLst>
              <a:ext uri="{FF2B5EF4-FFF2-40B4-BE49-F238E27FC236}">
                <a16:creationId xmlns:a16="http://schemas.microsoft.com/office/drawing/2014/main" id="{78585F9B-0D68-554B-0239-95B36C51312F}"/>
              </a:ext>
            </a:extLst>
          </p:cNvPr>
          <p:cNvGrpSpPr/>
          <p:nvPr/>
        </p:nvGrpSpPr>
        <p:grpSpPr>
          <a:xfrm>
            <a:off x="217726" y="24829"/>
            <a:ext cx="792527" cy="1306401"/>
            <a:chOff x="283851" y="5461857"/>
            <a:chExt cx="846969" cy="1396143"/>
          </a:xfrm>
          <a:solidFill>
            <a:srgbClr val="06DBE7"/>
          </a:solidFill>
        </p:grpSpPr>
        <p:sp>
          <p:nvSpPr>
            <p:cNvPr id="20" name="Forma libre: forma 19">
              <a:extLst>
                <a:ext uri="{FF2B5EF4-FFF2-40B4-BE49-F238E27FC236}">
                  <a16:creationId xmlns:a16="http://schemas.microsoft.com/office/drawing/2014/main" id="{4D417C59-CF17-7D5E-B5C8-88B5AF0E3691}"/>
                </a:ext>
              </a:extLst>
            </p:cNvPr>
            <p:cNvSpPr/>
            <p:nvPr/>
          </p:nvSpPr>
          <p:spPr>
            <a:xfrm>
              <a:off x="283851" y="5461857"/>
              <a:ext cx="846969" cy="468186"/>
            </a:xfrm>
            <a:custGeom>
              <a:gdLst>
                <a:gd name="connsiteX0" fmla="*/ 585515 w 846969"/>
                <a:gd name="connsiteY0" fmla="*/ 123160 h 468186"/>
                <a:gd name="connsiteX1" fmla="*/ 374091 w 846969"/>
                <a:gd name="connsiteY1" fmla="*/ 150510 h 468186"/>
                <a:gd name="connsiteX2" fmla="*/ 58700 w 846969"/>
                <a:gd name="connsiteY2" fmla="*/ 260683 h 468186"/>
                <a:gd name="connsiteX3" fmla="*/ 7105 w 846969"/>
                <a:gd name="connsiteY3" fmla="*/ 260683 h 468186"/>
                <a:gd name="connsiteX4" fmla="*/ 14476 w 846969"/>
                <a:gd name="connsiteY4" fmla="*/ 205208 h 468186"/>
                <a:gd name="connsiteX5" fmla="*/ 215232 w 846969"/>
                <a:gd name="connsiteY5" fmla="*/ 41694 h 468186"/>
                <a:gd name="connsiteX6" fmla="*/ 547303 w 846969"/>
                <a:gd name="connsiteY6" fmla="*/ 4259 h 468186"/>
                <a:gd name="connsiteX7" fmla="*/ 805280 w 846969"/>
                <a:gd name="connsiteY7" fmla="*/ 54302 h 468186"/>
                <a:gd name="connsiteX8" fmla="*/ 846788 w 846969"/>
                <a:gd name="connsiteY8" fmla="*/ 87470 h 468186"/>
                <a:gd name="connsiteX9" fmla="*/ 815366 w 846969"/>
                <a:gd name="connsiteY9" fmla="*/ 131307 h 468186"/>
                <a:gd name="connsiteX10" fmla="*/ 705968 w 846969"/>
                <a:gd name="connsiteY10" fmla="*/ 242644 h 468186"/>
                <a:gd name="connsiteX11" fmla="*/ 376612 w 846969"/>
                <a:gd name="connsiteY11" fmla="*/ 464348 h 468186"/>
                <a:gd name="connsiteX12" fmla="*/ 89735 w 846969"/>
                <a:gd name="connsiteY12" fmla="*/ 417990 h 468186"/>
                <a:gd name="connsiteX13" fmla="*/ 60058 w 846969"/>
                <a:gd name="connsiteY13" fmla="*/ 386762 h 468186"/>
                <a:gd name="connsiteX14" fmla="*/ 86826 w 846969"/>
                <a:gd name="connsiteY14" fmla="*/ 349326 h 468186"/>
                <a:gd name="connsiteX15" fmla="*/ 550407 w 846969"/>
                <a:gd name="connsiteY15" fmla="*/ 135186 h 468186"/>
                <a:gd name="connsiteX16" fmla="*/ 585321 w 846969"/>
                <a:gd name="connsiteY16" fmla="*/ 123160 h 46818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46969" h="468186">
                  <a:moveTo>
                    <a:pt x="585515" y="123160"/>
                  </a:moveTo>
                  <a:cubicBezTo>
                    <a:pt x="513747" y="122191"/>
                    <a:pt x="443531" y="133829"/>
                    <a:pt x="374091" y="150510"/>
                  </a:cubicBezTo>
                  <a:cubicBezTo>
                    <a:pt x="265275" y="176501"/>
                    <a:pt x="159757" y="212385"/>
                    <a:pt x="58700" y="260683"/>
                  </a:cubicBezTo>
                  <a:cubicBezTo>
                    <a:pt x="41631" y="268830"/>
                    <a:pt x="22816" y="281050"/>
                    <a:pt x="7105" y="260683"/>
                  </a:cubicBezTo>
                  <a:cubicBezTo>
                    <a:pt x="-7636" y="241480"/>
                    <a:pt x="3420" y="222278"/>
                    <a:pt x="14476" y="205208"/>
                  </a:cubicBezTo>
                  <a:cubicBezTo>
                    <a:pt x="63162" y="128591"/>
                    <a:pt x="132990" y="77578"/>
                    <a:pt x="215232" y="41694"/>
                  </a:cubicBezTo>
                  <a:cubicBezTo>
                    <a:pt x="322108" y="-5052"/>
                    <a:pt x="434802" y="-3694"/>
                    <a:pt x="547303" y="4259"/>
                  </a:cubicBezTo>
                  <a:cubicBezTo>
                    <a:pt x="634977" y="10660"/>
                    <a:pt x="720710" y="30638"/>
                    <a:pt x="805280" y="54302"/>
                  </a:cubicBezTo>
                  <a:cubicBezTo>
                    <a:pt x="823706" y="59345"/>
                    <a:pt x="844655" y="64000"/>
                    <a:pt x="846788" y="87470"/>
                  </a:cubicBezTo>
                  <a:cubicBezTo>
                    <a:pt x="848922" y="109583"/>
                    <a:pt x="831853" y="120639"/>
                    <a:pt x="815366" y="131307"/>
                  </a:cubicBezTo>
                  <a:cubicBezTo>
                    <a:pt x="770753" y="160402"/>
                    <a:pt x="734094" y="197450"/>
                    <a:pt x="705968" y="242644"/>
                  </a:cubicBezTo>
                  <a:cubicBezTo>
                    <a:pt x="629351" y="366007"/>
                    <a:pt x="524415" y="447279"/>
                    <a:pt x="376612" y="464348"/>
                  </a:cubicBezTo>
                  <a:cubicBezTo>
                    <a:pt x="276913" y="475792"/>
                    <a:pt x="180706" y="462021"/>
                    <a:pt x="89735" y="417990"/>
                  </a:cubicBezTo>
                  <a:cubicBezTo>
                    <a:pt x="75769" y="411201"/>
                    <a:pt x="60640" y="405188"/>
                    <a:pt x="60058" y="386762"/>
                  </a:cubicBezTo>
                  <a:cubicBezTo>
                    <a:pt x="59476" y="368141"/>
                    <a:pt x="72278" y="358248"/>
                    <a:pt x="86826" y="349326"/>
                  </a:cubicBezTo>
                  <a:cubicBezTo>
                    <a:pt x="232689" y="258937"/>
                    <a:pt x="387281" y="187945"/>
                    <a:pt x="550407" y="135186"/>
                  </a:cubicBezTo>
                  <a:cubicBezTo>
                    <a:pt x="562045" y="131501"/>
                    <a:pt x="573683" y="127234"/>
                    <a:pt x="585321" y="123160"/>
                  </a:cubicBezTo>
                  <a:close/>
                </a:path>
              </a:pathLst>
            </a:custGeom>
            <a:solidFill>
              <a:srgbClr val="00ABF7"/>
            </a:solidFill>
            <a:ln w="19266" cap="flat">
              <a:noFill/>
              <a:prstDash val="solid"/>
              <a:miter/>
            </a:ln>
          </p:spPr>
          <p:txBody>
            <a:bodyPr rtlCol="0" anchor="ctr"/>
            <a:lstStyle/>
            <a:p>
              <a:endParaRPr lang="es-PE"/>
            </a:p>
          </p:txBody>
        </p:sp>
        <p:sp>
          <p:nvSpPr>
            <p:cNvPr id="24" name="Forma libre: forma 23">
              <a:extLst>
                <a:ext uri="{FF2B5EF4-FFF2-40B4-BE49-F238E27FC236}">
                  <a16:creationId xmlns:a16="http://schemas.microsoft.com/office/drawing/2014/main" id="{D51763CC-5D93-6C73-7323-FAA46B9E60F8}"/>
                </a:ext>
              </a:extLst>
            </p:cNvPr>
            <p:cNvSpPr/>
            <p:nvPr/>
          </p:nvSpPr>
          <p:spPr>
            <a:xfrm>
              <a:off x="507131" y="5943613"/>
              <a:ext cx="297179" cy="914387"/>
            </a:xfrm>
            <a:custGeom>
              <a:gdLst>
                <a:gd name="connsiteX0" fmla="*/ 76327 w 297179"/>
                <a:gd name="connsiteY0" fmla="*/ 250461 h 914387"/>
                <a:gd name="connsiteX1" fmla="*/ 87189 w 297179"/>
                <a:gd name="connsiteY1" fmla="*/ 213801 h 914387"/>
                <a:gd name="connsiteX2" fmla="*/ 91651 w 297179"/>
                <a:gd name="connsiteY2" fmla="*/ 56494 h 914387"/>
                <a:gd name="connsiteX3" fmla="*/ 107168 w 297179"/>
                <a:gd name="connsiteY3" fmla="*/ 30114 h 914387"/>
                <a:gd name="connsiteX4" fmla="*/ 134323 w 297179"/>
                <a:gd name="connsiteY4" fmla="*/ 56106 h 914387"/>
                <a:gd name="connsiteX5" fmla="*/ 139366 w 297179"/>
                <a:gd name="connsiteY5" fmla="*/ 216128 h 914387"/>
                <a:gd name="connsiteX6" fmla="*/ 149065 w 297179"/>
                <a:gd name="connsiteY6" fmla="*/ 248133 h 914387"/>
                <a:gd name="connsiteX7" fmla="*/ 159733 w 297179"/>
                <a:gd name="connsiteY7" fmla="*/ 208176 h 914387"/>
                <a:gd name="connsiteX8" fmla="*/ 161091 w 297179"/>
                <a:gd name="connsiteY8" fmla="*/ 65028 h 914387"/>
                <a:gd name="connsiteX9" fmla="*/ 161867 w 297179"/>
                <a:gd name="connsiteY9" fmla="*/ 42140 h 914387"/>
                <a:gd name="connsiteX10" fmla="*/ 189798 w 297179"/>
                <a:gd name="connsiteY10" fmla="*/ 20416 h 914387"/>
                <a:gd name="connsiteX11" fmla="*/ 205121 w 297179"/>
                <a:gd name="connsiteY11" fmla="*/ 42916 h 914387"/>
                <a:gd name="connsiteX12" fmla="*/ 208613 w 297179"/>
                <a:gd name="connsiteY12" fmla="*/ 214577 h 914387"/>
                <a:gd name="connsiteX13" fmla="*/ 218699 w 297179"/>
                <a:gd name="connsiteY13" fmla="*/ 245805 h 914387"/>
                <a:gd name="connsiteX14" fmla="*/ 229173 w 297179"/>
                <a:gd name="connsiteY14" fmla="*/ 214965 h 914387"/>
                <a:gd name="connsiteX15" fmla="*/ 234604 w 297179"/>
                <a:gd name="connsiteY15" fmla="*/ 37679 h 914387"/>
                <a:gd name="connsiteX16" fmla="*/ 235574 w 297179"/>
                <a:gd name="connsiteY16" fmla="*/ 20610 h 914387"/>
                <a:gd name="connsiteX17" fmla="*/ 266027 w 297179"/>
                <a:gd name="connsiteY17" fmla="*/ 49 h 914387"/>
                <a:gd name="connsiteX18" fmla="*/ 279217 w 297179"/>
                <a:gd name="connsiteY18" fmla="*/ 20998 h 914387"/>
                <a:gd name="connsiteX19" fmla="*/ 296480 w 297179"/>
                <a:gd name="connsiteY19" fmla="*/ 271991 h 914387"/>
                <a:gd name="connsiteX20" fmla="*/ 245660 w 297179"/>
                <a:gd name="connsiteY20" fmla="*/ 388953 h 914387"/>
                <a:gd name="connsiteX21" fmla="*/ 224518 w 297179"/>
                <a:gd name="connsiteY21" fmla="*/ 403695 h 914387"/>
                <a:gd name="connsiteX22" fmla="*/ 185337 w 297179"/>
                <a:gd name="connsiteY22" fmla="*/ 477984 h 914387"/>
                <a:gd name="connsiteX23" fmla="*/ 222384 w 297179"/>
                <a:gd name="connsiteY23" fmla="*/ 855637 h 914387"/>
                <a:gd name="connsiteX24" fmla="*/ 172535 w 297179"/>
                <a:gd name="connsiteY24" fmla="*/ 914216 h 914387"/>
                <a:gd name="connsiteX25" fmla="*/ 115315 w 297179"/>
                <a:gd name="connsiteY25" fmla="*/ 914216 h 914387"/>
                <a:gd name="connsiteX26" fmla="*/ 73806 w 297179"/>
                <a:gd name="connsiteY26" fmla="*/ 865918 h 914387"/>
                <a:gd name="connsiteX27" fmla="*/ 105228 w 297179"/>
                <a:gd name="connsiteY27" fmla="*/ 668265 h 914387"/>
                <a:gd name="connsiteX28" fmla="*/ 109496 w 297179"/>
                <a:gd name="connsiteY28" fmla="*/ 459557 h 914387"/>
                <a:gd name="connsiteX29" fmla="*/ 82728 w 297179"/>
                <a:gd name="connsiteY29" fmla="*/ 411259 h 914387"/>
                <a:gd name="connsiteX30" fmla="*/ 46068 w 297179"/>
                <a:gd name="connsiteY30" fmla="*/ 383716 h 914387"/>
                <a:gd name="connsiteX31" fmla="*/ 292 w 297179"/>
                <a:gd name="connsiteY31" fmla="*/ 284017 h 914387"/>
                <a:gd name="connsiteX32" fmla="*/ 16779 w 297179"/>
                <a:gd name="connsiteY32" fmla="*/ 50093 h 914387"/>
                <a:gd name="connsiteX33" fmla="*/ 37146 w 297179"/>
                <a:gd name="connsiteY33" fmla="*/ 27205 h 914387"/>
                <a:gd name="connsiteX34" fmla="*/ 64495 w 297179"/>
                <a:gd name="connsiteY34" fmla="*/ 52420 h 914387"/>
                <a:gd name="connsiteX35" fmla="*/ 66047 w 297179"/>
                <a:gd name="connsiteY35" fmla="*/ 204102 h 914387"/>
                <a:gd name="connsiteX36" fmla="*/ 76521 w 297179"/>
                <a:gd name="connsiteY36" fmla="*/ 250073 h 91438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97179" h="914387">
                  <a:moveTo>
                    <a:pt x="76327" y="250461"/>
                  </a:moveTo>
                  <a:cubicBezTo>
                    <a:pt x="90099" y="238823"/>
                    <a:pt x="86801" y="225633"/>
                    <a:pt x="87189" y="213801"/>
                  </a:cubicBezTo>
                  <a:cubicBezTo>
                    <a:pt x="88935" y="161430"/>
                    <a:pt x="90099" y="109059"/>
                    <a:pt x="91651" y="56494"/>
                  </a:cubicBezTo>
                  <a:cubicBezTo>
                    <a:pt x="92039" y="45050"/>
                    <a:pt x="91651" y="32830"/>
                    <a:pt x="107168" y="30114"/>
                  </a:cubicBezTo>
                  <a:cubicBezTo>
                    <a:pt x="127922" y="26817"/>
                    <a:pt x="133935" y="37291"/>
                    <a:pt x="134323" y="56106"/>
                  </a:cubicBezTo>
                  <a:cubicBezTo>
                    <a:pt x="135487" y="109447"/>
                    <a:pt x="137233" y="162788"/>
                    <a:pt x="139366" y="216128"/>
                  </a:cubicBezTo>
                  <a:cubicBezTo>
                    <a:pt x="139754" y="226603"/>
                    <a:pt x="135487" y="239210"/>
                    <a:pt x="149065" y="248133"/>
                  </a:cubicBezTo>
                  <a:cubicBezTo>
                    <a:pt x="160121" y="236495"/>
                    <a:pt x="159539" y="222141"/>
                    <a:pt x="159733" y="208176"/>
                  </a:cubicBezTo>
                  <a:cubicBezTo>
                    <a:pt x="160315" y="160460"/>
                    <a:pt x="160703" y="112744"/>
                    <a:pt x="161091" y="65028"/>
                  </a:cubicBezTo>
                  <a:cubicBezTo>
                    <a:pt x="161091" y="57463"/>
                    <a:pt x="161479" y="49705"/>
                    <a:pt x="161867" y="42140"/>
                  </a:cubicBezTo>
                  <a:cubicBezTo>
                    <a:pt x="162643" y="24101"/>
                    <a:pt x="175832" y="20804"/>
                    <a:pt x="189798" y="20416"/>
                  </a:cubicBezTo>
                  <a:cubicBezTo>
                    <a:pt x="205509" y="19834"/>
                    <a:pt x="204927" y="33218"/>
                    <a:pt x="205121" y="42916"/>
                  </a:cubicBezTo>
                  <a:cubicBezTo>
                    <a:pt x="206673" y="100136"/>
                    <a:pt x="207255" y="157356"/>
                    <a:pt x="208613" y="214577"/>
                  </a:cubicBezTo>
                  <a:cubicBezTo>
                    <a:pt x="209001" y="226021"/>
                    <a:pt x="204733" y="245805"/>
                    <a:pt x="218699" y="245805"/>
                  </a:cubicBezTo>
                  <a:cubicBezTo>
                    <a:pt x="233440" y="245805"/>
                    <a:pt x="228591" y="226215"/>
                    <a:pt x="229173" y="214965"/>
                  </a:cubicBezTo>
                  <a:cubicBezTo>
                    <a:pt x="231501" y="155805"/>
                    <a:pt x="232859" y="96839"/>
                    <a:pt x="234604" y="37679"/>
                  </a:cubicBezTo>
                  <a:cubicBezTo>
                    <a:pt x="234604" y="32054"/>
                    <a:pt x="234604" y="26041"/>
                    <a:pt x="235574" y="20610"/>
                  </a:cubicBezTo>
                  <a:cubicBezTo>
                    <a:pt x="238872" y="3929"/>
                    <a:pt x="252837" y="1019"/>
                    <a:pt x="266027" y="49"/>
                  </a:cubicBezTo>
                  <a:cubicBezTo>
                    <a:pt x="280574" y="-921"/>
                    <a:pt x="278635" y="12657"/>
                    <a:pt x="279217" y="20998"/>
                  </a:cubicBezTo>
                  <a:cubicBezTo>
                    <a:pt x="285036" y="104597"/>
                    <a:pt x="288915" y="188585"/>
                    <a:pt x="296480" y="271991"/>
                  </a:cubicBezTo>
                  <a:cubicBezTo>
                    <a:pt x="300941" y="321840"/>
                    <a:pt x="284066" y="359470"/>
                    <a:pt x="245660" y="388953"/>
                  </a:cubicBezTo>
                  <a:cubicBezTo>
                    <a:pt x="238872" y="394190"/>
                    <a:pt x="231695" y="399039"/>
                    <a:pt x="224518" y="403695"/>
                  </a:cubicBezTo>
                  <a:cubicBezTo>
                    <a:pt x="197363" y="421151"/>
                    <a:pt x="186694" y="445397"/>
                    <a:pt x="185337" y="477984"/>
                  </a:cubicBezTo>
                  <a:cubicBezTo>
                    <a:pt x="179906" y="605808"/>
                    <a:pt x="198332" y="730917"/>
                    <a:pt x="222384" y="855637"/>
                  </a:cubicBezTo>
                  <a:cubicBezTo>
                    <a:pt x="231307" y="901995"/>
                    <a:pt x="220445" y="914022"/>
                    <a:pt x="172535" y="914216"/>
                  </a:cubicBezTo>
                  <a:cubicBezTo>
                    <a:pt x="153526" y="914216"/>
                    <a:pt x="134323" y="914603"/>
                    <a:pt x="115315" y="914216"/>
                  </a:cubicBezTo>
                  <a:cubicBezTo>
                    <a:pt x="80207" y="913440"/>
                    <a:pt x="68569" y="900444"/>
                    <a:pt x="73806" y="865918"/>
                  </a:cubicBezTo>
                  <a:cubicBezTo>
                    <a:pt x="83892" y="799969"/>
                    <a:pt x="96112" y="734408"/>
                    <a:pt x="105228" y="668265"/>
                  </a:cubicBezTo>
                  <a:cubicBezTo>
                    <a:pt x="114733" y="599019"/>
                    <a:pt x="109883" y="529191"/>
                    <a:pt x="109496" y="459557"/>
                  </a:cubicBezTo>
                  <a:cubicBezTo>
                    <a:pt x="109496" y="439578"/>
                    <a:pt x="99603" y="423091"/>
                    <a:pt x="82728" y="411259"/>
                  </a:cubicBezTo>
                  <a:cubicBezTo>
                    <a:pt x="70314" y="402531"/>
                    <a:pt x="58094" y="393220"/>
                    <a:pt x="46068" y="383716"/>
                  </a:cubicBezTo>
                  <a:cubicBezTo>
                    <a:pt x="13870" y="358306"/>
                    <a:pt x="-2423" y="325332"/>
                    <a:pt x="292" y="284017"/>
                  </a:cubicBezTo>
                  <a:cubicBezTo>
                    <a:pt x="5529" y="206042"/>
                    <a:pt x="11348" y="128067"/>
                    <a:pt x="16779" y="50093"/>
                  </a:cubicBezTo>
                  <a:cubicBezTo>
                    <a:pt x="17749" y="36903"/>
                    <a:pt x="18137" y="25265"/>
                    <a:pt x="37146" y="27205"/>
                  </a:cubicBezTo>
                  <a:cubicBezTo>
                    <a:pt x="53633" y="28950"/>
                    <a:pt x="64301" y="33412"/>
                    <a:pt x="64495" y="52420"/>
                  </a:cubicBezTo>
                  <a:cubicBezTo>
                    <a:pt x="64495" y="103046"/>
                    <a:pt x="65465" y="153477"/>
                    <a:pt x="66047" y="204102"/>
                  </a:cubicBezTo>
                  <a:cubicBezTo>
                    <a:pt x="66047" y="219038"/>
                    <a:pt x="65465" y="234361"/>
                    <a:pt x="76521" y="250073"/>
                  </a:cubicBezTo>
                  <a:close/>
                </a:path>
              </a:pathLst>
            </a:custGeom>
            <a:solidFill>
              <a:schemeClr val="bg1">
                <a:lumMod val="65000"/>
              </a:schemeClr>
            </a:solidFill>
            <a:ln w="19266" cap="flat">
              <a:noFill/>
              <a:prstDash val="solid"/>
              <a:miter/>
            </a:ln>
          </p:spPr>
          <p:txBody>
            <a:bodyPr rtlCol="0" anchor="ctr"/>
            <a:lstStyle/>
            <a:p>
              <a:endParaRPr lang="es-PE"/>
            </a:p>
          </p:txBody>
        </p:sp>
      </p:grpSp>
    </p:spTree>
    <p:extLst>
      <p:ext uri="{BB962C8B-B14F-4D97-AF65-F5344CB8AC3E}">
        <p14:creationId xmlns:p14="http://schemas.microsoft.com/office/powerpoint/2010/main" val="1571040088"/>
      </p:ext>
    </p:extLst>
  </p:cSld>
  <p:clrMapOvr>
    <a:masterClrMapping/>
  </p:clrMapOvr>
  <p:transition/>
  <p:timing/>
</p:sld>
</file>

<file path=ppt/slides/slide8.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70" name="Rectangle 3">
            <a:extLst>
              <a:ext uri="{FF2B5EF4-FFF2-40B4-BE49-F238E27FC236}">
                <a16:creationId xmlns:a16="http://schemas.microsoft.com/office/drawing/2014/main" id="{635F61A5-710A-4C01-A82E-7F2F6214EB8D}"/>
              </a:ext>
            </a:extLst>
          </p:cNvPr>
          <p:cNvSpPr/>
          <p:nvPr/>
        </p:nvSpPr>
        <p:spPr>
          <a:xfrm>
            <a:off x="0" y="1429086"/>
            <a:ext cx="12192000" cy="2600131"/>
          </a:xfrm>
          <a:prstGeom prst="rect">
            <a:avLst/>
          </a:prstGeom>
          <a:blipFill dpi="0" rotWithShape="0">
            <a:blip r:embed="rId3">
              <a:extLst>
                <a:ext uri="{28A0092B-C50C-407E-A947-70E740481C1C}">
                  <a14:useLocalDpi xmlns:a14="http://schemas.microsoft.com/office/drawing/2010/main" val="0"/>
                </a:ext>
              </a:extLst>
            </a:blip>
            <a:stretch>
              <a:fillRect t="-12000" b="-147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Rectangle 3">
            <a:extLst>
              <a:ext uri="{FF2B5EF4-FFF2-40B4-BE49-F238E27FC236}">
                <a16:creationId xmlns:a16="http://schemas.microsoft.com/office/drawing/2014/main" id="{79C0DF1B-3C33-1246-ACBC-8DF5C06C3133}"/>
              </a:ext>
            </a:extLst>
          </p:cNvPr>
          <p:cNvSpPr/>
          <p:nvPr/>
        </p:nvSpPr>
        <p:spPr>
          <a:xfrm>
            <a:off x="-19502" y="1432747"/>
            <a:ext cx="12192000" cy="2600131"/>
          </a:xfrm>
          <a:prstGeom prst="rect">
            <a:avLst/>
          </a:prstGeom>
          <a:gradFill flip="none" rotWithShape="1">
            <a:gsLst>
              <a:gs pos="0">
                <a:schemeClr val="tx1">
                  <a:lumMod val="75000"/>
                  <a:lumOff val="25000"/>
                  <a:alpha val="35000"/>
                </a:schemeClr>
              </a:gs>
              <a:gs pos="100000">
                <a:schemeClr val="tx1">
                  <a:lumMod val="95000"/>
                  <a:lumOff val="5000"/>
                  <a:alpha val="50000"/>
                </a:schemeClr>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Rectangle 2">
            <a:extLst>
              <a:ext uri="{FF2B5EF4-FFF2-40B4-BE49-F238E27FC236}">
                <a16:creationId xmlns:a16="http://schemas.microsoft.com/office/drawing/2014/main" id="{2D9EC331-4A83-4A42-B257-9DBAFDF2D26B}"/>
              </a:ext>
            </a:extLst>
          </p:cNvPr>
          <p:cNvSpPr/>
          <p:nvPr/>
        </p:nvSpPr>
        <p:spPr>
          <a:xfrm>
            <a:off x="2121297" y="2804453"/>
            <a:ext cx="9537303" cy="738664"/>
          </a:xfrm>
          <a:prstGeom prst="rect">
            <a:avLst/>
          </a:prstGeom>
        </p:spPr>
        <p:txBody>
          <a:bodyPr wrap="square" lIns="0" tIns="0" rIns="0" bIns="0" anchor="ctr">
            <a:spAutoFit/>
          </a:bodyPr>
          <a:lstStyle/>
          <a:p>
            <a:r>
              <a:rPr lang="en-ID" sz="1600">
                <a:solidFill>
                  <a:schemeClr val="bg1"/>
                </a:solidFill>
                <a:latin typeface="Segoe UI Light" panose="020b0502040204020203" pitchFamily="34" charset="0"/>
                <a:cs typeface="Segoe UI" panose="020b0502040204020203" pitchFamily="34" charset="0"/>
              </a:rPr>
              <a:t>Lorem ipsum dolor sit amet, consectetur adipiscing elit, sed do eiusmod tempor incididunt ut labore et dolore magna aliqua. Ut enim ad minim veniam, quis nostrud exercitation ullamco laboris nisi ut aliquip ex ea commodo consequat. </a:t>
            </a:r>
            <a:endParaRPr lang="en-US" sz="1600">
              <a:solidFill>
                <a:schemeClr val="bg1"/>
              </a:solidFill>
              <a:latin typeface="Segoe UI Light" panose="020b0502040204020203" pitchFamily="34" charset="0"/>
              <a:cs typeface="Segoe UI" panose="020b0502040204020203" pitchFamily="34" charset="0"/>
            </a:endParaRPr>
          </a:p>
        </p:txBody>
      </p:sp>
      <p:sp>
        <p:nvSpPr>
          <p:cNvPr id="5" name="Rounded Rectangle 4">
            <a:extLst>
              <a:ext uri="{FF2B5EF4-FFF2-40B4-BE49-F238E27FC236}">
                <a16:creationId xmlns:a16="http://schemas.microsoft.com/office/drawing/2014/main" id="{8426C54C-0C51-7747-B99C-3BC363306A4B}"/>
              </a:ext>
            </a:extLst>
          </p:cNvPr>
          <p:cNvSpPr/>
          <p:nvPr/>
        </p:nvSpPr>
        <p:spPr>
          <a:xfrm>
            <a:off x="533400" y="3753937"/>
            <a:ext cx="11125200" cy="721726"/>
          </a:xfrm>
          <a:prstGeom prst="roundRect">
            <a:avLst>
              <a:gd name="adj" fmla="val 22549"/>
            </a:avLst>
          </a:prstGeom>
          <a:solidFill>
            <a:srgbClr val="00ABF7"/>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42175D5E-48B0-7D40-989D-47C134D6CD8A}"/>
              </a:ext>
            </a:extLst>
          </p:cNvPr>
          <p:cNvSpPr/>
          <p:nvPr/>
        </p:nvSpPr>
        <p:spPr>
          <a:xfrm>
            <a:off x="1343531" y="3868579"/>
            <a:ext cx="1704470" cy="492443"/>
          </a:xfrm>
          <a:prstGeom prst="rect">
            <a:avLst/>
          </a:prstGeom>
        </p:spPr>
        <p:txBody>
          <a:bodyPr wrap="square" lIns="0" tIns="0" rIns="0" bIns="0" anchor="ctr">
            <a:spAutoFit/>
          </a:bodyPr>
          <a:lstStyle/>
          <a:p>
            <a:pPr>
              <a:spcAft>
                <a:spcPts val="600"/>
              </a:spcAft>
            </a:pPr>
            <a:r>
              <a:rPr lang="en-ID" sz="1600" b="1">
                <a:solidFill>
                  <a:schemeClr val="bg1"/>
                </a:solidFill>
                <a:latin typeface="Segoe UI" panose="020b0502040204020203" pitchFamily="34" charset="0"/>
                <a:cs typeface="Segoe UI" panose="020b0502040204020203" pitchFamily="34" charset="0"/>
              </a:rPr>
              <a:t>Lorem Ipsum Dolor Sir Amet</a:t>
            </a:r>
          </a:p>
        </p:txBody>
      </p:sp>
      <p:cxnSp>
        <p:nvCxnSpPr>
          <p:cNvPr id="9" name="Straight Connector 8">
            <a:extLst>
              <a:ext uri="{FF2B5EF4-FFF2-40B4-BE49-F238E27FC236}">
                <a16:creationId xmlns:a16="http://schemas.microsoft.com/office/drawing/2014/main" id="{BEDA5CC0-F157-F244-A476-DC16672E71EC}"/>
              </a:ext>
            </a:extLst>
          </p:cNvPr>
          <p:cNvCxnSpPr/>
          <p:nvPr/>
        </p:nvCxnSpPr>
        <p:spPr>
          <a:xfrm flipH="1">
            <a:off x="3314700" y="3945463"/>
            <a:ext cx="0" cy="2055225"/>
          </a:xfrm>
          <a:prstGeom prst="line">
            <a:avLst/>
          </a:prstGeom>
          <a:ln>
            <a:solidFill>
              <a:schemeClr val="bg1">
                <a:lumMod val="85000"/>
              </a:schemeClr>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B9730FD-35CC-DB4E-9AB6-4DAAE2331DDA}"/>
              </a:ext>
            </a:extLst>
          </p:cNvPr>
          <p:cNvCxnSpPr/>
          <p:nvPr/>
        </p:nvCxnSpPr>
        <p:spPr>
          <a:xfrm flipH="1">
            <a:off x="6096001" y="3945463"/>
            <a:ext cx="0" cy="2055225"/>
          </a:xfrm>
          <a:prstGeom prst="line">
            <a:avLst/>
          </a:prstGeom>
          <a:ln>
            <a:solidFill>
              <a:schemeClr val="bg1">
                <a:lumMod val="85000"/>
              </a:schemeClr>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EF20200-4133-9243-AFFC-28DB093095B7}"/>
              </a:ext>
            </a:extLst>
          </p:cNvPr>
          <p:cNvCxnSpPr/>
          <p:nvPr/>
        </p:nvCxnSpPr>
        <p:spPr>
          <a:xfrm flipH="1">
            <a:off x="8877301" y="3945463"/>
            <a:ext cx="0" cy="2055225"/>
          </a:xfrm>
          <a:prstGeom prst="line">
            <a:avLst/>
          </a:prstGeom>
          <a:ln>
            <a:solidFill>
              <a:schemeClr val="bg1">
                <a:lumMod val="85000"/>
              </a:schemeClr>
            </a:solidFill>
            <a:prstDash val="dash"/>
            <a:headEnd type="ova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4CAC043F-BF74-6A41-87A7-84517BAE7305}"/>
              </a:ext>
            </a:extLst>
          </p:cNvPr>
          <p:cNvSpPr/>
          <p:nvPr/>
        </p:nvSpPr>
        <p:spPr>
          <a:xfrm>
            <a:off x="800101" y="4822326"/>
            <a:ext cx="2247895" cy="1077218"/>
          </a:xfrm>
          <a:prstGeom prst="rect">
            <a:avLst/>
          </a:prstGeom>
        </p:spPr>
        <p:txBody>
          <a:bodyPr wrap="square" lIns="0" tIns="0" rIns="0" bIns="0" anchor="t">
            <a:spAutoFit/>
          </a:bodyPr>
          <a:lstStyle/>
          <a:p>
            <a:r>
              <a:rPr lang="en-ID" sz="1400">
                <a:latin typeface="Segoe UI Light" panose="020b0502040204020203" pitchFamily="34" charset="0"/>
                <a:cs typeface="Segoe UI" panose="020b0502040204020203" pitchFamily="34" charset="0"/>
              </a:rPr>
              <a:t>Lorem ipsum dolor sit amet, consectetur adipiscing elit, sed do eiusmod tempor incididunt ut labore et dolore magna aliqua. </a:t>
            </a:r>
            <a:endParaRPr lang="en-US" sz="1400">
              <a:latin typeface="Segoe UI Light" panose="020b0502040204020203" pitchFamily="34" charset="0"/>
              <a:cs typeface="Segoe UI" panose="020b0502040204020203" pitchFamily="34" charset="0"/>
            </a:endParaRPr>
          </a:p>
        </p:txBody>
      </p:sp>
      <p:sp>
        <p:nvSpPr>
          <p:cNvPr id="16" name="Rectangle 15">
            <a:extLst>
              <a:ext uri="{FF2B5EF4-FFF2-40B4-BE49-F238E27FC236}">
                <a16:creationId xmlns:a16="http://schemas.microsoft.com/office/drawing/2014/main" id="{AF6D250A-3BE6-534D-8900-5A679DA7DF10}"/>
              </a:ext>
            </a:extLst>
          </p:cNvPr>
          <p:cNvSpPr/>
          <p:nvPr/>
        </p:nvSpPr>
        <p:spPr>
          <a:xfrm>
            <a:off x="4124833" y="3868579"/>
            <a:ext cx="1704470" cy="492443"/>
          </a:xfrm>
          <a:prstGeom prst="rect">
            <a:avLst/>
          </a:prstGeom>
        </p:spPr>
        <p:txBody>
          <a:bodyPr wrap="square" lIns="0" tIns="0" rIns="0" bIns="0" anchor="ctr">
            <a:spAutoFit/>
          </a:bodyPr>
          <a:lstStyle/>
          <a:p>
            <a:pPr>
              <a:spcAft>
                <a:spcPts val="600"/>
              </a:spcAft>
            </a:pPr>
            <a:r>
              <a:rPr lang="en-ID" sz="1600" b="1">
                <a:solidFill>
                  <a:schemeClr val="bg1"/>
                </a:solidFill>
                <a:latin typeface="Segoe UI" panose="020b0502040204020203" pitchFamily="34" charset="0"/>
                <a:cs typeface="Segoe UI" panose="020b0502040204020203" pitchFamily="34" charset="0"/>
              </a:rPr>
              <a:t>Lorem Ipsum Dolor Sir Amet</a:t>
            </a:r>
          </a:p>
        </p:txBody>
      </p:sp>
      <p:sp>
        <p:nvSpPr>
          <p:cNvPr id="17" name="Rectangle 16">
            <a:extLst>
              <a:ext uri="{FF2B5EF4-FFF2-40B4-BE49-F238E27FC236}">
                <a16:creationId xmlns:a16="http://schemas.microsoft.com/office/drawing/2014/main" id="{EC63AABA-DA3B-354F-8BC6-59B18BB242CB}"/>
              </a:ext>
            </a:extLst>
          </p:cNvPr>
          <p:cNvSpPr/>
          <p:nvPr/>
        </p:nvSpPr>
        <p:spPr>
          <a:xfrm>
            <a:off x="3581403" y="4822326"/>
            <a:ext cx="2247895" cy="1077218"/>
          </a:xfrm>
          <a:prstGeom prst="rect">
            <a:avLst/>
          </a:prstGeom>
        </p:spPr>
        <p:txBody>
          <a:bodyPr wrap="square" lIns="0" tIns="0" rIns="0" bIns="0" anchor="t">
            <a:spAutoFit/>
          </a:bodyPr>
          <a:lstStyle/>
          <a:p>
            <a:r>
              <a:rPr lang="en-ID" sz="1400">
                <a:latin typeface="Segoe UI Light" panose="020b0502040204020203" pitchFamily="34" charset="0"/>
                <a:cs typeface="Segoe UI" panose="020b0502040204020203" pitchFamily="34" charset="0"/>
              </a:rPr>
              <a:t>Lorem ipsum dolor sit amet, consectetur adipiscing elit, sed do eiusmod tempor incididunt ut labore et dolore magna aliqua. </a:t>
            </a:r>
            <a:endParaRPr lang="en-US" sz="1400">
              <a:latin typeface="Segoe UI Light" panose="020b0502040204020203" pitchFamily="34" charset="0"/>
              <a:cs typeface="Segoe UI" panose="020b0502040204020203" pitchFamily="34" charset="0"/>
            </a:endParaRPr>
          </a:p>
        </p:txBody>
      </p:sp>
      <p:sp>
        <p:nvSpPr>
          <p:cNvPr id="18" name="Rectangle 17">
            <a:extLst>
              <a:ext uri="{FF2B5EF4-FFF2-40B4-BE49-F238E27FC236}">
                <a16:creationId xmlns:a16="http://schemas.microsoft.com/office/drawing/2014/main" id="{08751F22-C0A9-6B4C-A708-16885D4D169A}"/>
              </a:ext>
            </a:extLst>
          </p:cNvPr>
          <p:cNvSpPr/>
          <p:nvPr/>
        </p:nvSpPr>
        <p:spPr>
          <a:xfrm>
            <a:off x="6906133" y="3868579"/>
            <a:ext cx="1704470" cy="492443"/>
          </a:xfrm>
          <a:prstGeom prst="rect">
            <a:avLst/>
          </a:prstGeom>
        </p:spPr>
        <p:txBody>
          <a:bodyPr wrap="square" lIns="0" tIns="0" rIns="0" bIns="0" anchor="ctr">
            <a:spAutoFit/>
          </a:bodyPr>
          <a:lstStyle/>
          <a:p>
            <a:pPr>
              <a:spcAft>
                <a:spcPts val="600"/>
              </a:spcAft>
            </a:pPr>
            <a:r>
              <a:rPr lang="en-ID" sz="1600" b="1">
                <a:solidFill>
                  <a:schemeClr val="bg1"/>
                </a:solidFill>
                <a:latin typeface="Segoe UI" panose="020b0502040204020203" pitchFamily="34" charset="0"/>
                <a:cs typeface="Segoe UI" panose="020b0502040204020203" pitchFamily="34" charset="0"/>
              </a:rPr>
              <a:t>Lorem Ipsum Dolor Sir Amet</a:t>
            </a:r>
          </a:p>
        </p:txBody>
      </p:sp>
      <p:sp>
        <p:nvSpPr>
          <p:cNvPr id="19" name="Rectangle 18">
            <a:extLst>
              <a:ext uri="{FF2B5EF4-FFF2-40B4-BE49-F238E27FC236}">
                <a16:creationId xmlns:a16="http://schemas.microsoft.com/office/drawing/2014/main" id="{AD3A695D-36AA-8940-8943-D86454D3BABD}"/>
              </a:ext>
            </a:extLst>
          </p:cNvPr>
          <p:cNvSpPr/>
          <p:nvPr/>
        </p:nvSpPr>
        <p:spPr>
          <a:xfrm>
            <a:off x="6362703" y="4822326"/>
            <a:ext cx="2247895" cy="1077218"/>
          </a:xfrm>
          <a:prstGeom prst="rect">
            <a:avLst/>
          </a:prstGeom>
        </p:spPr>
        <p:txBody>
          <a:bodyPr wrap="square" lIns="0" tIns="0" rIns="0" bIns="0" anchor="t">
            <a:spAutoFit/>
          </a:bodyPr>
          <a:lstStyle/>
          <a:p>
            <a:r>
              <a:rPr lang="en-ID" sz="1400">
                <a:latin typeface="Segoe UI Light" panose="020b0502040204020203" pitchFamily="34" charset="0"/>
                <a:cs typeface="Segoe UI" panose="020b0502040204020203" pitchFamily="34" charset="0"/>
              </a:rPr>
              <a:t>Lorem ipsum dolor sit amet, consectetur adipiscing elit, sed do eiusmod tempor incididunt ut labore et dolore magna aliqua. </a:t>
            </a:r>
            <a:endParaRPr lang="en-US" sz="1400">
              <a:latin typeface="Segoe UI Light" panose="020b0502040204020203" pitchFamily="34" charset="0"/>
              <a:cs typeface="Segoe UI" panose="020b0502040204020203" pitchFamily="34" charset="0"/>
            </a:endParaRPr>
          </a:p>
        </p:txBody>
      </p:sp>
      <p:sp>
        <p:nvSpPr>
          <p:cNvPr id="20" name="Rectangle 19">
            <a:extLst>
              <a:ext uri="{FF2B5EF4-FFF2-40B4-BE49-F238E27FC236}">
                <a16:creationId xmlns:a16="http://schemas.microsoft.com/office/drawing/2014/main" id="{36AC4B54-6D9E-0E4A-94B2-6D7F17E2DDD4}"/>
              </a:ext>
            </a:extLst>
          </p:cNvPr>
          <p:cNvSpPr/>
          <p:nvPr/>
        </p:nvSpPr>
        <p:spPr>
          <a:xfrm>
            <a:off x="9662395" y="3868579"/>
            <a:ext cx="1729509" cy="492443"/>
          </a:xfrm>
          <a:prstGeom prst="rect">
            <a:avLst/>
          </a:prstGeom>
        </p:spPr>
        <p:txBody>
          <a:bodyPr wrap="square" lIns="0" tIns="0" rIns="0" bIns="0" anchor="ctr">
            <a:spAutoFit/>
          </a:bodyPr>
          <a:lstStyle/>
          <a:p>
            <a:pPr>
              <a:spcAft>
                <a:spcPts val="600"/>
              </a:spcAft>
            </a:pPr>
            <a:r>
              <a:rPr lang="en-ID" sz="1600" b="1">
                <a:solidFill>
                  <a:schemeClr val="bg1"/>
                </a:solidFill>
                <a:latin typeface="Segoe UI" panose="020b0502040204020203" pitchFamily="34" charset="0"/>
                <a:cs typeface="Segoe UI" panose="020b0502040204020203" pitchFamily="34" charset="0"/>
              </a:rPr>
              <a:t>Lorem Ipsum Dolor Sir Amet</a:t>
            </a:r>
          </a:p>
        </p:txBody>
      </p:sp>
      <p:sp>
        <p:nvSpPr>
          <p:cNvPr id="21" name="Rectangle 20">
            <a:extLst>
              <a:ext uri="{FF2B5EF4-FFF2-40B4-BE49-F238E27FC236}">
                <a16:creationId xmlns:a16="http://schemas.microsoft.com/office/drawing/2014/main" id="{55743DFE-0DAB-CB46-9802-B38A6F6769B5}"/>
              </a:ext>
            </a:extLst>
          </p:cNvPr>
          <p:cNvSpPr/>
          <p:nvPr/>
        </p:nvSpPr>
        <p:spPr>
          <a:xfrm>
            <a:off x="9144004" y="4822326"/>
            <a:ext cx="2247895" cy="1077218"/>
          </a:xfrm>
          <a:prstGeom prst="rect">
            <a:avLst/>
          </a:prstGeom>
        </p:spPr>
        <p:txBody>
          <a:bodyPr wrap="square" lIns="0" tIns="0" rIns="0" bIns="0" anchor="t">
            <a:spAutoFit/>
          </a:bodyPr>
          <a:lstStyle/>
          <a:p>
            <a:r>
              <a:rPr lang="en-ID" sz="1400">
                <a:latin typeface="Segoe UI Light" panose="020b0502040204020203" pitchFamily="34" charset="0"/>
                <a:cs typeface="Segoe UI" panose="020b0502040204020203" pitchFamily="34" charset="0"/>
              </a:rPr>
              <a:t>Lorem ipsum dolor sit amet, consectetur adipiscing elit, sed do eiusmod tempor incididunt ut labore et dolore magna aliqua. </a:t>
            </a:r>
            <a:endParaRPr lang="en-US" sz="1400">
              <a:latin typeface="Segoe UI Light" panose="020b0502040204020203" pitchFamily="34" charset="0"/>
              <a:cs typeface="Segoe UI" panose="020b0502040204020203" pitchFamily="34" charset="0"/>
            </a:endParaRPr>
          </a:p>
        </p:txBody>
      </p:sp>
      <p:grpSp>
        <p:nvGrpSpPr>
          <p:cNvPr id="25" name="Group 24">
            <a:extLst>
              <a:ext uri="{FF2B5EF4-FFF2-40B4-BE49-F238E27FC236}">
                <a16:creationId xmlns:a16="http://schemas.microsoft.com/office/drawing/2014/main" id="{F6C5510B-F17E-EE41-93E2-46AE7F2C032B}"/>
              </a:ext>
            </a:extLst>
          </p:cNvPr>
          <p:cNvGrpSpPr/>
          <p:nvPr/>
        </p:nvGrpSpPr>
        <p:grpSpPr>
          <a:xfrm>
            <a:off x="1076832" y="2600971"/>
            <a:ext cx="850405" cy="870369"/>
            <a:chOff x="9175750" y="3617913"/>
            <a:chExt cx="338138" cy="346076"/>
          </a:xfrm>
        </p:grpSpPr>
        <p:sp>
          <p:nvSpPr>
            <p:cNvPr id="26" name="Oval 326">
              <a:extLst>
                <a:ext uri="{FF2B5EF4-FFF2-40B4-BE49-F238E27FC236}">
                  <a16:creationId xmlns:a16="http://schemas.microsoft.com/office/drawing/2014/main" id="{27C4CB8E-6D70-1045-ADBF-6FB9D7EF171B}"/>
                </a:ext>
              </a:extLst>
            </p:cNvPr>
            <p:cNvSpPr>
              <a:spLocks noChangeArrowheads="1"/>
            </p:cNvSpPr>
            <p:nvPr/>
          </p:nvSpPr>
          <p:spPr bwMode="auto">
            <a:xfrm>
              <a:off x="9205913" y="3617913"/>
              <a:ext cx="106363" cy="104775"/>
            </a:xfrm>
            <a:prstGeom prst="ellipse">
              <a:avLst/>
            </a:prstGeom>
            <a:noFill/>
            <a:ln w="25400" cap="flat">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7" name="Freeform 327">
              <a:extLst>
                <a:ext uri="{FF2B5EF4-FFF2-40B4-BE49-F238E27FC236}">
                  <a16:creationId xmlns:a16="http://schemas.microsoft.com/office/drawing/2014/main" id="{D338E003-1400-2140-8A5F-2FAA44BA8BA0}"/>
                </a:ext>
              </a:extLst>
            </p:cNvPr>
            <p:cNvSpPr/>
            <p:nvPr/>
          </p:nvSpPr>
          <p:spPr bwMode="auto">
            <a:xfrm>
              <a:off x="9175750" y="3752851"/>
              <a:ext cx="165100" cy="211138"/>
            </a:xfrm>
            <a:custGeom>
              <a:gdLst>
                <a:gd name="T0" fmla="*/ 44 w 44"/>
                <a:gd name="T1" fmla="*/ 0 h 56"/>
                <a:gd name="T2" fmla="*/ 0 w 44"/>
                <a:gd name="T3" fmla="*/ 0 h 56"/>
                <a:gd name="T4" fmla="*/ 14 w 44"/>
                <a:gd name="T5" fmla="*/ 30 h 56"/>
                <a:gd name="T6" fmla="*/ 14 w 44"/>
                <a:gd name="T7" fmla="*/ 56 h 56"/>
                <a:gd name="T8" fmla="*/ 30 w 44"/>
                <a:gd name="T9" fmla="*/ 56 h 56"/>
                <a:gd name="T10" fmla="*/ 30 w 44"/>
                <a:gd name="T11" fmla="*/ 30 h 56"/>
                <a:gd name="T12" fmla="*/ 44 w 44"/>
                <a:gd name="T13" fmla="*/ 0 h 56"/>
              </a:gdLst>
              <a:cxnLst>
                <a:cxn ang="0">
                  <a:pos x="T0" y="T1"/>
                </a:cxn>
                <a:cxn ang="0">
                  <a:pos x="T2" y="T3"/>
                </a:cxn>
                <a:cxn ang="0">
                  <a:pos x="T4" y="T5"/>
                </a:cxn>
                <a:cxn ang="0">
                  <a:pos x="T6" y="T7"/>
                </a:cxn>
                <a:cxn ang="0">
                  <a:pos x="T8" y="T9"/>
                </a:cxn>
                <a:cxn ang="0">
                  <a:pos x="T10" y="T11"/>
                </a:cxn>
                <a:cxn ang="0">
                  <a:pos x="T12" y="T13"/>
                </a:cxn>
              </a:cxnLst>
              <a:rect l="0" t="0" r="r" b="b"/>
              <a:pathLst>
                <a:path w="44" h="56">
                  <a:moveTo>
                    <a:pt x="44" y="0"/>
                  </a:moveTo>
                  <a:cubicBezTo>
                    <a:pt x="0" y="0"/>
                    <a:pt x="0" y="0"/>
                    <a:pt x="0" y="0"/>
                  </a:cubicBezTo>
                  <a:cubicBezTo>
                    <a:pt x="0" y="16"/>
                    <a:pt x="7" y="26"/>
                    <a:pt x="14" y="30"/>
                  </a:cubicBezTo>
                  <a:cubicBezTo>
                    <a:pt x="14" y="56"/>
                    <a:pt x="14" y="56"/>
                    <a:pt x="14" y="56"/>
                  </a:cubicBezTo>
                  <a:cubicBezTo>
                    <a:pt x="30" y="56"/>
                    <a:pt x="30" y="56"/>
                    <a:pt x="30" y="56"/>
                  </a:cubicBezTo>
                  <a:cubicBezTo>
                    <a:pt x="30" y="30"/>
                    <a:pt x="30" y="30"/>
                    <a:pt x="30" y="30"/>
                  </a:cubicBezTo>
                  <a:cubicBezTo>
                    <a:pt x="37" y="26"/>
                    <a:pt x="44" y="16"/>
                    <a:pt x="44" y="0"/>
                  </a:cubicBezTo>
                  <a:close/>
                </a:path>
              </a:pathLst>
            </a:custGeom>
            <a:noFill/>
            <a:ln w="25400" cap="flat">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8" name="Freeform 328">
              <a:extLst>
                <a:ext uri="{FF2B5EF4-FFF2-40B4-BE49-F238E27FC236}">
                  <a16:creationId xmlns:a16="http://schemas.microsoft.com/office/drawing/2014/main" id="{70821DEC-03D0-7B40-B869-F84AEDDD51A9}"/>
                </a:ext>
              </a:extLst>
            </p:cNvPr>
            <p:cNvSpPr/>
            <p:nvPr/>
          </p:nvSpPr>
          <p:spPr bwMode="auto">
            <a:xfrm>
              <a:off x="9244013" y="3752851"/>
              <a:ext cx="30163" cy="104775"/>
            </a:xfrm>
            <a:custGeom>
              <a:gdLst>
                <a:gd name="T0" fmla="*/ 14 w 19"/>
                <a:gd name="T1" fmla="*/ 0 h 66"/>
                <a:gd name="T2" fmla="*/ 5 w 19"/>
                <a:gd name="T3" fmla="*/ 0 h 66"/>
                <a:gd name="T4" fmla="*/ 0 w 19"/>
                <a:gd name="T5" fmla="*/ 57 h 66"/>
                <a:gd name="T6" fmla="*/ 9 w 19"/>
                <a:gd name="T7" fmla="*/ 66 h 66"/>
                <a:gd name="T8" fmla="*/ 19 w 19"/>
                <a:gd name="T9" fmla="*/ 57 h 66"/>
                <a:gd name="T10" fmla="*/ 14 w 19"/>
                <a:gd name="T11" fmla="*/ 0 h 66"/>
                <a:gd name="T12" fmla="*/ 14 w 19"/>
                <a:gd name="T13" fmla="*/ 0 h 66"/>
              </a:gdLst>
              <a:cxnLst>
                <a:cxn ang="0">
                  <a:pos x="T0" y="T1"/>
                </a:cxn>
                <a:cxn ang="0">
                  <a:pos x="T2" y="T3"/>
                </a:cxn>
                <a:cxn ang="0">
                  <a:pos x="T4" y="T5"/>
                </a:cxn>
                <a:cxn ang="0">
                  <a:pos x="T6" y="T7"/>
                </a:cxn>
                <a:cxn ang="0">
                  <a:pos x="T8" y="T9"/>
                </a:cxn>
                <a:cxn ang="0">
                  <a:pos x="T10" y="T11"/>
                </a:cxn>
                <a:cxn ang="0">
                  <a:pos x="T12" y="T13"/>
                </a:cxn>
              </a:cxnLst>
              <a:rect l="0" t="0" r="r" b="b"/>
              <a:pathLst>
                <a:path w="19" h="66">
                  <a:moveTo>
                    <a:pt x="14" y="0"/>
                  </a:moveTo>
                  <a:lnTo>
                    <a:pt x="5" y="0"/>
                  </a:lnTo>
                  <a:lnTo>
                    <a:pt x="0" y="57"/>
                  </a:lnTo>
                  <a:lnTo>
                    <a:pt x="9" y="66"/>
                  </a:lnTo>
                  <a:lnTo>
                    <a:pt x="19" y="57"/>
                  </a:lnTo>
                  <a:lnTo>
                    <a:pt x="14" y="0"/>
                  </a:lnTo>
                  <a:lnTo>
                    <a:pt x="14" y="0"/>
                  </a:lnTo>
                  <a:close/>
                </a:path>
              </a:pathLst>
            </a:custGeom>
            <a:noFill/>
            <a:ln w="25400" cap="flat">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9" name="Line 329">
              <a:extLst>
                <a:ext uri="{FF2B5EF4-FFF2-40B4-BE49-F238E27FC236}">
                  <a16:creationId xmlns:a16="http://schemas.microsoft.com/office/drawing/2014/main" id="{85948E72-2C8F-D745-8DFD-93D93D67F8C8}"/>
                </a:ext>
              </a:extLst>
            </p:cNvPr>
            <p:cNvSpPr>
              <a:spLocks noChangeShapeType="1"/>
            </p:cNvSpPr>
            <p:nvPr/>
          </p:nvSpPr>
          <p:spPr bwMode="auto">
            <a:xfrm>
              <a:off x="9356725" y="3643313"/>
              <a:ext cx="55563" cy="60325"/>
            </a:xfrm>
            <a:prstGeom prst="line">
              <a:avLst/>
            </a:prstGeom>
            <a:noFill/>
            <a:ln w="25400"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0" name="Line 330">
              <a:extLst>
                <a:ext uri="{FF2B5EF4-FFF2-40B4-BE49-F238E27FC236}">
                  <a16:creationId xmlns:a16="http://schemas.microsoft.com/office/drawing/2014/main" id="{D295E234-3790-714C-8DF7-71E6CA431551}"/>
                </a:ext>
              </a:extLst>
            </p:cNvPr>
            <p:cNvSpPr>
              <a:spLocks noChangeShapeType="1"/>
            </p:cNvSpPr>
            <p:nvPr/>
          </p:nvSpPr>
          <p:spPr bwMode="auto">
            <a:xfrm flipH="1">
              <a:off x="9356725" y="3643313"/>
              <a:ext cx="55563" cy="60325"/>
            </a:xfrm>
            <a:prstGeom prst="line">
              <a:avLst/>
            </a:prstGeom>
            <a:noFill/>
            <a:ln w="25400"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1" name="Oval 331">
              <a:extLst>
                <a:ext uri="{FF2B5EF4-FFF2-40B4-BE49-F238E27FC236}">
                  <a16:creationId xmlns:a16="http://schemas.microsoft.com/office/drawing/2014/main" id="{65DD52A5-C3FE-F549-A008-7DD2C8CC2493}"/>
                </a:ext>
              </a:extLst>
            </p:cNvPr>
            <p:cNvSpPr>
              <a:spLocks noChangeArrowheads="1"/>
            </p:cNvSpPr>
            <p:nvPr/>
          </p:nvSpPr>
          <p:spPr bwMode="auto">
            <a:xfrm>
              <a:off x="9453563" y="3752851"/>
              <a:ext cx="60325" cy="60325"/>
            </a:xfrm>
            <a:prstGeom prst="ellipse">
              <a:avLst/>
            </a:prstGeom>
            <a:noFill/>
            <a:ln w="25400"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2" name="Freeform 332">
              <a:extLst>
                <a:ext uri="{FF2B5EF4-FFF2-40B4-BE49-F238E27FC236}">
                  <a16:creationId xmlns:a16="http://schemas.microsoft.com/office/drawing/2014/main" id="{55E48DC4-584D-6D4E-A12C-6D0C4731821C}"/>
                </a:ext>
              </a:extLst>
            </p:cNvPr>
            <p:cNvSpPr/>
            <p:nvPr/>
          </p:nvSpPr>
          <p:spPr bwMode="auto">
            <a:xfrm>
              <a:off x="9386888" y="3689351"/>
              <a:ext cx="112713" cy="96838"/>
            </a:xfrm>
            <a:custGeom>
              <a:gdLst>
                <a:gd name="T0" fmla="*/ 0 w 30"/>
                <a:gd name="T1" fmla="*/ 26 h 26"/>
                <a:gd name="T2" fmla="*/ 30 w 30"/>
                <a:gd name="T3" fmla="*/ 0 h 26"/>
              </a:gdLst>
              <a:cxnLst>
                <a:cxn ang="0">
                  <a:pos x="T0" y="T1"/>
                </a:cxn>
                <a:cxn ang="0">
                  <a:pos x="T2" y="T3"/>
                </a:cxn>
              </a:cxnLst>
              <a:rect l="0" t="0" r="r" b="b"/>
              <a:pathLst>
                <a:path w="30" h="26">
                  <a:moveTo>
                    <a:pt x="0" y="26"/>
                  </a:moveTo>
                  <a:cubicBezTo>
                    <a:pt x="6" y="14"/>
                    <a:pt x="17" y="4"/>
                    <a:pt x="30" y="0"/>
                  </a:cubicBezTo>
                </a:path>
              </a:pathLst>
            </a:custGeom>
            <a:noFill/>
            <a:ln w="25400"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3" name="Freeform 333">
              <a:extLst>
                <a:ext uri="{FF2B5EF4-FFF2-40B4-BE49-F238E27FC236}">
                  <a16:creationId xmlns:a16="http://schemas.microsoft.com/office/drawing/2014/main" id="{07CC6F4F-79DC-4A41-93E8-30EF50828255}"/>
                </a:ext>
              </a:extLst>
            </p:cNvPr>
            <p:cNvSpPr/>
            <p:nvPr/>
          </p:nvSpPr>
          <p:spPr bwMode="auto">
            <a:xfrm>
              <a:off x="9453563" y="3676651"/>
              <a:ext cx="46038" cy="49213"/>
            </a:xfrm>
            <a:custGeom>
              <a:gdLst>
                <a:gd name="T0" fmla="*/ 0 w 29"/>
                <a:gd name="T1" fmla="*/ 0 h 31"/>
                <a:gd name="T2" fmla="*/ 29 w 29"/>
                <a:gd name="T3" fmla="*/ 8 h 31"/>
                <a:gd name="T4" fmla="*/ 17 w 29"/>
                <a:gd name="T5" fmla="*/ 31 h 31"/>
              </a:gdLst>
              <a:cxnLst>
                <a:cxn ang="0">
                  <a:pos x="T0" y="T1"/>
                </a:cxn>
                <a:cxn ang="0">
                  <a:pos x="T2" y="T3"/>
                </a:cxn>
                <a:cxn ang="0">
                  <a:pos x="T4" y="T5"/>
                </a:cxn>
              </a:cxnLst>
              <a:rect l="0" t="0" r="r" b="b"/>
              <a:pathLst>
                <a:path w="28" h="31">
                  <a:moveTo>
                    <a:pt x="0" y="0"/>
                  </a:moveTo>
                  <a:lnTo>
                    <a:pt x="29" y="8"/>
                  </a:lnTo>
                  <a:lnTo>
                    <a:pt x="17" y="31"/>
                  </a:lnTo>
                </a:path>
              </a:pathLst>
            </a:custGeom>
            <a:noFill/>
            <a:ln w="25400"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34" name="Group 33">
            <a:extLst>
              <a:ext uri="{FF2B5EF4-FFF2-40B4-BE49-F238E27FC236}">
                <a16:creationId xmlns:a16="http://schemas.microsoft.com/office/drawing/2014/main" id="{48A3FFAD-DF7A-2F4D-964C-B53CBB4DC9D7}"/>
              </a:ext>
            </a:extLst>
          </p:cNvPr>
          <p:cNvGrpSpPr/>
          <p:nvPr/>
        </p:nvGrpSpPr>
        <p:grpSpPr>
          <a:xfrm>
            <a:off x="841365" y="3951961"/>
            <a:ext cx="333323" cy="325678"/>
            <a:chOff x="3398838" y="2541588"/>
            <a:chExt cx="346075" cy="338138"/>
          </a:xfrm>
        </p:grpSpPr>
        <p:sp>
          <p:nvSpPr>
            <p:cNvPr id="35" name="Freeform 264">
              <a:extLst>
                <a:ext uri="{FF2B5EF4-FFF2-40B4-BE49-F238E27FC236}">
                  <a16:creationId xmlns:a16="http://schemas.microsoft.com/office/drawing/2014/main" id="{0C362F65-04FB-9B4E-9F72-A78A13AB8126}"/>
                </a:ext>
              </a:extLst>
            </p:cNvPr>
            <p:cNvSpPr/>
            <p:nvPr/>
          </p:nvSpPr>
          <p:spPr bwMode="auto">
            <a:xfrm>
              <a:off x="3398838" y="2563813"/>
              <a:ext cx="285750" cy="315913"/>
            </a:xfrm>
            <a:custGeom>
              <a:gdLst>
                <a:gd name="T0" fmla="*/ 180 w 180"/>
                <a:gd name="T1" fmla="*/ 99 h 199"/>
                <a:gd name="T2" fmla="*/ 180 w 180"/>
                <a:gd name="T3" fmla="*/ 199 h 199"/>
                <a:gd name="T4" fmla="*/ 0 w 180"/>
                <a:gd name="T5" fmla="*/ 199 h 199"/>
                <a:gd name="T6" fmla="*/ 0 w 180"/>
                <a:gd name="T7" fmla="*/ 0 h 199"/>
                <a:gd name="T8" fmla="*/ 118 w 180"/>
                <a:gd name="T9" fmla="*/ 0 h 199"/>
              </a:gdLst>
              <a:cxnLst>
                <a:cxn ang="0">
                  <a:pos x="T0" y="T1"/>
                </a:cxn>
                <a:cxn ang="0">
                  <a:pos x="T2" y="T3"/>
                </a:cxn>
                <a:cxn ang="0">
                  <a:pos x="T4" y="T5"/>
                </a:cxn>
                <a:cxn ang="0">
                  <a:pos x="T6" y="T7"/>
                </a:cxn>
                <a:cxn ang="0">
                  <a:pos x="T8" y="T9"/>
                </a:cxn>
              </a:cxnLst>
              <a:rect l="0" t="0" r="r" b="b"/>
              <a:pathLst>
                <a:path w="180" h="199">
                  <a:moveTo>
                    <a:pt x="180" y="99"/>
                  </a:moveTo>
                  <a:lnTo>
                    <a:pt x="180" y="199"/>
                  </a:lnTo>
                  <a:lnTo>
                    <a:pt x="0" y="199"/>
                  </a:lnTo>
                  <a:lnTo>
                    <a:pt x="0" y="0"/>
                  </a:lnTo>
                  <a:lnTo>
                    <a:pt x="118" y="0"/>
                  </a:lnTo>
                </a:path>
              </a:pathLst>
            </a:custGeom>
            <a:noFill/>
            <a:ln w="12700"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6" name="Line 265">
              <a:extLst>
                <a:ext uri="{FF2B5EF4-FFF2-40B4-BE49-F238E27FC236}">
                  <a16:creationId xmlns:a16="http://schemas.microsoft.com/office/drawing/2014/main" id="{C998AFFA-2126-004D-A0FC-891805D72DAE}"/>
                </a:ext>
              </a:extLst>
            </p:cNvPr>
            <p:cNvSpPr>
              <a:spLocks noChangeShapeType="1"/>
            </p:cNvSpPr>
            <p:nvPr/>
          </p:nvSpPr>
          <p:spPr bwMode="auto">
            <a:xfrm flipV="1">
              <a:off x="3508375" y="2643188"/>
              <a:ext cx="134938" cy="134938"/>
            </a:xfrm>
            <a:prstGeom prst="line">
              <a:avLst/>
            </a:prstGeom>
            <a:noFill/>
            <a:ln w="12700"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7" name="Freeform 266">
              <a:extLst>
                <a:ext uri="{FF2B5EF4-FFF2-40B4-BE49-F238E27FC236}">
                  <a16:creationId xmlns:a16="http://schemas.microsoft.com/office/drawing/2014/main" id="{281AD8F4-D62F-174C-97DC-EEEC52F4D484}"/>
                </a:ext>
              </a:extLst>
            </p:cNvPr>
            <p:cNvSpPr/>
            <p:nvPr/>
          </p:nvSpPr>
          <p:spPr bwMode="auto">
            <a:xfrm>
              <a:off x="3511550" y="2541588"/>
              <a:ext cx="233363" cy="198438"/>
            </a:xfrm>
            <a:custGeom>
              <a:gdLst>
                <a:gd name="T0" fmla="*/ 26 w 62"/>
                <a:gd name="T1" fmla="*/ 12 h 53"/>
                <a:gd name="T2" fmla="*/ 14 w 62"/>
                <a:gd name="T3" fmla="*/ 48 h 53"/>
                <a:gd name="T4" fmla="*/ 43 w 62"/>
                <a:gd name="T5" fmla="*/ 39 h 53"/>
                <a:gd name="T6" fmla="*/ 62 w 62"/>
                <a:gd name="T7" fmla="*/ 0 h 53"/>
                <a:gd name="T8" fmla="*/ 37 w 62"/>
                <a:gd name="T9" fmla="*/ 7 h 53"/>
                <a:gd name="T10" fmla="*/ 26 w 62"/>
                <a:gd name="T11" fmla="*/ 21 h 53"/>
                <a:gd name="T12" fmla="*/ 26 w 62"/>
                <a:gd name="T13" fmla="*/ 12 h 53"/>
              </a:gdLst>
              <a:cxnLst>
                <a:cxn ang="0">
                  <a:pos x="T0" y="T1"/>
                </a:cxn>
                <a:cxn ang="0">
                  <a:pos x="T2" y="T3"/>
                </a:cxn>
                <a:cxn ang="0">
                  <a:pos x="T4" y="T5"/>
                </a:cxn>
                <a:cxn ang="0">
                  <a:pos x="T6" y="T7"/>
                </a:cxn>
                <a:cxn ang="0">
                  <a:pos x="T8" y="T9"/>
                </a:cxn>
                <a:cxn ang="0">
                  <a:pos x="T10" y="T11"/>
                </a:cxn>
                <a:cxn ang="0">
                  <a:pos x="T12" y="T13"/>
                </a:cxn>
              </a:cxnLst>
              <a:rect l="0" t="0" r="r" b="b"/>
              <a:pathLst>
                <a:path w="62" h="52">
                  <a:moveTo>
                    <a:pt x="26" y="12"/>
                  </a:moveTo>
                  <a:cubicBezTo>
                    <a:pt x="22" y="13"/>
                    <a:pt x="0" y="34"/>
                    <a:pt x="14" y="48"/>
                  </a:cubicBezTo>
                  <a:cubicBezTo>
                    <a:pt x="19" y="53"/>
                    <a:pt x="30" y="52"/>
                    <a:pt x="43" y="39"/>
                  </a:cubicBezTo>
                  <a:cubicBezTo>
                    <a:pt x="56" y="26"/>
                    <a:pt x="62" y="0"/>
                    <a:pt x="62" y="0"/>
                  </a:cubicBezTo>
                  <a:cubicBezTo>
                    <a:pt x="62" y="0"/>
                    <a:pt x="49" y="2"/>
                    <a:pt x="37" y="7"/>
                  </a:cubicBezTo>
                  <a:cubicBezTo>
                    <a:pt x="37" y="7"/>
                    <a:pt x="34" y="21"/>
                    <a:pt x="26" y="21"/>
                  </a:cubicBezTo>
                  <a:cubicBezTo>
                    <a:pt x="26" y="18"/>
                    <a:pt x="26" y="12"/>
                    <a:pt x="26" y="12"/>
                  </a:cubicBezTo>
                  <a:close/>
                </a:path>
              </a:pathLst>
            </a:custGeom>
            <a:noFill/>
            <a:ln w="12700"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38" name="Group 37">
            <a:extLst>
              <a:ext uri="{FF2B5EF4-FFF2-40B4-BE49-F238E27FC236}">
                <a16:creationId xmlns:a16="http://schemas.microsoft.com/office/drawing/2014/main" id="{589C6423-CC34-D541-9C6F-1A02F0626388}"/>
              </a:ext>
            </a:extLst>
          </p:cNvPr>
          <p:cNvGrpSpPr/>
          <p:nvPr/>
        </p:nvGrpSpPr>
        <p:grpSpPr>
          <a:xfrm>
            <a:off x="3581403" y="3940175"/>
            <a:ext cx="346075" cy="349250"/>
            <a:chOff x="4137026" y="3617913"/>
            <a:chExt cx="346075" cy="349250"/>
          </a:xfrm>
        </p:grpSpPr>
        <p:sp>
          <p:nvSpPr>
            <p:cNvPr id="39" name="Rectangle 38">
              <a:extLst>
                <a:ext uri="{FF2B5EF4-FFF2-40B4-BE49-F238E27FC236}">
                  <a16:creationId xmlns:a16="http://schemas.microsoft.com/office/drawing/2014/main" id="{7DBC64A2-70F4-EE4F-8E0F-053B09D60963}"/>
                </a:ext>
              </a:extLst>
            </p:cNvPr>
            <p:cNvSpPr>
              <a:spLocks noChangeArrowheads="1"/>
            </p:cNvSpPr>
            <p:nvPr/>
          </p:nvSpPr>
          <p:spPr bwMode="auto">
            <a:xfrm>
              <a:off x="4137026" y="3617913"/>
              <a:ext cx="346075" cy="349250"/>
            </a:xfrm>
            <a:prstGeom prst="rect">
              <a:avLst/>
            </a:prstGeom>
            <a:noFill/>
            <a:ln w="12700" cap="flat">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0" name="Freeform 39">
              <a:extLst>
                <a:ext uri="{FF2B5EF4-FFF2-40B4-BE49-F238E27FC236}">
                  <a16:creationId xmlns:a16="http://schemas.microsoft.com/office/drawing/2014/main" id="{FFF015EF-1C11-2848-9AE7-92B08E77E2AD}"/>
                </a:ext>
              </a:extLst>
            </p:cNvPr>
            <p:cNvSpPr/>
            <p:nvPr/>
          </p:nvSpPr>
          <p:spPr bwMode="auto">
            <a:xfrm>
              <a:off x="4183063" y="3679825"/>
              <a:ext cx="104775" cy="74613"/>
            </a:xfrm>
            <a:custGeom>
              <a:gdLst>
                <a:gd name="T0" fmla="*/ 0 w 66"/>
                <a:gd name="T1" fmla="*/ 28 h 47"/>
                <a:gd name="T2" fmla="*/ 19 w 66"/>
                <a:gd name="T3" fmla="*/ 47 h 47"/>
                <a:gd name="T4" fmla="*/ 66 w 66"/>
                <a:gd name="T5" fmla="*/ 0 h 47"/>
              </a:gdLst>
              <a:cxnLst>
                <a:cxn ang="0">
                  <a:pos x="T0" y="T1"/>
                </a:cxn>
                <a:cxn ang="0">
                  <a:pos x="T2" y="T3"/>
                </a:cxn>
                <a:cxn ang="0">
                  <a:pos x="T4" y="T5"/>
                </a:cxn>
              </a:cxnLst>
              <a:rect l="0" t="0" r="r" b="b"/>
              <a:pathLst>
                <a:path w="66" h="47">
                  <a:moveTo>
                    <a:pt x="0" y="28"/>
                  </a:moveTo>
                  <a:lnTo>
                    <a:pt x="19" y="47"/>
                  </a:lnTo>
                  <a:lnTo>
                    <a:pt x="66" y="0"/>
                  </a:lnTo>
                </a:path>
              </a:pathLst>
            </a:custGeom>
            <a:noFill/>
            <a:ln w="12700"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1" name="Freeform 40">
              <a:extLst>
                <a:ext uri="{FF2B5EF4-FFF2-40B4-BE49-F238E27FC236}">
                  <a16:creationId xmlns:a16="http://schemas.microsoft.com/office/drawing/2014/main" id="{7DC7BF83-B6C2-0D41-9A0E-A7B711BAF05C}"/>
                </a:ext>
              </a:extLst>
            </p:cNvPr>
            <p:cNvSpPr/>
            <p:nvPr/>
          </p:nvSpPr>
          <p:spPr bwMode="auto">
            <a:xfrm>
              <a:off x="4183063" y="3816350"/>
              <a:ext cx="104775" cy="74613"/>
            </a:xfrm>
            <a:custGeom>
              <a:gdLst>
                <a:gd name="T0" fmla="*/ 0 w 66"/>
                <a:gd name="T1" fmla="*/ 28 h 47"/>
                <a:gd name="T2" fmla="*/ 19 w 66"/>
                <a:gd name="T3" fmla="*/ 47 h 47"/>
                <a:gd name="T4" fmla="*/ 66 w 66"/>
                <a:gd name="T5" fmla="*/ 0 h 47"/>
              </a:gdLst>
              <a:cxnLst>
                <a:cxn ang="0">
                  <a:pos x="T0" y="T1"/>
                </a:cxn>
                <a:cxn ang="0">
                  <a:pos x="T2" y="T3"/>
                </a:cxn>
                <a:cxn ang="0">
                  <a:pos x="T4" y="T5"/>
                </a:cxn>
              </a:cxnLst>
              <a:rect l="0" t="0" r="r" b="b"/>
              <a:pathLst>
                <a:path w="66" h="47">
                  <a:moveTo>
                    <a:pt x="0" y="28"/>
                  </a:moveTo>
                  <a:lnTo>
                    <a:pt x="19" y="47"/>
                  </a:lnTo>
                  <a:lnTo>
                    <a:pt x="66" y="0"/>
                  </a:lnTo>
                </a:path>
              </a:pathLst>
            </a:custGeom>
            <a:noFill/>
            <a:ln w="12700"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2" name="Line 34">
              <a:extLst>
                <a:ext uri="{FF2B5EF4-FFF2-40B4-BE49-F238E27FC236}">
                  <a16:creationId xmlns:a16="http://schemas.microsoft.com/office/drawing/2014/main" id="{B95B41E3-5082-8646-82D4-CDC159209C38}"/>
                </a:ext>
              </a:extLst>
            </p:cNvPr>
            <p:cNvSpPr>
              <a:spLocks noChangeShapeType="1"/>
            </p:cNvSpPr>
            <p:nvPr/>
          </p:nvSpPr>
          <p:spPr bwMode="auto">
            <a:xfrm>
              <a:off x="4318001" y="3740150"/>
              <a:ext cx="120650" cy="0"/>
            </a:xfrm>
            <a:prstGeom prst="line">
              <a:avLst/>
            </a:prstGeom>
            <a:noFill/>
            <a:ln w="12700"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3" name="Line 35">
              <a:extLst>
                <a:ext uri="{FF2B5EF4-FFF2-40B4-BE49-F238E27FC236}">
                  <a16:creationId xmlns:a16="http://schemas.microsoft.com/office/drawing/2014/main" id="{36E74B79-7B81-2E4C-9D57-6A5A7C07018B}"/>
                </a:ext>
              </a:extLst>
            </p:cNvPr>
            <p:cNvSpPr>
              <a:spLocks noChangeShapeType="1"/>
            </p:cNvSpPr>
            <p:nvPr/>
          </p:nvSpPr>
          <p:spPr bwMode="auto">
            <a:xfrm>
              <a:off x="4318001" y="3876675"/>
              <a:ext cx="120650" cy="0"/>
            </a:xfrm>
            <a:prstGeom prst="line">
              <a:avLst/>
            </a:prstGeom>
            <a:noFill/>
            <a:ln w="12700"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44" name="Group 43">
            <a:extLst>
              <a:ext uri="{FF2B5EF4-FFF2-40B4-BE49-F238E27FC236}">
                <a16:creationId xmlns:a16="http://schemas.microsoft.com/office/drawing/2014/main" id="{79FA98EA-4422-B444-AB28-2A314C37D4AC}"/>
              </a:ext>
            </a:extLst>
          </p:cNvPr>
          <p:cNvGrpSpPr/>
          <p:nvPr/>
        </p:nvGrpSpPr>
        <p:grpSpPr>
          <a:xfrm>
            <a:off x="6364289" y="3956844"/>
            <a:ext cx="344488" cy="315913"/>
            <a:chOff x="7005638" y="2909888"/>
            <a:chExt cx="344488" cy="315913"/>
          </a:xfrm>
        </p:grpSpPr>
        <p:sp>
          <p:nvSpPr>
            <p:cNvPr id="45" name="Oval 302">
              <a:extLst>
                <a:ext uri="{FF2B5EF4-FFF2-40B4-BE49-F238E27FC236}">
                  <a16:creationId xmlns:a16="http://schemas.microsoft.com/office/drawing/2014/main" id="{B11FAE61-6FA7-2946-91AE-C8E26DF1B7E8}"/>
                </a:ext>
              </a:extLst>
            </p:cNvPr>
            <p:cNvSpPr>
              <a:spLocks noChangeArrowheads="1"/>
            </p:cNvSpPr>
            <p:nvPr/>
          </p:nvSpPr>
          <p:spPr bwMode="auto">
            <a:xfrm>
              <a:off x="7140575" y="2909888"/>
              <a:ext cx="74613" cy="76200"/>
            </a:xfrm>
            <a:prstGeom prst="ellipse">
              <a:avLst/>
            </a:prstGeom>
            <a:noFill/>
            <a:ln w="12700" cap="flat">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6" name="Oval 303">
              <a:extLst>
                <a:ext uri="{FF2B5EF4-FFF2-40B4-BE49-F238E27FC236}">
                  <a16:creationId xmlns:a16="http://schemas.microsoft.com/office/drawing/2014/main" id="{6A9818D6-70EA-584B-8B88-7DBAAC3F3DC4}"/>
                </a:ext>
              </a:extLst>
            </p:cNvPr>
            <p:cNvSpPr>
              <a:spLocks noChangeArrowheads="1"/>
            </p:cNvSpPr>
            <p:nvPr/>
          </p:nvSpPr>
          <p:spPr bwMode="auto">
            <a:xfrm>
              <a:off x="7261225" y="2940051"/>
              <a:ext cx="44450" cy="46038"/>
            </a:xfrm>
            <a:prstGeom prst="ellipse">
              <a:avLst/>
            </a:prstGeom>
            <a:noFill/>
            <a:ln w="12700" cap="flat">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7" name="Oval 304">
              <a:extLst>
                <a:ext uri="{FF2B5EF4-FFF2-40B4-BE49-F238E27FC236}">
                  <a16:creationId xmlns:a16="http://schemas.microsoft.com/office/drawing/2014/main" id="{BB326A23-6AB9-F04B-A1DD-F30C3EC96007}"/>
                </a:ext>
              </a:extLst>
            </p:cNvPr>
            <p:cNvSpPr>
              <a:spLocks noChangeArrowheads="1"/>
            </p:cNvSpPr>
            <p:nvPr/>
          </p:nvSpPr>
          <p:spPr bwMode="auto">
            <a:xfrm>
              <a:off x="7050088" y="2940051"/>
              <a:ext cx="44450" cy="46038"/>
            </a:xfrm>
            <a:prstGeom prst="ellipse">
              <a:avLst/>
            </a:prstGeom>
            <a:noFill/>
            <a:ln w="12700" cap="flat">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8" name="Freeform 305">
              <a:extLst>
                <a:ext uri="{FF2B5EF4-FFF2-40B4-BE49-F238E27FC236}">
                  <a16:creationId xmlns:a16="http://schemas.microsoft.com/office/drawing/2014/main" id="{476F6DB6-DC2C-8C44-920F-A18844A3CAEF}"/>
                </a:ext>
              </a:extLst>
            </p:cNvPr>
            <p:cNvSpPr/>
            <p:nvPr/>
          </p:nvSpPr>
          <p:spPr bwMode="auto">
            <a:xfrm>
              <a:off x="7005638" y="3170238"/>
              <a:ext cx="344488" cy="55563"/>
            </a:xfrm>
            <a:custGeom>
              <a:gdLst>
                <a:gd name="T0" fmla="*/ 66 w 92"/>
                <a:gd name="T1" fmla="*/ 0 h 15"/>
                <a:gd name="T2" fmla="*/ 92 w 92"/>
                <a:gd name="T3" fmla="*/ 7 h 15"/>
                <a:gd name="T4" fmla="*/ 46 w 92"/>
                <a:gd name="T5" fmla="*/ 15 h 15"/>
                <a:gd name="T6" fmla="*/ 0 w 92"/>
                <a:gd name="T7" fmla="*/ 7 h 15"/>
                <a:gd name="T8" fmla="*/ 26 w 92"/>
                <a:gd name="T9" fmla="*/ 0 h 15"/>
              </a:gdLst>
              <a:cxnLst>
                <a:cxn ang="0">
                  <a:pos x="T0" y="T1"/>
                </a:cxn>
                <a:cxn ang="0">
                  <a:pos x="T2" y="T3"/>
                </a:cxn>
                <a:cxn ang="0">
                  <a:pos x="T4" y="T5"/>
                </a:cxn>
                <a:cxn ang="0">
                  <a:pos x="T6" y="T7"/>
                </a:cxn>
                <a:cxn ang="0">
                  <a:pos x="T8" y="T9"/>
                </a:cxn>
              </a:cxnLst>
              <a:rect l="0" t="0" r="r" b="b"/>
              <a:pathLst>
                <a:path w="92" h="15">
                  <a:moveTo>
                    <a:pt x="66" y="0"/>
                  </a:moveTo>
                  <a:cubicBezTo>
                    <a:pt x="81" y="1"/>
                    <a:pt x="92" y="4"/>
                    <a:pt x="92" y="7"/>
                  </a:cubicBezTo>
                  <a:cubicBezTo>
                    <a:pt x="92" y="11"/>
                    <a:pt x="71" y="15"/>
                    <a:pt x="46" y="15"/>
                  </a:cubicBezTo>
                  <a:cubicBezTo>
                    <a:pt x="21" y="15"/>
                    <a:pt x="0" y="11"/>
                    <a:pt x="0" y="7"/>
                  </a:cubicBezTo>
                  <a:cubicBezTo>
                    <a:pt x="0" y="4"/>
                    <a:pt x="11" y="1"/>
                    <a:pt x="26" y="0"/>
                  </a:cubicBezTo>
                </a:path>
              </a:pathLst>
            </a:custGeom>
            <a:noFill/>
            <a:ln w="12700"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9" name="Freeform 306">
              <a:extLst>
                <a:ext uri="{FF2B5EF4-FFF2-40B4-BE49-F238E27FC236}">
                  <a16:creationId xmlns:a16="http://schemas.microsoft.com/office/drawing/2014/main" id="{E3E2D744-0BD8-E242-8180-A70277127ADC}"/>
                </a:ext>
              </a:extLst>
            </p:cNvPr>
            <p:cNvSpPr/>
            <p:nvPr/>
          </p:nvSpPr>
          <p:spPr bwMode="auto">
            <a:xfrm>
              <a:off x="7140575" y="3014663"/>
              <a:ext cx="74613" cy="136525"/>
            </a:xfrm>
            <a:custGeom>
              <a:gdLst>
                <a:gd name="T0" fmla="*/ 20 w 20"/>
                <a:gd name="T1" fmla="*/ 36 h 36"/>
                <a:gd name="T2" fmla="*/ 0 w 20"/>
                <a:gd name="T3" fmla="*/ 36 h 36"/>
                <a:gd name="T4" fmla="*/ 0 w 20"/>
                <a:gd name="T5" fmla="*/ 10 h 36"/>
                <a:gd name="T6" fmla="*/ 10 w 20"/>
                <a:gd name="T7" fmla="*/ 0 h 36"/>
                <a:gd name="T8" fmla="*/ 20 w 20"/>
                <a:gd name="T9" fmla="*/ 10 h 36"/>
                <a:gd name="T10" fmla="*/ 20 w 20"/>
                <a:gd name="T11" fmla="*/ 36 h 36"/>
              </a:gdLst>
              <a:cxnLst>
                <a:cxn ang="0">
                  <a:pos x="T0" y="T1"/>
                </a:cxn>
                <a:cxn ang="0">
                  <a:pos x="T2" y="T3"/>
                </a:cxn>
                <a:cxn ang="0">
                  <a:pos x="T4" y="T5"/>
                </a:cxn>
                <a:cxn ang="0">
                  <a:pos x="T6" y="T7"/>
                </a:cxn>
                <a:cxn ang="0">
                  <a:pos x="T8" y="T9"/>
                </a:cxn>
                <a:cxn ang="0">
                  <a:pos x="T10" y="T11"/>
                </a:cxn>
              </a:cxnLst>
              <a:rect l="0" t="0" r="r" b="b"/>
              <a:pathLst>
                <a:path w="20" h="36">
                  <a:moveTo>
                    <a:pt x="20" y="36"/>
                  </a:moveTo>
                  <a:cubicBezTo>
                    <a:pt x="0" y="36"/>
                    <a:pt x="0" y="36"/>
                    <a:pt x="0" y="36"/>
                  </a:cubicBezTo>
                  <a:cubicBezTo>
                    <a:pt x="0" y="10"/>
                    <a:pt x="0" y="10"/>
                    <a:pt x="0" y="10"/>
                  </a:cubicBezTo>
                  <a:cubicBezTo>
                    <a:pt x="0" y="4"/>
                    <a:pt x="4" y="0"/>
                    <a:pt x="10" y="0"/>
                  </a:cubicBezTo>
                  <a:cubicBezTo>
                    <a:pt x="16" y="0"/>
                    <a:pt x="20" y="4"/>
                    <a:pt x="20" y="10"/>
                  </a:cubicBezTo>
                  <a:lnTo>
                    <a:pt x="20" y="36"/>
                  </a:lnTo>
                  <a:close/>
                </a:path>
              </a:pathLst>
            </a:custGeom>
            <a:noFill/>
            <a:ln w="12700" cap="flat">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0" name="Freeform 307">
              <a:extLst>
                <a:ext uri="{FF2B5EF4-FFF2-40B4-BE49-F238E27FC236}">
                  <a16:creationId xmlns:a16="http://schemas.microsoft.com/office/drawing/2014/main" id="{BCFDB6E7-8927-1D45-925C-F6DCBDC043C7}"/>
                </a:ext>
              </a:extLst>
            </p:cNvPr>
            <p:cNvSpPr/>
            <p:nvPr/>
          </p:nvSpPr>
          <p:spPr bwMode="auto">
            <a:xfrm>
              <a:off x="7261225" y="3014663"/>
              <a:ext cx="44450" cy="106363"/>
            </a:xfrm>
            <a:custGeom>
              <a:gdLst>
                <a:gd name="T0" fmla="*/ 12 w 12"/>
                <a:gd name="T1" fmla="*/ 28 h 28"/>
                <a:gd name="T2" fmla="*/ 0 w 12"/>
                <a:gd name="T3" fmla="*/ 28 h 28"/>
                <a:gd name="T4" fmla="*/ 0 w 12"/>
                <a:gd name="T5" fmla="*/ 6 h 28"/>
                <a:gd name="T6" fmla="*/ 6 w 12"/>
                <a:gd name="T7" fmla="*/ 0 h 28"/>
                <a:gd name="T8" fmla="*/ 12 w 12"/>
                <a:gd name="T9" fmla="*/ 6 h 28"/>
                <a:gd name="T10" fmla="*/ 12 w 12"/>
                <a:gd name="T11" fmla="*/ 28 h 28"/>
              </a:gdLst>
              <a:cxnLst>
                <a:cxn ang="0">
                  <a:pos x="T0" y="T1"/>
                </a:cxn>
                <a:cxn ang="0">
                  <a:pos x="T2" y="T3"/>
                </a:cxn>
                <a:cxn ang="0">
                  <a:pos x="T4" y="T5"/>
                </a:cxn>
                <a:cxn ang="0">
                  <a:pos x="T6" y="T7"/>
                </a:cxn>
                <a:cxn ang="0">
                  <a:pos x="T8" y="T9"/>
                </a:cxn>
                <a:cxn ang="0">
                  <a:pos x="T10" y="T11"/>
                </a:cxn>
              </a:cxnLst>
              <a:rect l="0" t="0" r="r" b="b"/>
              <a:pathLst>
                <a:path w="12" h="28">
                  <a:moveTo>
                    <a:pt x="12" y="28"/>
                  </a:moveTo>
                  <a:cubicBezTo>
                    <a:pt x="0" y="28"/>
                    <a:pt x="0" y="28"/>
                    <a:pt x="0" y="28"/>
                  </a:cubicBezTo>
                  <a:cubicBezTo>
                    <a:pt x="0" y="6"/>
                    <a:pt x="0" y="6"/>
                    <a:pt x="0" y="6"/>
                  </a:cubicBezTo>
                  <a:cubicBezTo>
                    <a:pt x="0" y="3"/>
                    <a:pt x="3" y="0"/>
                    <a:pt x="6" y="0"/>
                  </a:cubicBezTo>
                  <a:cubicBezTo>
                    <a:pt x="9" y="0"/>
                    <a:pt x="12" y="3"/>
                    <a:pt x="12" y="6"/>
                  </a:cubicBezTo>
                  <a:lnTo>
                    <a:pt x="12" y="28"/>
                  </a:lnTo>
                  <a:close/>
                </a:path>
              </a:pathLst>
            </a:custGeom>
            <a:noFill/>
            <a:ln w="12700" cap="flat">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1" name="Freeform 308">
              <a:extLst>
                <a:ext uri="{FF2B5EF4-FFF2-40B4-BE49-F238E27FC236}">
                  <a16:creationId xmlns:a16="http://schemas.microsoft.com/office/drawing/2014/main" id="{B9FC52AF-91B6-C447-811E-5E9EA58BA26B}"/>
                </a:ext>
              </a:extLst>
            </p:cNvPr>
            <p:cNvSpPr/>
            <p:nvPr/>
          </p:nvSpPr>
          <p:spPr bwMode="auto">
            <a:xfrm>
              <a:off x="7050088" y="3014663"/>
              <a:ext cx="44450" cy="106363"/>
            </a:xfrm>
            <a:custGeom>
              <a:gdLst>
                <a:gd name="T0" fmla="*/ 12 w 12"/>
                <a:gd name="T1" fmla="*/ 28 h 28"/>
                <a:gd name="T2" fmla="*/ 0 w 12"/>
                <a:gd name="T3" fmla="*/ 28 h 28"/>
                <a:gd name="T4" fmla="*/ 0 w 12"/>
                <a:gd name="T5" fmla="*/ 6 h 28"/>
                <a:gd name="T6" fmla="*/ 6 w 12"/>
                <a:gd name="T7" fmla="*/ 0 h 28"/>
                <a:gd name="T8" fmla="*/ 12 w 12"/>
                <a:gd name="T9" fmla="*/ 6 h 28"/>
                <a:gd name="T10" fmla="*/ 12 w 12"/>
                <a:gd name="T11" fmla="*/ 28 h 28"/>
              </a:gdLst>
              <a:cxnLst>
                <a:cxn ang="0">
                  <a:pos x="T0" y="T1"/>
                </a:cxn>
                <a:cxn ang="0">
                  <a:pos x="T2" y="T3"/>
                </a:cxn>
                <a:cxn ang="0">
                  <a:pos x="T4" y="T5"/>
                </a:cxn>
                <a:cxn ang="0">
                  <a:pos x="T6" y="T7"/>
                </a:cxn>
                <a:cxn ang="0">
                  <a:pos x="T8" y="T9"/>
                </a:cxn>
                <a:cxn ang="0">
                  <a:pos x="T10" y="T11"/>
                </a:cxn>
              </a:cxnLst>
              <a:rect l="0" t="0" r="r" b="b"/>
              <a:pathLst>
                <a:path w="12" h="28">
                  <a:moveTo>
                    <a:pt x="12" y="28"/>
                  </a:moveTo>
                  <a:cubicBezTo>
                    <a:pt x="0" y="28"/>
                    <a:pt x="0" y="28"/>
                    <a:pt x="0" y="28"/>
                  </a:cubicBezTo>
                  <a:cubicBezTo>
                    <a:pt x="0" y="6"/>
                    <a:pt x="0" y="6"/>
                    <a:pt x="0" y="6"/>
                  </a:cubicBezTo>
                  <a:cubicBezTo>
                    <a:pt x="0" y="3"/>
                    <a:pt x="3" y="0"/>
                    <a:pt x="6" y="0"/>
                  </a:cubicBezTo>
                  <a:cubicBezTo>
                    <a:pt x="9" y="0"/>
                    <a:pt x="12" y="3"/>
                    <a:pt x="12" y="6"/>
                  </a:cubicBezTo>
                  <a:lnTo>
                    <a:pt x="12" y="28"/>
                  </a:lnTo>
                  <a:close/>
                </a:path>
              </a:pathLst>
            </a:custGeom>
            <a:noFill/>
            <a:ln w="12700" cap="flat">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52" name="Group 51">
            <a:extLst>
              <a:ext uri="{FF2B5EF4-FFF2-40B4-BE49-F238E27FC236}">
                <a16:creationId xmlns:a16="http://schemas.microsoft.com/office/drawing/2014/main" id="{CFBC29D6-2F4F-DE46-BE23-169FC1D33F0F}"/>
              </a:ext>
            </a:extLst>
          </p:cNvPr>
          <p:cNvGrpSpPr/>
          <p:nvPr/>
        </p:nvGrpSpPr>
        <p:grpSpPr>
          <a:xfrm>
            <a:off x="9140947" y="3958067"/>
            <a:ext cx="304677" cy="313466"/>
            <a:chOff x="3052763" y="3251201"/>
            <a:chExt cx="330200" cy="339725"/>
          </a:xfrm>
        </p:grpSpPr>
        <p:sp>
          <p:nvSpPr>
            <p:cNvPr id="53" name="Freeform 52">
              <a:extLst>
                <a:ext uri="{FF2B5EF4-FFF2-40B4-BE49-F238E27FC236}">
                  <a16:creationId xmlns:a16="http://schemas.microsoft.com/office/drawing/2014/main" id="{4DE10F7F-733A-C642-9A8B-7B3F3D678067}"/>
                </a:ext>
              </a:extLst>
            </p:cNvPr>
            <p:cNvSpPr/>
            <p:nvPr/>
          </p:nvSpPr>
          <p:spPr bwMode="auto">
            <a:xfrm>
              <a:off x="3128963" y="3251201"/>
              <a:ext cx="254000" cy="263525"/>
            </a:xfrm>
            <a:custGeom>
              <a:gdLst>
                <a:gd name="T0" fmla="*/ 0 w 68"/>
                <a:gd name="T1" fmla="*/ 54 h 68"/>
                <a:gd name="T2" fmla="*/ 46 w 68"/>
                <a:gd name="T3" fmla="*/ 7 h 68"/>
                <a:gd name="T4" fmla="*/ 68 w 68"/>
                <a:gd name="T5" fmla="*/ 0 h 68"/>
                <a:gd name="T6" fmla="*/ 61 w 68"/>
                <a:gd name="T7" fmla="*/ 21 h 68"/>
                <a:gd name="T8" fmla="*/ 14 w 68"/>
                <a:gd name="T9" fmla="*/ 68 h 68"/>
                <a:gd name="T10" fmla="*/ 0 w 68"/>
                <a:gd name="T11" fmla="*/ 54 h 68"/>
              </a:gdLst>
              <a:cxnLst>
                <a:cxn ang="0">
                  <a:pos x="T0" y="T1"/>
                </a:cxn>
                <a:cxn ang="0">
                  <a:pos x="T2" y="T3"/>
                </a:cxn>
                <a:cxn ang="0">
                  <a:pos x="T4" y="T5"/>
                </a:cxn>
                <a:cxn ang="0">
                  <a:pos x="T6" y="T7"/>
                </a:cxn>
                <a:cxn ang="0">
                  <a:pos x="T8" y="T9"/>
                </a:cxn>
                <a:cxn ang="0">
                  <a:pos x="T10" y="T11"/>
                </a:cxn>
              </a:cxnLst>
              <a:rect l="0" t="0" r="r" b="b"/>
              <a:pathLst>
                <a:path w="68" h="68">
                  <a:moveTo>
                    <a:pt x="0" y="54"/>
                  </a:moveTo>
                  <a:cubicBezTo>
                    <a:pt x="0" y="54"/>
                    <a:pt x="44" y="10"/>
                    <a:pt x="46" y="7"/>
                  </a:cubicBezTo>
                  <a:cubicBezTo>
                    <a:pt x="51" y="3"/>
                    <a:pt x="68" y="0"/>
                    <a:pt x="68" y="0"/>
                  </a:cubicBezTo>
                  <a:cubicBezTo>
                    <a:pt x="68" y="0"/>
                    <a:pt x="65" y="17"/>
                    <a:pt x="61" y="21"/>
                  </a:cubicBezTo>
                  <a:cubicBezTo>
                    <a:pt x="55" y="27"/>
                    <a:pt x="14" y="68"/>
                    <a:pt x="14" y="68"/>
                  </a:cubicBezTo>
                  <a:lnTo>
                    <a:pt x="0" y="54"/>
                  </a:lnTo>
                  <a:close/>
                </a:path>
              </a:pathLst>
            </a:custGeom>
            <a:noFill/>
            <a:ln w="12700"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4" name="Line 6">
              <a:extLst>
                <a:ext uri="{FF2B5EF4-FFF2-40B4-BE49-F238E27FC236}">
                  <a16:creationId xmlns:a16="http://schemas.microsoft.com/office/drawing/2014/main" id="{9A0C1304-ABC2-664A-9235-BEAD07ADDE34}"/>
                </a:ext>
              </a:extLst>
            </p:cNvPr>
            <p:cNvSpPr>
              <a:spLocks noChangeShapeType="1"/>
            </p:cNvSpPr>
            <p:nvPr/>
          </p:nvSpPr>
          <p:spPr bwMode="auto">
            <a:xfrm>
              <a:off x="3146425" y="3436938"/>
              <a:ext cx="57150" cy="53975"/>
            </a:xfrm>
            <a:prstGeom prst="line">
              <a:avLst/>
            </a:prstGeom>
            <a:noFill/>
            <a:ln w="12700"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5" name="Freeform 54">
              <a:extLst>
                <a:ext uri="{FF2B5EF4-FFF2-40B4-BE49-F238E27FC236}">
                  <a16:creationId xmlns:a16="http://schemas.microsoft.com/office/drawing/2014/main" id="{792D8594-DA1C-7A4F-84EB-ABBB4FE5CF3C}"/>
                </a:ext>
              </a:extLst>
            </p:cNvPr>
            <p:cNvSpPr/>
            <p:nvPr/>
          </p:nvSpPr>
          <p:spPr bwMode="auto">
            <a:xfrm>
              <a:off x="3181350" y="3432176"/>
              <a:ext cx="77788" cy="158750"/>
            </a:xfrm>
            <a:custGeom>
              <a:gdLst>
                <a:gd name="T0" fmla="*/ 21 w 21"/>
                <a:gd name="T1" fmla="*/ 0 h 41"/>
                <a:gd name="T2" fmla="*/ 20 w 21"/>
                <a:gd name="T3" fmla="*/ 18 h 41"/>
                <a:gd name="T4" fmla="*/ 14 w 21"/>
                <a:gd name="T5" fmla="*/ 27 h 41"/>
                <a:gd name="T6" fmla="*/ 0 w 21"/>
                <a:gd name="T7" fmla="*/ 41 h 41"/>
                <a:gd name="T8" fmla="*/ 3 w 21"/>
                <a:gd name="T9" fmla="*/ 18 h 41"/>
              </a:gdLst>
              <a:cxnLst>
                <a:cxn ang="0">
                  <a:pos x="T0" y="T1"/>
                </a:cxn>
                <a:cxn ang="0">
                  <a:pos x="T2" y="T3"/>
                </a:cxn>
                <a:cxn ang="0">
                  <a:pos x="T4" y="T5"/>
                </a:cxn>
                <a:cxn ang="0">
                  <a:pos x="T6" y="T7"/>
                </a:cxn>
                <a:cxn ang="0">
                  <a:pos x="T8" y="T9"/>
                </a:cxn>
              </a:cxnLst>
              <a:rect l="0" t="0" r="r" b="b"/>
              <a:pathLst>
                <a:path w="21" h="41">
                  <a:moveTo>
                    <a:pt x="21" y="0"/>
                  </a:moveTo>
                  <a:cubicBezTo>
                    <a:pt x="21" y="2"/>
                    <a:pt x="21" y="14"/>
                    <a:pt x="20" y="18"/>
                  </a:cubicBezTo>
                  <a:cubicBezTo>
                    <a:pt x="19" y="21"/>
                    <a:pt x="16" y="25"/>
                    <a:pt x="14" y="27"/>
                  </a:cubicBezTo>
                  <a:cubicBezTo>
                    <a:pt x="9" y="32"/>
                    <a:pt x="0" y="41"/>
                    <a:pt x="0" y="41"/>
                  </a:cubicBezTo>
                  <a:cubicBezTo>
                    <a:pt x="3" y="18"/>
                    <a:pt x="3" y="18"/>
                    <a:pt x="3" y="18"/>
                  </a:cubicBezTo>
                </a:path>
              </a:pathLst>
            </a:custGeom>
            <a:noFill/>
            <a:ln w="12700"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6" name="Freeform 55">
              <a:extLst>
                <a:ext uri="{FF2B5EF4-FFF2-40B4-BE49-F238E27FC236}">
                  <a16:creationId xmlns:a16="http://schemas.microsoft.com/office/drawing/2014/main" id="{AC90CE6E-F55A-F04A-9C6A-A45FA283DAA2}"/>
                </a:ext>
              </a:extLst>
            </p:cNvPr>
            <p:cNvSpPr/>
            <p:nvPr/>
          </p:nvSpPr>
          <p:spPr bwMode="auto">
            <a:xfrm>
              <a:off x="3052763" y="3375026"/>
              <a:ext cx="153988" cy="85725"/>
            </a:xfrm>
            <a:custGeom>
              <a:gdLst>
                <a:gd name="T0" fmla="*/ 41 w 41"/>
                <a:gd name="T1" fmla="*/ 1 h 22"/>
                <a:gd name="T2" fmla="*/ 23 w 41"/>
                <a:gd name="T3" fmla="*/ 2 h 22"/>
                <a:gd name="T4" fmla="*/ 14 w 41"/>
                <a:gd name="T5" fmla="*/ 8 h 22"/>
                <a:gd name="T6" fmla="*/ 0 w 41"/>
                <a:gd name="T7" fmla="*/ 22 h 22"/>
                <a:gd name="T8" fmla="*/ 23 w 41"/>
                <a:gd name="T9" fmla="*/ 19 h 22"/>
              </a:gdLst>
              <a:cxnLst>
                <a:cxn ang="0">
                  <a:pos x="T0" y="T1"/>
                </a:cxn>
                <a:cxn ang="0">
                  <a:pos x="T2" y="T3"/>
                </a:cxn>
                <a:cxn ang="0">
                  <a:pos x="T4" y="T5"/>
                </a:cxn>
                <a:cxn ang="0">
                  <a:pos x="T6" y="T7"/>
                </a:cxn>
                <a:cxn ang="0">
                  <a:pos x="T8" y="T9"/>
                </a:cxn>
              </a:cxnLst>
              <a:rect l="0" t="0" r="r" b="b"/>
              <a:pathLst>
                <a:path w="41" h="22">
                  <a:moveTo>
                    <a:pt x="41" y="1"/>
                  </a:moveTo>
                  <a:cubicBezTo>
                    <a:pt x="38" y="1"/>
                    <a:pt x="27" y="0"/>
                    <a:pt x="23" y="2"/>
                  </a:cubicBezTo>
                  <a:cubicBezTo>
                    <a:pt x="20" y="3"/>
                    <a:pt x="16" y="6"/>
                    <a:pt x="14" y="8"/>
                  </a:cubicBezTo>
                  <a:cubicBezTo>
                    <a:pt x="9" y="13"/>
                    <a:pt x="0" y="22"/>
                    <a:pt x="0" y="22"/>
                  </a:cubicBezTo>
                  <a:cubicBezTo>
                    <a:pt x="23" y="19"/>
                    <a:pt x="23" y="19"/>
                    <a:pt x="23" y="19"/>
                  </a:cubicBezTo>
                </a:path>
              </a:pathLst>
            </a:custGeom>
            <a:noFill/>
            <a:ln w="12700"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7" name="Freeform 56">
              <a:extLst>
                <a:ext uri="{FF2B5EF4-FFF2-40B4-BE49-F238E27FC236}">
                  <a16:creationId xmlns:a16="http://schemas.microsoft.com/office/drawing/2014/main" id="{B348C6AD-599B-7147-88EE-559B772D975E}"/>
                </a:ext>
              </a:extLst>
            </p:cNvPr>
            <p:cNvSpPr/>
            <p:nvPr/>
          </p:nvSpPr>
          <p:spPr bwMode="auto">
            <a:xfrm>
              <a:off x="3057525" y="3479801"/>
              <a:ext cx="100013" cy="104775"/>
            </a:xfrm>
            <a:custGeom>
              <a:gdLst>
                <a:gd name="T0" fmla="*/ 24 w 27"/>
                <a:gd name="T1" fmla="*/ 9 h 27"/>
                <a:gd name="T2" fmla="*/ 23 w 27"/>
                <a:gd name="T3" fmla="*/ 19 h 27"/>
                <a:gd name="T4" fmla="*/ 0 w 27"/>
                <a:gd name="T5" fmla="*/ 27 h 27"/>
                <a:gd name="T6" fmla="*/ 9 w 27"/>
                <a:gd name="T7" fmla="*/ 5 h 27"/>
                <a:gd name="T8" fmla="*/ 19 w 27"/>
                <a:gd name="T9" fmla="*/ 3 h 27"/>
              </a:gdLst>
              <a:cxnLst>
                <a:cxn ang="0">
                  <a:pos x="T0" y="T1"/>
                </a:cxn>
                <a:cxn ang="0">
                  <a:pos x="T2" y="T3"/>
                </a:cxn>
                <a:cxn ang="0">
                  <a:pos x="T4" y="T5"/>
                </a:cxn>
                <a:cxn ang="0">
                  <a:pos x="T6" y="T7"/>
                </a:cxn>
                <a:cxn ang="0">
                  <a:pos x="T8" y="T9"/>
                </a:cxn>
              </a:cxnLst>
              <a:rect l="0" t="0" r="r" b="b"/>
              <a:pathLst>
                <a:path w="27" h="27">
                  <a:moveTo>
                    <a:pt x="24" y="9"/>
                  </a:moveTo>
                  <a:cubicBezTo>
                    <a:pt x="27" y="12"/>
                    <a:pt x="26" y="16"/>
                    <a:pt x="23" y="19"/>
                  </a:cubicBezTo>
                  <a:cubicBezTo>
                    <a:pt x="19" y="23"/>
                    <a:pt x="0" y="27"/>
                    <a:pt x="0" y="27"/>
                  </a:cubicBezTo>
                  <a:cubicBezTo>
                    <a:pt x="0" y="27"/>
                    <a:pt x="5" y="9"/>
                    <a:pt x="9" y="5"/>
                  </a:cubicBezTo>
                  <a:cubicBezTo>
                    <a:pt x="12" y="2"/>
                    <a:pt x="16" y="0"/>
                    <a:pt x="19" y="3"/>
                  </a:cubicBezTo>
                </a:path>
              </a:pathLst>
            </a:custGeom>
            <a:noFill/>
            <a:ln w="12700"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58" name="Group 5">
            <a:extLst>
              <a:ext uri="{FF2B5EF4-FFF2-40B4-BE49-F238E27FC236}">
                <a16:creationId xmlns:a16="http://schemas.microsoft.com/office/drawing/2014/main" id="{3CF979AA-CF97-4B41-9207-640341E5FF36}"/>
              </a:ext>
            </a:extLst>
          </p:cNvPr>
          <p:cNvGrpSpPr/>
          <p:nvPr/>
        </p:nvGrpSpPr>
        <p:grpSpPr>
          <a:xfrm>
            <a:off x="0" y="13063"/>
            <a:ext cx="589085" cy="589085"/>
            <a:chOff x="1582614" y="2839915"/>
            <a:chExt cx="589085" cy="589085"/>
          </a:xfrm>
          <a:solidFill>
            <a:srgbClr val="00ABF7"/>
          </a:solidFill>
        </p:grpSpPr>
        <p:sp>
          <p:nvSpPr>
            <p:cNvPr id="59" name="Rectangle 6">
              <a:extLst>
                <a:ext uri="{FF2B5EF4-FFF2-40B4-BE49-F238E27FC236}">
                  <a16:creationId xmlns:a16="http://schemas.microsoft.com/office/drawing/2014/main" id="{FFC89EFB-0D67-4191-982E-945525AA020D}"/>
                </a:ext>
              </a:extLst>
            </p:cNvPr>
            <p:cNvSpPr/>
            <p:nvPr/>
          </p:nvSpPr>
          <p:spPr>
            <a:xfrm>
              <a:off x="1582614" y="2839915"/>
              <a:ext cx="137160" cy="589085"/>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0" name="Rectangle 7">
              <a:extLst>
                <a:ext uri="{FF2B5EF4-FFF2-40B4-BE49-F238E27FC236}">
                  <a16:creationId xmlns:a16="http://schemas.microsoft.com/office/drawing/2014/main" id="{1E916F11-5AAB-4915-AB0F-517104E4CBF9}"/>
                </a:ext>
              </a:extLst>
            </p:cNvPr>
            <p:cNvSpPr/>
            <p:nvPr/>
          </p:nvSpPr>
          <p:spPr>
            <a:xfrm rot="5400000">
              <a:off x="1808577" y="2613952"/>
              <a:ext cx="137160" cy="589085"/>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61" name="Group 8">
            <a:extLst>
              <a:ext uri="{FF2B5EF4-FFF2-40B4-BE49-F238E27FC236}">
                <a16:creationId xmlns:a16="http://schemas.microsoft.com/office/drawing/2014/main" id="{2A284683-31CD-4970-AD1A-E9D6CC3E05DE}"/>
              </a:ext>
            </a:extLst>
          </p:cNvPr>
          <p:cNvGrpSpPr/>
          <p:nvPr/>
        </p:nvGrpSpPr>
        <p:grpSpPr>
          <a:xfrm rot="5400000">
            <a:off x="11599788" y="12970"/>
            <a:ext cx="589085" cy="589085"/>
            <a:chOff x="1582614" y="2839915"/>
            <a:chExt cx="589085" cy="589085"/>
          </a:xfrm>
          <a:solidFill>
            <a:srgbClr val="00ABF7"/>
          </a:solidFill>
        </p:grpSpPr>
        <p:sp>
          <p:nvSpPr>
            <p:cNvPr id="62" name="Rectangle 9">
              <a:extLst>
                <a:ext uri="{FF2B5EF4-FFF2-40B4-BE49-F238E27FC236}">
                  <a16:creationId xmlns:a16="http://schemas.microsoft.com/office/drawing/2014/main" id="{BCF8E231-D5BF-4EE2-A9A7-B37C70CBF0CE}"/>
                </a:ext>
              </a:extLst>
            </p:cNvPr>
            <p:cNvSpPr/>
            <p:nvPr/>
          </p:nvSpPr>
          <p:spPr>
            <a:xfrm>
              <a:off x="1582614" y="2839915"/>
              <a:ext cx="137160" cy="589085"/>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3" name="Rectangle 10">
              <a:extLst>
                <a:ext uri="{FF2B5EF4-FFF2-40B4-BE49-F238E27FC236}">
                  <a16:creationId xmlns:a16="http://schemas.microsoft.com/office/drawing/2014/main" id="{DBDB0A70-DE4D-4BF6-838E-0ED362688864}"/>
                </a:ext>
              </a:extLst>
            </p:cNvPr>
            <p:cNvSpPr/>
            <p:nvPr/>
          </p:nvSpPr>
          <p:spPr>
            <a:xfrm rot="5400000">
              <a:off x="1808577" y="2613952"/>
              <a:ext cx="137160" cy="589085"/>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64" name="Group 11">
            <a:extLst>
              <a:ext uri="{FF2B5EF4-FFF2-40B4-BE49-F238E27FC236}">
                <a16:creationId xmlns:a16="http://schemas.microsoft.com/office/drawing/2014/main" id="{1A016955-A30B-477B-9619-D4075CBA7058}"/>
              </a:ext>
            </a:extLst>
          </p:cNvPr>
          <p:cNvGrpSpPr/>
          <p:nvPr/>
        </p:nvGrpSpPr>
        <p:grpSpPr>
          <a:xfrm flipV="1">
            <a:off x="1" y="6255852"/>
            <a:ext cx="589085" cy="589085"/>
            <a:chOff x="1582614" y="2839915"/>
            <a:chExt cx="589085" cy="589085"/>
          </a:xfrm>
          <a:solidFill>
            <a:srgbClr val="00ABF7"/>
          </a:solidFill>
        </p:grpSpPr>
        <p:sp>
          <p:nvSpPr>
            <p:cNvPr id="65" name="Rectangle 12">
              <a:extLst>
                <a:ext uri="{FF2B5EF4-FFF2-40B4-BE49-F238E27FC236}">
                  <a16:creationId xmlns:a16="http://schemas.microsoft.com/office/drawing/2014/main" id="{8C92074E-1D2C-441C-8431-176C09E12D18}"/>
                </a:ext>
              </a:extLst>
            </p:cNvPr>
            <p:cNvSpPr/>
            <p:nvPr/>
          </p:nvSpPr>
          <p:spPr>
            <a:xfrm>
              <a:off x="1582614" y="2839915"/>
              <a:ext cx="137160" cy="589085"/>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6" name="Rectangle 13">
              <a:extLst>
                <a:ext uri="{FF2B5EF4-FFF2-40B4-BE49-F238E27FC236}">
                  <a16:creationId xmlns:a16="http://schemas.microsoft.com/office/drawing/2014/main" id="{A932007A-1C4F-41B1-AB6F-F9B28644AAD5}"/>
                </a:ext>
              </a:extLst>
            </p:cNvPr>
            <p:cNvSpPr/>
            <p:nvPr/>
          </p:nvSpPr>
          <p:spPr>
            <a:xfrm rot="5400000">
              <a:off x="1808577" y="2613952"/>
              <a:ext cx="137160" cy="589085"/>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67" name="Group 14">
            <a:extLst>
              <a:ext uri="{FF2B5EF4-FFF2-40B4-BE49-F238E27FC236}">
                <a16:creationId xmlns:a16="http://schemas.microsoft.com/office/drawing/2014/main" id="{015F3BE6-8FB8-494A-89E0-40C6E6714E0D}"/>
              </a:ext>
            </a:extLst>
          </p:cNvPr>
          <p:cNvGrpSpPr/>
          <p:nvPr/>
        </p:nvGrpSpPr>
        <p:grpSpPr>
          <a:xfrm rot="16200000" flipV="1">
            <a:off x="11602915" y="6255851"/>
            <a:ext cx="589085" cy="589085"/>
            <a:chOff x="1582614" y="2839915"/>
            <a:chExt cx="589085" cy="589085"/>
          </a:xfrm>
          <a:solidFill>
            <a:srgbClr val="00ABF7"/>
          </a:solidFill>
        </p:grpSpPr>
        <p:sp>
          <p:nvSpPr>
            <p:cNvPr id="68" name="Rectangle 15">
              <a:extLst>
                <a:ext uri="{FF2B5EF4-FFF2-40B4-BE49-F238E27FC236}">
                  <a16:creationId xmlns:a16="http://schemas.microsoft.com/office/drawing/2014/main" id="{C93C45DC-27C2-46B0-A219-42FB63E9D32D}"/>
                </a:ext>
              </a:extLst>
            </p:cNvPr>
            <p:cNvSpPr/>
            <p:nvPr/>
          </p:nvSpPr>
          <p:spPr>
            <a:xfrm>
              <a:off x="1582614" y="2839915"/>
              <a:ext cx="137160" cy="589085"/>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9" name="Rectangle 16">
              <a:extLst>
                <a:ext uri="{FF2B5EF4-FFF2-40B4-BE49-F238E27FC236}">
                  <a16:creationId xmlns:a16="http://schemas.microsoft.com/office/drawing/2014/main" id="{38D493E9-4714-4FC2-9065-C6AE83C83511}"/>
                </a:ext>
              </a:extLst>
            </p:cNvPr>
            <p:cNvSpPr/>
            <p:nvPr/>
          </p:nvSpPr>
          <p:spPr>
            <a:xfrm rot="5400000">
              <a:off x="1808577" y="2613952"/>
              <a:ext cx="137160" cy="589085"/>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3" name="TextBox 9">
            <a:extLst>
              <a:ext uri="{FF2B5EF4-FFF2-40B4-BE49-F238E27FC236}">
                <a16:creationId xmlns:a16="http://schemas.microsoft.com/office/drawing/2014/main" id="{B79C7850-0117-04C8-49C5-3A141961C42B}"/>
              </a:ext>
            </a:extLst>
          </p:cNvPr>
          <p:cNvSpPr txBox="1"/>
          <p:nvPr/>
        </p:nvSpPr>
        <p:spPr>
          <a:xfrm>
            <a:off x="1676171" y="127378"/>
            <a:ext cx="3876061" cy="923330"/>
          </a:xfrm>
          <a:prstGeom prst="rect">
            <a:avLst/>
          </a:prstGeom>
          <a:noFill/>
        </p:spPr>
        <p:txBody>
          <a:bodyPr wrap="none" lIns="0" tIns="0" rIns="0" bIns="0" rtlCol="0">
            <a:spAutoFit/>
          </a:bodyPr>
          <a:lstStyle/>
          <a:p>
            <a:r>
              <a:rPr lang="en-US" sz="6000" b="1">
                <a:solidFill>
                  <a:schemeClr val="tx1">
                    <a:lumMod val="65000"/>
                    <a:lumOff val="35000"/>
                  </a:schemeClr>
                </a:solidFill>
                <a:latin typeface="Segoe UI" panose="020b0502040204020203" pitchFamily="34" charset="0"/>
                <a:cs typeface="Segoe UI" panose="020b0502040204020203" pitchFamily="34" charset="0"/>
              </a:rPr>
              <a:t>BAHAMAS</a:t>
            </a:r>
          </a:p>
        </p:txBody>
      </p:sp>
      <p:sp>
        <p:nvSpPr>
          <p:cNvPr id="14" name="TextBox 9">
            <a:extLst>
              <a:ext uri="{FF2B5EF4-FFF2-40B4-BE49-F238E27FC236}">
                <a16:creationId xmlns:a16="http://schemas.microsoft.com/office/drawing/2014/main" id="{169809F9-73F3-449F-4480-8124B4C011D5}"/>
              </a:ext>
            </a:extLst>
          </p:cNvPr>
          <p:cNvSpPr txBox="1"/>
          <p:nvPr/>
        </p:nvSpPr>
        <p:spPr>
          <a:xfrm>
            <a:off x="1673835" y="901021"/>
            <a:ext cx="2068067" cy="430887"/>
          </a:xfrm>
          <a:prstGeom prst="rect">
            <a:avLst/>
          </a:prstGeom>
          <a:noFill/>
        </p:spPr>
        <p:txBody>
          <a:bodyPr wrap="none" lIns="0" tIns="0" rIns="0" bIns="0" rtlCol="0">
            <a:spAutoFit/>
          </a:bodyPr>
          <a:lstStyle/>
          <a:p>
            <a:pPr algn="ctr"/>
            <a:r>
              <a:rPr lang="en-US" sz="2800" b="1">
                <a:solidFill>
                  <a:srgbClr val="02BAC8"/>
                </a:solidFill>
                <a:latin typeface="Segoe UI" panose="020b0502040204020203" pitchFamily="34" charset="0"/>
                <a:cs typeface="Segoe UI" panose="020b0502040204020203" pitchFamily="34" charset="0"/>
              </a:rPr>
              <a:t>Gastronomy</a:t>
            </a:r>
          </a:p>
        </p:txBody>
      </p:sp>
      <p:grpSp>
        <p:nvGrpSpPr>
          <p:cNvPr id="22" name="Grupo 21">
            <a:extLst>
              <a:ext uri="{FF2B5EF4-FFF2-40B4-BE49-F238E27FC236}">
                <a16:creationId xmlns:a16="http://schemas.microsoft.com/office/drawing/2014/main" id="{E693D436-1844-ABF7-FD0F-EBDD9C3490F7}"/>
              </a:ext>
            </a:extLst>
          </p:cNvPr>
          <p:cNvGrpSpPr/>
          <p:nvPr/>
        </p:nvGrpSpPr>
        <p:grpSpPr>
          <a:xfrm>
            <a:off x="928106" y="24829"/>
            <a:ext cx="792527" cy="1306401"/>
            <a:chOff x="283851" y="5461857"/>
            <a:chExt cx="846969" cy="1396143"/>
          </a:xfrm>
          <a:solidFill>
            <a:srgbClr val="06DBE7"/>
          </a:solidFill>
        </p:grpSpPr>
        <p:sp>
          <p:nvSpPr>
            <p:cNvPr id="23" name="Forma libre: forma 22">
              <a:extLst>
                <a:ext uri="{FF2B5EF4-FFF2-40B4-BE49-F238E27FC236}">
                  <a16:creationId xmlns:a16="http://schemas.microsoft.com/office/drawing/2014/main" id="{6C6F4CA8-43BB-8D3D-F279-72DB74BF7AFE}"/>
                </a:ext>
              </a:extLst>
            </p:cNvPr>
            <p:cNvSpPr/>
            <p:nvPr/>
          </p:nvSpPr>
          <p:spPr>
            <a:xfrm>
              <a:off x="283851" y="5461857"/>
              <a:ext cx="846969" cy="468186"/>
            </a:xfrm>
            <a:custGeom>
              <a:gdLst>
                <a:gd name="connsiteX0" fmla="*/ 585515 w 846969"/>
                <a:gd name="connsiteY0" fmla="*/ 123160 h 468186"/>
                <a:gd name="connsiteX1" fmla="*/ 374091 w 846969"/>
                <a:gd name="connsiteY1" fmla="*/ 150510 h 468186"/>
                <a:gd name="connsiteX2" fmla="*/ 58700 w 846969"/>
                <a:gd name="connsiteY2" fmla="*/ 260683 h 468186"/>
                <a:gd name="connsiteX3" fmla="*/ 7105 w 846969"/>
                <a:gd name="connsiteY3" fmla="*/ 260683 h 468186"/>
                <a:gd name="connsiteX4" fmla="*/ 14476 w 846969"/>
                <a:gd name="connsiteY4" fmla="*/ 205208 h 468186"/>
                <a:gd name="connsiteX5" fmla="*/ 215232 w 846969"/>
                <a:gd name="connsiteY5" fmla="*/ 41694 h 468186"/>
                <a:gd name="connsiteX6" fmla="*/ 547303 w 846969"/>
                <a:gd name="connsiteY6" fmla="*/ 4259 h 468186"/>
                <a:gd name="connsiteX7" fmla="*/ 805280 w 846969"/>
                <a:gd name="connsiteY7" fmla="*/ 54302 h 468186"/>
                <a:gd name="connsiteX8" fmla="*/ 846788 w 846969"/>
                <a:gd name="connsiteY8" fmla="*/ 87470 h 468186"/>
                <a:gd name="connsiteX9" fmla="*/ 815366 w 846969"/>
                <a:gd name="connsiteY9" fmla="*/ 131307 h 468186"/>
                <a:gd name="connsiteX10" fmla="*/ 705968 w 846969"/>
                <a:gd name="connsiteY10" fmla="*/ 242644 h 468186"/>
                <a:gd name="connsiteX11" fmla="*/ 376612 w 846969"/>
                <a:gd name="connsiteY11" fmla="*/ 464348 h 468186"/>
                <a:gd name="connsiteX12" fmla="*/ 89735 w 846969"/>
                <a:gd name="connsiteY12" fmla="*/ 417990 h 468186"/>
                <a:gd name="connsiteX13" fmla="*/ 60058 w 846969"/>
                <a:gd name="connsiteY13" fmla="*/ 386762 h 468186"/>
                <a:gd name="connsiteX14" fmla="*/ 86826 w 846969"/>
                <a:gd name="connsiteY14" fmla="*/ 349326 h 468186"/>
                <a:gd name="connsiteX15" fmla="*/ 550407 w 846969"/>
                <a:gd name="connsiteY15" fmla="*/ 135186 h 468186"/>
                <a:gd name="connsiteX16" fmla="*/ 585321 w 846969"/>
                <a:gd name="connsiteY16" fmla="*/ 123160 h 46818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46969" h="468186">
                  <a:moveTo>
                    <a:pt x="585515" y="123160"/>
                  </a:moveTo>
                  <a:cubicBezTo>
                    <a:pt x="513747" y="122191"/>
                    <a:pt x="443531" y="133829"/>
                    <a:pt x="374091" y="150510"/>
                  </a:cubicBezTo>
                  <a:cubicBezTo>
                    <a:pt x="265275" y="176501"/>
                    <a:pt x="159757" y="212385"/>
                    <a:pt x="58700" y="260683"/>
                  </a:cubicBezTo>
                  <a:cubicBezTo>
                    <a:pt x="41631" y="268830"/>
                    <a:pt x="22816" y="281050"/>
                    <a:pt x="7105" y="260683"/>
                  </a:cubicBezTo>
                  <a:cubicBezTo>
                    <a:pt x="-7636" y="241480"/>
                    <a:pt x="3420" y="222278"/>
                    <a:pt x="14476" y="205208"/>
                  </a:cubicBezTo>
                  <a:cubicBezTo>
                    <a:pt x="63162" y="128591"/>
                    <a:pt x="132990" y="77578"/>
                    <a:pt x="215232" y="41694"/>
                  </a:cubicBezTo>
                  <a:cubicBezTo>
                    <a:pt x="322108" y="-5052"/>
                    <a:pt x="434802" y="-3694"/>
                    <a:pt x="547303" y="4259"/>
                  </a:cubicBezTo>
                  <a:cubicBezTo>
                    <a:pt x="634977" y="10660"/>
                    <a:pt x="720710" y="30638"/>
                    <a:pt x="805280" y="54302"/>
                  </a:cubicBezTo>
                  <a:cubicBezTo>
                    <a:pt x="823706" y="59345"/>
                    <a:pt x="844655" y="64000"/>
                    <a:pt x="846788" y="87470"/>
                  </a:cubicBezTo>
                  <a:cubicBezTo>
                    <a:pt x="848922" y="109583"/>
                    <a:pt x="831853" y="120639"/>
                    <a:pt x="815366" y="131307"/>
                  </a:cubicBezTo>
                  <a:cubicBezTo>
                    <a:pt x="770753" y="160402"/>
                    <a:pt x="734094" y="197450"/>
                    <a:pt x="705968" y="242644"/>
                  </a:cubicBezTo>
                  <a:cubicBezTo>
                    <a:pt x="629351" y="366007"/>
                    <a:pt x="524415" y="447279"/>
                    <a:pt x="376612" y="464348"/>
                  </a:cubicBezTo>
                  <a:cubicBezTo>
                    <a:pt x="276913" y="475792"/>
                    <a:pt x="180706" y="462021"/>
                    <a:pt x="89735" y="417990"/>
                  </a:cubicBezTo>
                  <a:cubicBezTo>
                    <a:pt x="75769" y="411201"/>
                    <a:pt x="60640" y="405188"/>
                    <a:pt x="60058" y="386762"/>
                  </a:cubicBezTo>
                  <a:cubicBezTo>
                    <a:pt x="59476" y="368141"/>
                    <a:pt x="72278" y="358248"/>
                    <a:pt x="86826" y="349326"/>
                  </a:cubicBezTo>
                  <a:cubicBezTo>
                    <a:pt x="232689" y="258937"/>
                    <a:pt x="387281" y="187945"/>
                    <a:pt x="550407" y="135186"/>
                  </a:cubicBezTo>
                  <a:cubicBezTo>
                    <a:pt x="562045" y="131501"/>
                    <a:pt x="573683" y="127234"/>
                    <a:pt x="585321" y="123160"/>
                  </a:cubicBezTo>
                  <a:close/>
                </a:path>
              </a:pathLst>
            </a:custGeom>
            <a:solidFill>
              <a:srgbClr val="00ABF7"/>
            </a:solidFill>
            <a:ln w="19266" cap="flat">
              <a:noFill/>
              <a:prstDash val="solid"/>
              <a:miter/>
            </a:ln>
          </p:spPr>
          <p:txBody>
            <a:bodyPr rtlCol="0" anchor="ctr"/>
            <a:lstStyle/>
            <a:p>
              <a:endParaRPr lang="es-PE"/>
            </a:p>
          </p:txBody>
        </p:sp>
        <p:sp>
          <p:nvSpPr>
            <p:cNvPr id="24" name="Forma libre: forma 23">
              <a:extLst>
                <a:ext uri="{FF2B5EF4-FFF2-40B4-BE49-F238E27FC236}">
                  <a16:creationId xmlns:a16="http://schemas.microsoft.com/office/drawing/2014/main" id="{F97DEDE5-4D1C-46CF-617F-DBD78939DD0C}"/>
                </a:ext>
              </a:extLst>
            </p:cNvPr>
            <p:cNvSpPr/>
            <p:nvPr/>
          </p:nvSpPr>
          <p:spPr>
            <a:xfrm>
              <a:off x="507131" y="5943613"/>
              <a:ext cx="297179" cy="914387"/>
            </a:xfrm>
            <a:custGeom>
              <a:gdLst>
                <a:gd name="connsiteX0" fmla="*/ 76327 w 297179"/>
                <a:gd name="connsiteY0" fmla="*/ 250461 h 914387"/>
                <a:gd name="connsiteX1" fmla="*/ 87189 w 297179"/>
                <a:gd name="connsiteY1" fmla="*/ 213801 h 914387"/>
                <a:gd name="connsiteX2" fmla="*/ 91651 w 297179"/>
                <a:gd name="connsiteY2" fmla="*/ 56494 h 914387"/>
                <a:gd name="connsiteX3" fmla="*/ 107168 w 297179"/>
                <a:gd name="connsiteY3" fmla="*/ 30114 h 914387"/>
                <a:gd name="connsiteX4" fmla="*/ 134323 w 297179"/>
                <a:gd name="connsiteY4" fmla="*/ 56106 h 914387"/>
                <a:gd name="connsiteX5" fmla="*/ 139366 w 297179"/>
                <a:gd name="connsiteY5" fmla="*/ 216128 h 914387"/>
                <a:gd name="connsiteX6" fmla="*/ 149065 w 297179"/>
                <a:gd name="connsiteY6" fmla="*/ 248133 h 914387"/>
                <a:gd name="connsiteX7" fmla="*/ 159733 w 297179"/>
                <a:gd name="connsiteY7" fmla="*/ 208176 h 914387"/>
                <a:gd name="connsiteX8" fmla="*/ 161091 w 297179"/>
                <a:gd name="connsiteY8" fmla="*/ 65028 h 914387"/>
                <a:gd name="connsiteX9" fmla="*/ 161867 w 297179"/>
                <a:gd name="connsiteY9" fmla="*/ 42140 h 914387"/>
                <a:gd name="connsiteX10" fmla="*/ 189798 w 297179"/>
                <a:gd name="connsiteY10" fmla="*/ 20416 h 914387"/>
                <a:gd name="connsiteX11" fmla="*/ 205121 w 297179"/>
                <a:gd name="connsiteY11" fmla="*/ 42916 h 914387"/>
                <a:gd name="connsiteX12" fmla="*/ 208613 w 297179"/>
                <a:gd name="connsiteY12" fmla="*/ 214577 h 914387"/>
                <a:gd name="connsiteX13" fmla="*/ 218699 w 297179"/>
                <a:gd name="connsiteY13" fmla="*/ 245805 h 914387"/>
                <a:gd name="connsiteX14" fmla="*/ 229173 w 297179"/>
                <a:gd name="connsiteY14" fmla="*/ 214965 h 914387"/>
                <a:gd name="connsiteX15" fmla="*/ 234604 w 297179"/>
                <a:gd name="connsiteY15" fmla="*/ 37679 h 914387"/>
                <a:gd name="connsiteX16" fmla="*/ 235574 w 297179"/>
                <a:gd name="connsiteY16" fmla="*/ 20610 h 914387"/>
                <a:gd name="connsiteX17" fmla="*/ 266027 w 297179"/>
                <a:gd name="connsiteY17" fmla="*/ 49 h 914387"/>
                <a:gd name="connsiteX18" fmla="*/ 279217 w 297179"/>
                <a:gd name="connsiteY18" fmla="*/ 20998 h 914387"/>
                <a:gd name="connsiteX19" fmla="*/ 296480 w 297179"/>
                <a:gd name="connsiteY19" fmla="*/ 271991 h 914387"/>
                <a:gd name="connsiteX20" fmla="*/ 245660 w 297179"/>
                <a:gd name="connsiteY20" fmla="*/ 388953 h 914387"/>
                <a:gd name="connsiteX21" fmla="*/ 224518 w 297179"/>
                <a:gd name="connsiteY21" fmla="*/ 403695 h 914387"/>
                <a:gd name="connsiteX22" fmla="*/ 185337 w 297179"/>
                <a:gd name="connsiteY22" fmla="*/ 477984 h 914387"/>
                <a:gd name="connsiteX23" fmla="*/ 222384 w 297179"/>
                <a:gd name="connsiteY23" fmla="*/ 855637 h 914387"/>
                <a:gd name="connsiteX24" fmla="*/ 172535 w 297179"/>
                <a:gd name="connsiteY24" fmla="*/ 914216 h 914387"/>
                <a:gd name="connsiteX25" fmla="*/ 115315 w 297179"/>
                <a:gd name="connsiteY25" fmla="*/ 914216 h 914387"/>
                <a:gd name="connsiteX26" fmla="*/ 73806 w 297179"/>
                <a:gd name="connsiteY26" fmla="*/ 865918 h 914387"/>
                <a:gd name="connsiteX27" fmla="*/ 105228 w 297179"/>
                <a:gd name="connsiteY27" fmla="*/ 668265 h 914387"/>
                <a:gd name="connsiteX28" fmla="*/ 109496 w 297179"/>
                <a:gd name="connsiteY28" fmla="*/ 459557 h 914387"/>
                <a:gd name="connsiteX29" fmla="*/ 82728 w 297179"/>
                <a:gd name="connsiteY29" fmla="*/ 411259 h 914387"/>
                <a:gd name="connsiteX30" fmla="*/ 46068 w 297179"/>
                <a:gd name="connsiteY30" fmla="*/ 383716 h 914387"/>
                <a:gd name="connsiteX31" fmla="*/ 292 w 297179"/>
                <a:gd name="connsiteY31" fmla="*/ 284017 h 914387"/>
                <a:gd name="connsiteX32" fmla="*/ 16779 w 297179"/>
                <a:gd name="connsiteY32" fmla="*/ 50093 h 914387"/>
                <a:gd name="connsiteX33" fmla="*/ 37146 w 297179"/>
                <a:gd name="connsiteY33" fmla="*/ 27205 h 914387"/>
                <a:gd name="connsiteX34" fmla="*/ 64495 w 297179"/>
                <a:gd name="connsiteY34" fmla="*/ 52420 h 914387"/>
                <a:gd name="connsiteX35" fmla="*/ 66047 w 297179"/>
                <a:gd name="connsiteY35" fmla="*/ 204102 h 914387"/>
                <a:gd name="connsiteX36" fmla="*/ 76521 w 297179"/>
                <a:gd name="connsiteY36" fmla="*/ 250073 h 91438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97179" h="914387">
                  <a:moveTo>
                    <a:pt x="76327" y="250461"/>
                  </a:moveTo>
                  <a:cubicBezTo>
                    <a:pt x="90099" y="238823"/>
                    <a:pt x="86801" y="225633"/>
                    <a:pt x="87189" y="213801"/>
                  </a:cubicBezTo>
                  <a:cubicBezTo>
                    <a:pt x="88935" y="161430"/>
                    <a:pt x="90099" y="109059"/>
                    <a:pt x="91651" y="56494"/>
                  </a:cubicBezTo>
                  <a:cubicBezTo>
                    <a:pt x="92039" y="45050"/>
                    <a:pt x="91651" y="32830"/>
                    <a:pt x="107168" y="30114"/>
                  </a:cubicBezTo>
                  <a:cubicBezTo>
                    <a:pt x="127922" y="26817"/>
                    <a:pt x="133935" y="37291"/>
                    <a:pt x="134323" y="56106"/>
                  </a:cubicBezTo>
                  <a:cubicBezTo>
                    <a:pt x="135487" y="109447"/>
                    <a:pt x="137233" y="162788"/>
                    <a:pt x="139366" y="216128"/>
                  </a:cubicBezTo>
                  <a:cubicBezTo>
                    <a:pt x="139754" y="226603"/>
                    <a:pt x="135487" y="239210"/>
                    <a:pt x="149065" y="248133"/>
                  </a:cubicBezTo>
                  <a:cubicBezTo>
                    <a:pt x="160121" y="236495"/>
                    <a:pt x="159539" y="222141"/>
                    <a:pt x="159733" y="208176"/>
                  </a:cubicBezTo>
                  <a:cubicBezTo>
                    <a:pt x="160315" y="160460"/>
                    <a:pt x="160703" y="112744"/>
                    <a:pt x="161091" y="65028"/>
                  </a:cubicBezTo>
                  <a:cubicBezTo>
                    <a:pt x="161091" y="57463"/>
                    <a:pt x="161479" y="49705"/>
                    <a:pt x="161867" y="42140"/>
                  </a:cubicBezTo>
                  <a:cubicBezTo>
                    <a:pt x="162643" y="24101"/>
                    <a:pt x="175832" y="20804"/>
                    <a:pt x="189798" y="20416"/>
                  </a:cubicBezTo>
                  <a:cubicBezTo>
                    <a:pt x="205509" y="19834"/>
                    <a:pt x="204927" y="33218"/>
                    <a:pt x="205121" y="42916"/>
                  </a:cubicBezTo>
                  <a:cubicBezTo>
                    <a:pt x="206673" y="100136"/>
                    <a:pt x="207255" y="157356"/>
                    <a:pt x="208613" y="214577"/>
                  </a:cubicBezTo>
                  <a:cubicBezTo>
                    <a:pt x="209001" y="226021"/>
                    <a:pt x="204733" y="245805"/>
                    <a:pt x="218699" y="245805"/>
                  </a:cubicBezTo>
                  <a:cubicBezTo>
                    <a:pt x="233440" y="245805"/>
                    <a:pt x="228591" y="226215"/>
                    <a:pt x="229173" y="214965"/>
                  </a:cubicBezTo>
                  <a:cubicBezTo>
                    <a:pt x="231501" y="155805"/>
                    <a:pt x="232859" y="96839"/>
                    <a:pt x="234604" y="37679"/>
                  </a:cubicBezTo>
                  <a:cubicBezTo>
                    <a:pt x="234604" y="32054"/>
                    <a:pt x="234604" y="26041"/>
                    <a:pt x="235574" y="20610"/>
                  </a:cubicBezTo>
                  <a:cubicBezTo>
                    <a:pt x="238872" y="3929"/>
                    <a:pt x="252837" y="1019"/>
                    <a:pt x="266027" y="49"/>
                  </a:cubicBezTo>
                  <a:cubicBezTo>
                    <a:pt x="280574" y="-921"/>
                    <a:pt x="278635" y="12657"/>
                    <a:pt x="279217" y="20998"/>
                  </a:cubicBezTo>
                  <a:cubicBezTo>
                    <a:pt x="285036" y="104597"/>
                    <a:pt x="288915" y="188585"/>
                    <a:pt x="296480" y="271991"/>
                  </a:cubicBezTo>
                  <a:cubicBezTo>
                    <a:pt x="300941" y="321840"/>
                    <a:pt x="284066" y="359470"/>
                    <a:pt x="245660" y="388953"/>
                  </a:cubicBezTo>
                  <a:cubicBezTo>
                    <a:pt x="238872" y="394190"/>
                    <a:pt x="231695" y="399039"/>
                    <a:pt x="224518" y="403695"/>
                  </a:cubicBezTo>
                  <a:cubicBezTo>
                    <a:pt x="197363" y="421151"/>
                    <a:pt x="186694" y="445397"/>
                    <a:pt x="185337" y="477984"/>
                  </a:cubicBezTo>
                  <a:cubicBezTo>
                    <a:pt x="179906" y="605808"/>
                    <a:pt x="198332" y="730917"/>
                    <a:pt x="222384" y="855637"/>
                  </a:cubicBezTo>
                  <a:cubicBezTo>
                    <a:pt x="231307" y="901995"/>
                    <a:pt x="220445" y="914022"/>
                    <a:pt x="172535" y="914216"/>
                  </a:cubicBezTo>
                  <a:cubicBezTo>
                    <a:pt x="153526" y="914216"/>
                    <a:pt x="134323" y="914603"/>
                    <a:pt x="115315" y="914216"/>
                  </a:cubicBezTo>
                  <a:cubicBezTo>
                    <a:pt x="80207" y="913440"/>
                    <a:pt x="68569" y="900444"/>
                    <a:pt x="73806" y="865918"/>
                  </a:cubicBezTo>
                  <a:cubicBezTo>
                    <a:pt x="83892" y="799969"/>
                    <a:pt x="96112" y="734408"/>
                    <a:pt x="105228" y="668265"/>
                  </a:cubicBezTo>
                  <a:cubicBezTo>
                    <a:pt x="114733" y="599019"/>
                    <a:pt x="109883" y="529191"/>
                    <a:pt x="109496" y="459557"/>
                  </a:cubicBezTo>
                  <a:cubicBezTo>
                    <a:pt x="109496" y="439578"/>
                    <a:pt x="99603" y="423091"/>
                    <a:pt x="82728" y="411259"/>
                  </a:cubicBezTo>
                  <a:cubicBezTo>
                    <a:pt x="70314" y="402531"/>
                    <a:pt x="58094" y="393220"/>
                    <a:pt x="46068" y="383716"/>
                  </a:cubicBezTo>
                  <a:cubicBezTo>
                    <a:pt x="13870" y="358306"/>
                    <a:pt x="-2423" y="325332"/>
                    <a:pt x="292" y="284017"/>
                  </a:cubicBezTo>
                  <a:cubicBezTo>
                    <a:pt x="5529" y="206042"/>
                    <a:pt x="11348" y="128067"/>
                    <a:pt x="16779" y="50093"/>
                  </a:cubicBezTo>
                  <a:cubicBezTo>
                    <a:pt x="17749" y="36903"/>
                    <a:pt x="18137" y="25265"/>
                    <a:pt x="37146" y="27205"/>
                  </a:cubicBezTo>
                  <a:cubicBezTo>
                    <a:pt x="53633" y="28950"/>
                    <a:pt x="64301" y="33412"/>
                    <a:pt x="64495" y="52420"/>
                  </a:cubicBezTo>
                  <a:cubicBezTo>
                    <a:pt x="64495" y="103046"/>
                    <a:pt x="65465" y="153477"/>
                    <a:pt x="66047" y="204102"/>
                  </a:cubicBezTo>
                  <a:cubicBezTo>
                    <a:pt x="66047" y="219038"/>
                    <a:pt x="65465" y="234361"/>
                    <a:pt x="76521" y="250073"/>
                  </a:cubicBezTo>
                  <a:close/>
                </a:path>
              </a:pathLst>
            </a:custGeom>
            <a:solidFill>
              <a:schemeClr val="bg1">
                <a:lumMod val="65000"/>
              </a:schemeClr>
            </a:solidFill>
            <a:ln w="19266" cap="flat">
              <a:noFill/>
              <a:prstDash val="solid"/>
              <a:miter/>
            </a:ln>
          </p:spPr>
          <p:txBody>
            <a:bodyPr rtlCol="0" anchor="ctr"/>
            <a:lstStyle/>
            <a:p>
              <a:endParaRPr lang="es-PE"/>
            </a:p>
          </p:txBody>
        </p:sp>
      </p:grpSp>
    </p:spTree>
    <p:extLst>
      <p:ext uri="{BB962C8B-B14F-4D97-AF65-F5344CB8AC3E}">
        <p14:creationId xmlns:p14="http://schemas.microsoft.com/office/powerpoint/2010/main" val="3373972632"/>
      </p:ext>
    </p:extLst>
  </p:cSld>
  <p:clrMapOvr>
    <a:masterClrMapping/>
  </p:clrMapOvr>
  <p:transition/>
  <p:timing/>
</p:sld>
</file>

<file path=ppt/slides/slide9.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4" name="Text Placeholder 3">
            <a:extLst>
              <a:ext uri="{FF2B5EF4-FFF2-40B4-BE49-F238E27FC236}">
                <a16:creationId xmlns:a16="http://schemas.microsoft.com/office/drawing/2014/main" id="{C2DA752D-1BCA-4203-BBCD-4A6E3F70DA59}"/>
              </a:ext>
            </a:extLst>
          </p:cNvPr>
          <p:cNvSpPr>
            <a:spLocks noGrp="1"/>
          </p:cNvSpPr>
          <p:nvPr>
            <p:ph type="body" sz="quarter" idx="4294967295"/>
          </p:nvPr>
        </p:nvSpPr>
        <p:spPr>
          <a:xfrm>
            <a:off x="9863568" y="6462295"/>
            <a:ext cx="1241788" cy="150812"/>
          </a:xfrm>
        </p:spPr>
        <p:txBody>
          <a:bodyPr>
            <a:normAutofit fontScale="25000" lnSpcReduction="20000"/>
          </a:bodyPr>
          <a:lstStyle/>
          <a:p>
            <a:endParaRPr lang="en-ID"/>
          </a:p>
        </p:txBody>
      </p:sp>
      <p:sp>
        <p:nvSpPr>
          <p:cNvPr id="54" name="Freeform 53">
            <a:extLst>
              <a:ext uri="{FF2B5EF4-FFF2-40B4-BE49-F238E27FC236}">
                <a16:creationId xmlns:a16="http://schemas.microsoft.com/office/drawing/2014/main" id="{B14D484F-C334-7C4B-8E00-D69BBF22FA32}"/>
              </a:ext>
            </a:extLst>
          </p:cNvPr>
          <p:cNvSpPr/>
          <p:nvPr/>
        </p:nvSpPr>
        <p:spPr>
          <a:xfrm>
            <a:off x="0" y="1733550"/>
            <a:ext cx="6096000" cy="4152900"/>
          </a:xfrm>
          <a:custGeom>
            <a:gdLst>
              <a:gd name="connsiteX0" fmla="*/ 0 w 6096000"/>
              <a:gd name="connsiteY0" fmla="*/ 0 h 4152900"/>
              <a:gd name="connsiteX1" fmla="*/ 5779757 w 6096000"/>
              <a:gd name="connsiteY1" fmla="*/ 0 h 4152900"/>
              <a:gd name="connsiteX2" fmla="*/ 6096000 w 6096000"/>
              <a:gd name="connsiteY2" fmla="*/ 316243 h 4152900"/>
              <a:gd name="connsiteX3" fmla="*/ 6096000 w 6096000"/>
              <a:gd name="connsiteY3" fmla="*/ 3836657 h 4152900"/>
              <a:gd name="connsiteX4" fmla="*/ 5779757 w 6096000"/>
              <a:gd name="connsiteY4" fmla="*/ 4152900 h 4152900"/>
              <a:gd name="connsiteX5" fmla="*/ 0 w 6096000"/>
              <a:gd name="connsiteY5" fmla="*/ 4152900 h 41529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4152900">
                <a:moveTo>
                  <a:pt x="0" y="0"/>
                </a:moveTo>
                <a:lnTo>
                  <a:pt x="5779757" y="0"/>
                </a:lnTo>
                <a:cubicBezTo>
                  <a:pt x="5954413" y="0"/>
                  <a:pt x="6096000" y="141587"/>
                  <a:pt x="6096000" y="316243"/>
                </a:cubicBezTo>
                <a:lnTo>
                  <a:pt x="6096000" y="3836657"/>
                </a:lnTo>
                <a:cubicBezTo>
                  <a:pt x="6096000" y="4011313"/>
                  <a:pt x="5954413" y="4152900"/>
                  <a:pt x="5779757" y="4152900"/>
                </a:cubicBezTo>
                <a:lnTo>
                  <a:pt x="0" y="4152900"/>
                </a:lnTo>
                <a:close/>
              </a:path>
            </a:pathLst>
          </a:custGeom>
          <a:gradFill flip="none" rotWithShape="1">
            <a:gsLst>
              <a:gs pos="0">
                <a:srgbClr val="00677F"/>
              </a:gs>
              <a:gs pos="100000">
                <a:srgbClr val="00677F"/>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Freeform 5">
            <a:extLst>
              <a:ext uri="{FF2B5EF4-FFF2-40B4-BE49-F238E27FC236}">
                <a16:creationId xmlns:a16="http://schemas.microsoft.com/office/drawing/2014/main" id="{6EF472CC-A4F1-E140-92F1-B1BA16E24A4C}"/>
              </a:ext>
            </a:extLst>
          </p:cNvPr>
          <p:cNvSpPr/>
          <p:nvPr/>
        </p:nvSpPr>
        <p:spPr>
          <a:xfrm>
            <a:off x="533400" y="2052735"/>
            <a:ext cx="5562600" cy="802432"/>
          </a:xfrm>
          <a:custGeom>
            <a:gdLst>
              <a:gd name="connsiteX0" fmla="*/ 133741 w 5562600"/>
              <a:gd name="connsiteY0" fmla="*/ 0 h 802432"/>
              <a:gd name="connsiteX1" fmla="*/ 5562600 w 5562600"/>
              <a:gd name="connsiteY1" fmla="*/ 0 h 802432"/>
              <a:gd name="connsiteX2" fmla="*/ 5562600 w 5562600"/>
              <a:gd name="connsiteY2" fmla="*/ 802432 h 802432"/>
              <a:gd name="connsiteX3" fmla="*/ 133741 w 5562600"/>
              <a:gd name="connsiteY3" fmla="*/ 802432 h 802432"/>
              <a:gd name="connsiteX4" fmla="*/ 0 w 5562600"/>
              <a:gd name="connsiteY4" fmla="*/ 668691 h 802432"/>
              <a:gd name="connsiteX5" fmla="*/ 0 w 5562600"/>
              <a:gd name="connsiteY5" fmla="*/ 133741 h 802432"/>
              <a:gd name="connsiteX6" fmla="*/ 133741 w 5562600"/>
              <a:gd name="connsiteY6" fmla="*/ 0 h 80243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62600" h="802432">
                <a:moveTo>
                  <a:pt x="133741" y="0"/>
                </a:moveTo>
                <a:lnTo>
                  <a:pt x="5562600" y="0"/>
                </a:lnTo>
                <a:lnTo>
                  <a:pt x="5562600" y="802432"/>
                </a:lnTo>
                <a:lnTo>
                  <a:pt x="133741" y="802432"/>
                </a:lnTo>
                <a:cubicBezTo>
                  <a:pt x="59878" y="802432"/>
                  <a:pt x="0" y="742554"/>
                  <a:pt x="0" y="668691"/>
                </a:cubicBezTo>
                <a:lnTo>
                  <a:pt x="0" y="133741"/>
                </a:lnTo>
                <a:cubicBezTo>
                  <a:pt x="0" y="59878"/>
                  <a:pt x="59878" y="0"/>
                  <a:pt x="133741" y="0"/>
                </a:cubicBezTo>
                <a:close/>
              </a:path>
            </a:pathLst>
          </a:cu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Freeform 8">
            <a:extLst>
              <a:ext uri="{FF2B5EF4-FFF2-40B4-BE49-F238E27FC236}">
                <a16:creationId xmlns:a16="http://schemas.microsoft.com/office/drawing/2014/main" id="{29398179-0327-2C44-AE8F-0C8E76B31CB2}"/>
              </a:ext>
            </a:extLst>
          </p:cNvPr>
          <p:cNvSpPr/>
          <p:nvPr/>
        </p:nvSpPr>
        <p:spPr>
          <a:xfrm>
            <a:off x="6394939" y="2052735"/>
            <a:ext cx="5797061" cy="802432"/>
          </a:xfrm>
          <a:custGeom>
            <a:gdLst>
              <a:gd name="connsiteX0" fmla="*/ 133741 w 5797061"/>
              <a:gd name="connsiteY0" fmla="*/ 0 h 802432"/>
              <a:gd name="connsiteX1" fmla="*/ 368202 w 5797061"/>
              <a:gd name="connsiteY1" fmla="*/ 0 h 802432"/>
              <a:gd name="connsiteX2" fmla="*/ 5562600 w 5797061"/>
              <a:gd name="connsiteY2" fmla="*/ 0 h 802432"/>
              <a:gd name="connsiteX3" fmla="*/ 5797061 w 5797061"/>
              <a:gd name="connsiteY3" fmla="*/ 0 h 802432"/>
              <a:gd name="connsiteX4" fmla="*/ 5797061 w 5797061"/>
              <a:gd name="connsiteY4" fmla="*/ 802432 h 802432"/>
              <a:gd name="connsiteX5" fmla="*/ 5562600 w 5797061"/>
              <a:gd name="connsiteY5" fmla="*/ 802432 h 802432"/>
              <a:gd name="connsiteX6" fmla="*/ 368202 w 5797061"/>
              <a:gd name="connsiteY6" fmla="*/ 802432 h 802432"/>
              <a:gd name="connsiteX7" fmla="*/ 133741 w 5797061"/>
              <a:gd name="connsiteY7" fmla="*/ 802432 h 802432"/>
              <a:gd name="connsiteX8" fmla="*/ 0 w 5797061"/>
              <a:gd name="connsiteY8" fmla="*/ 668691 h 802432"/>
              <a:gd name="connsiteX9" fmla="*/ 0 w 5797061"/>
              <a:gd name="connsiteY9" fmla="*/ 133741 h 802432"/>
              <a:gd name="connsiteX10" fmla="*/ 133741 w 5797061"/>
              <a:gd name="connsiteY10" fmla="*/ 0 h 80243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97061" h="802432">
                <a:moveTo>
                  <a:pt x="133741" y="0"/>
                </a:moveTo>
                <a:lnTo>
                  <a:pt x="368202" y="0"/>
                </a:lnTo>
                <a:lnTo>
                  <a:pt x="5562600" y="0"/>
                </a:lnTo>
                <a:lnTo>
                  <a:pt x="5797061" y="0"/>
                </a:lnTo>
                <a:lnTo>
                  <a:pt x="5797061" y="802432"/>
                </a:lnTo>
                <a:lnTo>
                  <a:pt x="5562600" y="802432"/>
                </a:lnTo>
                <a:lnTo>
                  <a:pt x="368202" y="802432"/>
                </a:lnTo>
                <a:lnTo>
                  <a:pt x="133741" y="802432"/>
                </a:lnTo>
                <a:cubicBezTo>
                  <a:pt x="59878" y="802432"/>
                  <a:pt x="0" y="742554"/>
                  <a:pt x="0" y="668691"/>
                </a:cubicBezTo>
                <a:lnTo>
                  <a:pt x="0" y="133741"/>
                </a:lnTo>
                <a:cubicBezTo>
                  <a:pt x="0" y="59878"/>
                  <a:pt x="59878" y="0"/>
                  <a:pt x="133741" y="0"/>
                </a:cubicBezTo>
                <a:close/>
              </a:path>
            </a:pathLst>
          </a:custGeom>
          <a:solidFill>
            <a:srgbClr val="00ABF7"/>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Rectangle 9">
            <a:extLst>
              <a:ext uri="{FF2B5EF4-FFF2-40B4-BE49-F238E27FC236}">
                <a16:creationId xmlns:a16="http://schemas.microsoft.com/office/drawing/2014/main" id="{A891CA17-EBF3-0F46-8871-FC8A0C005483}"/>
              </a:ext>
            </a:extLst>
          </p:cNvPr>
          <p:cNvSpPr/>
          <p:nvPr/>
        </p:nvSpPr>
        <p:spPr>
          <a:xfrm>
            <a:off x="1323861" y="2330840"/>
            <a:ext cx="2876777" cy="246221"/>
          </a:xfrm>
          <a:prstGeom prst="rect">
            <a:avLst/>
          </a:prstGeom>
        </p:spPr>
        <p:txBody>
          <a:bodyPr wrap="square" lIns="0" tIns="0" rIns="0" bIns="0">
            <a:spAutoFit/>
          </a:bodyPr>
          <a:lstStyle/>
          <a:p>
            <a:pPr>
              <a:spcAft>
                <a:spcPts val="600"/>
              </a:spcAft>
            </a:pPr>
            <a:r>
              <a:rPr lang="en-ID" sz="1600" b="1">
                <a:latin typeface="Segoe UI" panose="020b0502040204020203" pitchFamily="34" charset="0"/>
                <a:cs typeface="Segoe UI" panose="020b0502040204020203" pitchFamily="34" charset="0"/>
              </a:rPr>
              <a:t>Lorem Ipsum Dolor Sir Amet</a:t>
            </a:r>
          </a:p>
        </p:txBody>
      </p:sp>
      <p:sp>
        <p:nvSpPr>
          <p:cNvPr id="11" name="Rectangle 10">
            <a:extLst>
              <a:ext uri="{FF2B5EF4-FFF2-40B4-BE49-F238E27FC236}">
                <a16:creationId xmlns:a16="http://schemas.microsoft.com/office/drawing/2014/main" id="{B6E50EF8-CCEE-6646-BF32-93F8989BF6CF}"/>
              </a:ext>
            </a:extLst>
          </p:cNvPr>
          <p:cNvSpPr/>
          <p:nvPr/>
        </p:nvSpPr>
        <p:spPr>
          <a:xfrm>
            <a:off x="7443308" y="2330840"/>
            <a:ext cx="2876777" cy="246221"/>
          </a:xfrm>
          <a:prstGeom prst="rect">
            <a:avLst/>
          </a:prstGeom>
        </p:spPr>
        <p:txBody>
          <a:bodyPr wrap="square" lIns="0" tIns="0" rIns="0" bIns="0">
            <a:spAutoFit/>
          </a:bodyPr>
          <a:lstStyle/>
          <a:p>
            <a:pPr>
              <a:spcAft>
                <a:spcPts val="600"/>
              </a:spcAft>
            </a:pPr>
            <a:r>
              <a:rPr lang="en-ID" sz="1600" b="1">
                <a:solidFill>
                  <a:schemeClr val="bg1"/>
                </a:solidFill>
                <a:latin typeface="Segoe UI" panose="020b0502040204020203" pitchFamily="34" charset="0"/>
                <a:cs typeface="Segoe UI" panose="020b0502040204020203" pitchFamily="34" charset="0"/>
              </a:rPr>
              <a:t>Lorem Ipsum Dolor Sir Amet</a:t>
            </a:r>
          </a:p>
        </p:txBody>
      </p:sp>
      <p:sp>
        <p:nvSpPr>
          <p:cNvPr id="12" name="Rectangle 11">
            <a:extLst>
              <a:ext uri="{FF2B5EF4-FFF2-40B4-BE49-F238E27FC236}">
                <a16:creationId xmlns:a16="http://schemas.microsoft.com/office/drawing/2014/main" id="{656634B7-4864-FB40-847D-5AC9C628536D}"/>
              </a:ext>
            </a:extLst>
          </p:cNvPr>
          <p:cNvSpPr/>
          <p:nvPr/>
        </p:nvSpPr>
        <p:spPr>
          <a:xfrm>
            <a:off x="1323861" y="3064539"/>
            <a:ext cx="4181994" cy="492443"/>
          </a:xfrm>
          <a:prstGeom prst="rect">
            <a:avLst/>
          </a:prstGeom>
        </p:spPr>
        <p:txBody>
          <a:bodyPr wrap="square" lIns="0" tIns="0" rIns="0" bIns="0" anchor="ctr">
            <a:spAutoFit/>
          </a:bodyPr>
          <a:lstStyle/>
          <a:p>
            <a:r>
              <a:rPr lang="en-ID" sz="1600">
                <a:solidFill>
                  <a:schemeClr val="bg1"/>
                </a:solidFill>
                <a:latin typeface="Segoe UI Light" panose="020b0502040204020203" pitchFamily="34" charset="0"/>
                <a:cs typeface="Segoe UI" panose="020b0502040204020203" pitchFamily="34" charset="0"/>
              </a:rPr>
              <a:t>Lorem ipsum dolor sit amet, consectetur adipiscing elit, sed do eiusmod tempor.</a:t>
            </a:r>
            <a:endParaRPr lang="en-US" sz="1600">
              <a:solidFill>
                <a:schemeClr val="bg1"/>
              </a:solidFill>
              <a:latin typeface="Segoe UI Light" panose="020b0502040204020203" pitchFamily="34" charset="0"/>
              <a:cs typeface="Segoe UI" panose="020b0502040204020203" pitchFamily="34" charset="0"/>
            </a:endParaRPr>
          </a:p>
        </p:txBody>
      </p:sp>
      <p:sp>
        <p:nvSpPr>
          <p:cNvPr id="13" name="Oval 12">
            <a:extLst>
              <a:ext uri="{FF2B5EF4-FFF2-40B4-BE49-F238E27FC236}">
                <a16:creationId xmlns:a16="http://schemas.microsoft.com/office/drawing/2014/main" id="{3C338B5C-0E81-A142-AE52-5603E7B895CB}"/>
              </a:ext>
            </a:extLst>
          </p:cNvPr>
          <p:cNvSpPr/>
          <p:nvPr/>
        </p:nvSpPr>
        <p:spPr>
          <a:xfrm>
            <a:off x="784515" y="3095317"/>
            <a:ext cx="295728" cy="295728"/>
          </a:xfrm>
          <a:prstGeom prst="ellipse">
            <a:avLst/>
          </a:prstGeom>
          <a:solidFill>
            <a:srgbClr val="00ABF7"/>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Freeform 26">
            <a:extLst>
              <a:ext uri="{FF2B5EF4-FFF2-40B4-BE49-F238E27FC236}">
                <a16:creationId xmlns:a16="http://schemas.microsoft.com/office/drawing/2014/main" id="{DA494A77-764A-364E-9380-FA9F490FD331}"/>
              </a:ext>
            </a:extLst>
          </p:cNvPr>
          <p:cNvSpPr/>
          <p:nvPr/>
        </p:nvSpPr>
        <p:spPr bwMode="auto">
          <a:xfrm>
            <a:off x="874127" y="3176440"/>
            <a:ext cx="116504" cy="133482"/>
          </a:xfrm>
          <a:custGeom>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18" name="Rectangle 17">
            <a:extLst>
              <a:ext uri="{FF2B5EF4-FFF2-40B4-BE49-F238E27FC236}">
                <a16:creationId xmlns:a16="http://schemas.microsoft.com/office/drawing/2014/main" id="{AE86F016-87D5-EE4F-A20B-6052A1A3E5A7}"/>
              </a:ext>
            </a:extLst>
          </p:cNvPr>
          <p:cNvSpPr/>
          <p:nvPr/>
        </p:nvSpPr>
        <p:spPr>
          <a:xfrm>
            <a:off x="1323861" y="3735576"/>
            <a:ext cx="4181994" cy="492443"/>
          </a:xfrm>
          <a:prstGeom prst="rect">
            <a:avLst/>
          </a:prstGeom>
        </p:spPr>
        <p:txBody>
          <a:bodyPr wrap="square" lIns="0" tIns="0" rIns="0" bIns="0" anchor="ctr">
            <a:spAutoFit/>
          </a:bodyPr>
          <a:lstStyle/>
          <a:p>
            <a:r>
              <a:rPr lang="en-ID" sz="1600">
                <a:solidFill>
                  <a:schemeClr val="bg1"/>
                </a:solidFill>
                <a:latin typeface="Segoe UI Light" panose="020b0502040204020203" pitchFamily="34" charset="0"/>
                <a:cs typeface="Segoe UI" panose="020b0502040204020203" pitchFamily="34" charset="0"/>
              </a:rPr>
              <a:t>Lorem ipsum dolor sit amet, consectetur adipiscing elit, sed do eiusmod tempor.</a:t>
            </a:r>
            <a:endParaRPr lang="en-US" sz="1600">
              <a:solidFill>
                <a:schemeClr val="bg1"/>
              </a:solidFill>
              <a:latin typeface="Segoe UI Light" panose="020b0502040204020203" pitchFamily="34" charset="0"/>
              <a:cs typeface="Segoe UI" panose="020b0502040204020203" pitchFamily="34" charset="0"/>
            </a:endParaRPr>
          </a:p>
        </p:txBody>
      </p:sp>
      <p:sp>
        <p:nvSpPr>
          <p:cNvPr id="20" name="Oval 19">
            <a:extLst>
              <a:ext uri="{FF2B5EF4-FFF2-40B4-BE49-F238E27FC236}">
                <a16:creationId xmlns:a16="http://schemas.microsoft.com/office/drawing/2014/main" id="{2612689E-9BF1-6342-8CA4-8FD69256DFC3}"/>
              </a:ext>
            </a:extLst>
          </p:cNvPr>
          <p:cNvSpPr/>
          <p:nvPr/>
        </p:nvSpPr>
        <p:spPr>
          <a:xfrm>
            <a:off x="784515" y="3766354"/>
            <a:ext cx="295728" cy="295728"/>
          </a:xfrm>
          <a:prstGeom prst="ellipse">
            <a:avLst/>
          </a:prstGeom>
          <a:solidFill>
            <a:srgbClr val="00ABF7"/>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26">
            <a:extLst>
              <a:ext uri="{FF2B5EF4-FFF2-40B4-BE49-F238E27FC236}">
                <a16:creationId xmlns:a16="http://schemas.microsoft.com/office/drawing/2014/main" id="{1BF408DF-3033-FF43-865F-0D1235320614}"/>
              </a:ext>
            </a:extLst>
          </p:cNvPr>
          <p:cNvSpPr/>
          <p:nvPr/>
        </p:nvSpPr>
        <p:spPr bwMode="auto">
          <a:xfrm>
            <a:off x="874127" y="3847477"/>
            <a:ext cx="116504" cy="133482"/>
          </a:xfrm>
          <a:custGeom>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23" name="Rectangle 22">
            <a:extLst>
              <a:ext uri="{FF2B5EF4-FFF2-40B4-BE49-F238E27FC236}">
                <a16:creationId xmlns:a16="http://schemas.microsoft.com/office/drawing/2014/main" id="{89AF21DA-4F0D-AC40-A08E-48FF9D1B8AB2}"/>
              </a:ext>
            </a:extLst>
          </p:cNvPr>
          <p:cNvSpPr/>
          <p:nvPr/>
        </p:nvSpPr>
        <p:spPr>
          <a:xfrm>
            <a:off x="1323861" y="4406613"/>
            <a:ext cx="4181994" cy="492443"/>
          </a:xfrm>
          <a:prstGeom prst="rect">
            <a:avLst/>
          </a:prstGeom>
        </p:spPr>
        <p:txBody>
          <a:bodyPr wrap="square" lIns="0" tIns="0" rIns="0" bIns="0" anchor="ctr">
            <a:spAutoFit/>
          </a:bodyPr>
          <a:lstStyle/>
          <a:p>
            <a:r>
              <a:rPr lang="en-ID" sz="1600">
                <a:solidFill>
                  <a:schemeClr val="bg1"/>
                </a:solidFill>
                <a:latin typeface="Segoe UI Light" panose="020b0502040204020203" pitchFamily="34" charset="0"/>
                <a:cs typeface="Segoe UI" panose="020b0502040204020203" pitchFamily="34" charset="0"/>
              </a:rPr>
              <a:t>Lorem ipsum dolor sit amet, consectetur adipiscing elit, sed do eiusmod tempor.</a:t>
            </a:r>
            <a:endParaRPr lang="en-US" sz="1600">
              <a:solidFill>
                <a:schemeClr val="bg1"/>
              </a:solidFill>
              <a:latin typeface="Segoe UI Light" panose="020b0502040204020203" pitchFamily="34" charset="0"/>
              <a:cs typeface="Segoe UI" panose="020b0502040204020203" pitchFamily="34" charset="0"/>
            </a:endParaRPr>
          </a:p>
        </p:txBody>
      </p:sp>
      <p:sp>
        <p:nvSpPr>
          <p:cNvPr id="25" name="Oval 24">
            <a:extLst>
              <a:ext uri="{FF2B5EF4-FFF2-40B4-BE49-F238E27FC236}">
                <a16:creationId xmlns:a16="http://schemas.microsoft.com/office/drawing/2014/main" id="{98B1A049-C070-E645-B2F8-1C1D027300B0}"/>
              </a:ext>
            </a:extLst>
          </p:cNvPr>
          <p:cNvSpPr/>
          <p:nvPr/>
        </p:nvSpPr>
        <p:spPr>
          <a:xfrm>
            <a:off x="784515" y="4437391"/>
            <a:ext cx="295728" cy="295728"/>
          </a:xfrm>
          <a:prstGeom prst="ellipse">
            <a:avLst/>
          </a:prstGeom>
          <a:solidFill>
            <a:srgbClr val="00ABF7"/>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6" name="Freeform 26">
            <a:extLst>
              <a:ext uri="{FF2B5EF4-FFF2-40B4-BE49-F238E27FC236}">
                <a16:creationId xmlns:a16="http://schemas.microsoft.com/office/drawing/2014/main" id="{E203B361-B097-9C4A-9642-DD404ED6B3BF}"/>
              </a:ext>
            </a:extLst>
          </p:cNvPr>
          <p:cNvSpPr/>
          <p:nvPr/>
        </p:nvSpPr>
        <p:spPr bwMode="auto">
          <a:xfrm>
            <a:off x="874127" y="4518514"/>
            <a:ext cx="116504" cy="133482"/>
          </a:xfrm>
          <a:custGeom>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29" name="Rectangle 28">
            <a:extLst>
              <a:ext uri="{FF2B5EF4-FFF2-40B4-BE49-F238E27FC236}">
                <a16:creationId xmlns:a16="http://schemas.microsoft.com/office/drawing/2014/main" id="{F74B9D82-6E07-0A4D-A97B-09D3ED193CC1}"/>
              </a:ext>
            </a:extLst>
          </p:cNvPr>
          <p:cNvSpPr/>
          <p:nvPr/>
        </p:nvSpPr>
        <p:spPr>
          <a:xfrm>
            <a:off x="1323861" y="5077650"/>
            <a:ext cx="4181994" cy="492443"/>
          </a:xfrm>
          <a:prstGeom prst="rect">
            <a:avLst/>
          </a:prstGeom>
        </p:spPr>
        <p:txBody>
          <a:bodyPr wrap="square" lIns="0" tIns="0" rIns="0" bIns="0" anchor="ctr">
            <a:spAutoFit/>
          </a:bodyPr>
          <a:lstStyle/>
          <a:p>
            <a:r>
              <a:rPr lang="en-ID" sz="1600">
                <a:solidFill>
                  <a:schemeClr val="bg1"/>
                </a:solidFill>
                <a:latin typeface="Segoe UI Light" panose="020b0502040204020203" pitchFamily="34" charset="0"/>
                <a:cs typeface="Segoe UI" panose="020b0502040204020203" pitchFamily="34" charset="0"/>
              </a:rPr>
              <a:t>Lorem ipsum dolor sit amet, consectetur adipiscing elit, sed do eiusmod tempor.</a:t>
            </a:r>
            <a:endParaRPr lang="en-US" sz="1600">
              <a:solidFill>
                <a:schemeClr val="bg1"/>
              </a:solidFill>
              <a:latin typeface="Segoe UI Light" panose="020b0502040204020203" pitchFamily="34" charset="0"/>
              <a:cs typeface="Segoe UI" panose="020b0502040204020203" pitchFamily="34" charset="0"/>
            </a:endParaRPr>
          </a:p>
        </p:txBody>
      </p:sp>
      <p:sp>
        <p:nvSpPr>
          <p:cNvPr id="31" name="Oval 30">
            <a:extLst>
              <a:ext uri="{FF2B5EF4-FFF2-40B4-BE49-F238E27FC236}">
                <a16:creationId xmlns:a16="http://schemas.microsoft.com/office/drawing/2014/main" id="{D1E8EF94-9F26-F748-B213-DE11350A975C}"/>
              </a:ext>
            </a:extLst>
          </p:cNvPr>
          <p:cNvSpPr/>
          <p:nvPr/>
        </p:nvSpPr>
        <p:spPr>
          <a:xfrm>
            <a:off x="784515" y="5108428"/>
            <a:ext cx="295728" cy="295728"/>
          </a:xfrm>
          <a:prstGeom prst="ellipse">
            <a:avLst/>
          </a:prstGeom>
          <a:solidFill>
            <a:srgbClr val="00ABF7"/>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2" name="Freeform 26">
            <a:extLst>
              <a:ext uri="{FF2B5EF4-FFF2-40B4-BE49-F238E27FC236}">
                <a16:creationId xmlns:a16="http://schemas.microsoft.com/office/drawing/2014/main" id="{E78C3291-02D6-E547-B264-B32DE8E8895A}"/>
              </a:ext>
            </a:extLst>
          </p:cNvPr>
          <p:cNvSpPr/>
          <p:nvPr/>
        </p:nvSpPr>
        <p:spPr bwMode="auto">
          <a:xfrm>
            <a:off x="874127" y="5189551"/>
            <a:ext cx="116504" cy="133482"/>
          </a:xfrm>
          <a:custGeom>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34" name="Rectangle 33">
            <a:extLst>
              <a:ext uri="{FF2B5EF4-FFF2-40B4-BE49-F238E27FC236}">
                <a16:creationId xmlns:a16="http://schemas.microsoft.com/office/drawing/2014/main" id="{2F3822B6-9A12-BF41-A1FB-52B244CEA61C}"/>
              </a:ext>
            </a:extLst>
          </p:cNvPr>
          <p:cNvSpPr/>
          <p:nvPr/>
        </p:nvSpPr>
        <p:spPr>
          <a:xfrm>
            <a:off x="7452015" y="3064539"/>
            <a:ext cx="4106156" cy="492443"/>
          </a:xfrm>
          <a:prstGeom prst="rect">
            <a:avLst/>
          </a:prstGeom>
        </p:spPr>
        <p:txBody>
          <a:bodyPr wrap="square" lIns="0" tIns="0" rIns="0" bIns="0" anchor="ctr">
            <a:spAutoFit/>
          </a:bodyPr>
          <a:lstStyle/>
          <a:p>
            <a:r>
              <a:rPr lang="en-ID" sz="1600">
                <a:latin typeface="Segoe UI Light" panose="020b0502040204020203" pitchFamily="34" charset="0"/>
                <a:cs typeface="Segoe UI" panose="020b0502040204020203" pitchFamily="34" charset="0"/>
              </a:rPr>
              <a:t>Lorem ipsum dolor sit amet, consectetur adipiscing elit, sed do eiusmod tempor.</a:t>
            </a:r>
            <a:endParaRPr lang="en-US" sz="1600">
              <a:latin typeface="Segoe UI Light" panose="020b0502040204020203" pitchFamily="34" charset="0"/>
              <a:cs typeface="Segoe UI" panose="020b0502040204020203" pitchFamily="34" charset="0"/>
            </a:endParaRPr>
          </a:p>
        </p:txBody>
      </p:sp>
      <p:grpSp>
        <p:nvGrpSpPr>
          <p:cNvPr id="35" name="Group 34">
            <a:extLst>
              <a:ext uri="{FF2B5EF4-FFF2-40B4-BE49-F238E27FC236}">
                <a16:creationId xmlns:a16="http://schemas.microsoft.com/office/drawing/2014/main" id="{52536D86-30B0-BB4E-8222-4EC5DF5321D7}"/>
              </a:ext>
            </a:extLst>
          </p:cNvPr>
          <p:cNvGrpSpPr/>
          <p:nvPr/>
        </p:nvGrpSpPr>
        <p:grpSpPr>
          <a:xfrm>
            <a:off x="6766258" y="3095317"/>
            <a:ext cx="295728" cy="295728"/>
            <a:chOff x="533400" y="3133272"/>
            <a:chExt cx="361950" cy="361950"/>
          </a:xfrm>
        </p:grpSpPr>
        <p:sp>
          <p:nvSpPr>
            <p:cNvPr id="36" name="Oval 35">
              <a:extLst>
                <a:ext uri="{FF2B5EF4-FFF2-40B4-BE49-F238E27FC236}">
                  <a16:creationId xmlns:a16="http://schemas.microsoft.com/office/drawing/2014/main" id="{E6D04163-8738-6C4E-8120-7A3224D6AA17}"/>
                </a:ext>
              </a:extLst>
            </p:cNvPr>
            <p:cNvSpPr/>
            <p:nvPr/>
          </p:nvSpPr>
          <p:spPr>
            <a:xfrm>
              <a:off x="533400" y="3133272"/>
              <a:ext cx="361950" cy="361950"/>
            </a:xfrm>
            <a:prstGeom prst="ellipse">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7" name="Freeform 26">
              <a:extLst>
                <a:ext uri="{FF2B5EF4-FFF2-40B4-BE49-F238E27FC236}">
                  <a16:creationId xmlns:a16="http://schemas.microsoft.com/office/drawing/2014/main" id="{F4A55D41-4D79-1044-AF0E-288814FF3CA9}"/>
                </a:ext>
              </a:extLst>
            </p:cNvPr>
            <p:cNvSpPr/>
            <p:nvPr/>
          </p:nvSpPr>
          <p:spPr bwMode="auto">
            <a:xfrm>
              <a:off x="643079" y="3232561"/>
              <a:ext cx="142593" cy="163373"/>
            </a:xfrm>
            <a:custGeom>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rgbClr val="00ABF7"/>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39" name="Rectangle 38">
            <a:extLst>
              <a:ext uri="{FF2B5EF4-FFF2-40B4-BE49-F238E27FC236}">
                <a16:creationId xmlns:a16="http://schemas.microsoft.com/office/drawing/2014/main" id="{32927CCD-24DE-E14B-8BC5-3ED41727FBF2}"/>
              </a:ext>
            </a:extLst>
          </p:cNvPr>
          <p:cNvSpPr/>
          <p:nvPr/>
        </p:nvSpPr>
        <p:spPr>
          <a:xfrm>
            <a:off x="7452015" y="3735576"/>
            <a:ext cx="4106156" cy="492443"/>
          </a:xfrm>
          <a:prstGeom prst="rect">
            <a:avLst/>
          </a:prstGeom>
        </p:spPr>
        <p:txBody>
          <a:bodyPr wrap="square" lIns="0" tIns="0" rIns="0" bIns="0" anchor="ctr">
            <a:spAutoFit/>
          </a:bodyPr>
          <a:lstStyle/>
          <a:p>
            <a:r>
              <a:rPr lang="en-ID" sz="1600">
                <a:latin typeface="Segoe UI Light" panose="020b0502040204020203" pitchFamily="34" charset="0"/>
                <a:cs typeface="Segoe UI" panose="020b0502040204020203" pitchFamily="34" charset="0"/>
              </a:rPr>
              <a:t>Lorem ipsum dolor sit amet, consectetur adipiscing elit, sed do eiusmod tempor.</a:t>
            </a:r>
            <a:endParaRPr lang="en-US" sz="1600">
              <a:latin typeface="Segoe UI Light" panose="020b0502040204020203" pitchFamily="34" charset="0"/>
              <a:cs typeface="Segoe UI" panose="020b0502040204020203" pitchFamily="34" charset="0"/>
            </a:endParaRPr>
          </a:p>
        </p:txBody>
      </p:sp>
      <p:grpSp>
        <p:nvGrpSpPr>
          <p:cNvPr id="40" name="Group 39">
            <a:extLst>
              <a:ext uri="{FF2B5EF4-FFF2-40B4-BE49-F238E27FC236}">
                <a16:creationId xmlns:a16="http://schemas.microsoft.com/office/drawing/2014/main" id="{9C413FFF-D5D6-0646-89A6-9499440725E8}"/>
              </a:ext>
            </a:extLst>
          </p:cNvPr>
          <p:cNvGrpSpPr/>
          <p:nvPr/>
        </p:nvGrpSpPr>
        <p:grpSpPr>
          <a:xfrm>
            <a:off x="6766258" y="3766354"/>
            <a:ext cx="295728" cy="295728"/>
            <a:chOff x="533400" y="3133272"/>
            <a:chExt cx="361950" cy="361950"/>
          </a:xfrm>
        </p:grpSpPr>
        <p:sp>
          <p:nvSpPr>
            <p:cNvPr id="41" name="Oval 40">
              <a:extLst>
                <a:ext uri="{FF2B5EF4-FFF2-40B4-BE49-F238E27FC236}">
                  <a16:creationId xmlns:a16="http://schemas.microsoft.com/office/drawing/2014/main" id="{484E1813-6401-8D43-9056-3B0CA4CCD16F}"/>
                </a:ext>
              </a:extLst>
            </p:cNvPr>
            <p:cNvSpPr/>
            <p:nvPr/>
          </p:nvSpPr>
          <p:spPr>
            <a:xfrm>
              <a:off x="533400" y="3133272"/>
              <a:ext cx="361950" cy="361950"/>
            </a:xfrm>
            <a:prstGeom prst="ellipse">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2" name="Freeform 26">
              <a:extLst>
                <a:ext uri="{FF2B5EF4-FFF2-40B4-BE49-F238E27FC236}">
                  <a16:creationId xmlns:a16="http://schemas.microsoft.com/office/drawing/2014/main" id="{3C7DE306-F4F7-D041-A620-9607F245BC56}"/>
                </a:ext>
              </a:extLst>
            </p:cNvPr>
            <p:cNvSpPr/>
            <p:nvPr/>
          </p:nvSpPr>
          <p:spPr bwMode="auto">
            <a:xfrm>
              <a:off x="643079" y="3232561"/>
              <a:ext cx="142593" cy="163373"/>
            </a:xfrm>
            <a:custGeom>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rgbClr val="00ABF7"/>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44" name="Rectangle 43">
            <a:extLst>
              <a:ext uri="{FF2B5EF4-FFF2-40B4-BE49-F238E27FC236}">
                <a16:creationId xmlns:a16="http://schemas.microsoft.com/office/drawing/2014/main" id="{4187CFFA-089A-2345-82B0-07A4DAD832CD}"/>
              </a:ext>
            </a:extLst>
          </p:cNvPr>
          <p:cNvSpPr/>
          <p:nvPr/>
        </p:nvSpPr>
        <p:spPr>
          <a:xfrm>
            <a:off x="7452015" y="4406613"/>
            <a:ext cx="4106156" cy="492443"/>
          </a:xfrm>
          <a:prstGeom prst="rect">
            <a:avLst/>
          </a:prstGeom>
        </p:spPr>
        <p:txBody>
          <a:bodyPr wrap="square" lIns="0" tIns="0" rIns="0" bIns="0" anchor="ctr">
            <a:spAutoFit/>
          </a:bodyPr>
          <a:lstStyle/>
          <a:p>
            <a:r>
              <a:rPr lang="en-ID" sz="1600">
                <a:latin typeface="Segoe UI Light" panose="020b0502040204020203" pitchFamily="34" charset="0"/>
                <a:cs typeface="Segoe UI" panose="020b0502040204020203" pitchFamily="34" charset="0"/>
              </a:rPr>
              <a:t>Lorem ipsum dolor sit amet, consectetur adipiscing elit, sed do eiusmod tempor.</a:t>
            </a:r>
            <a:endParaRPr lang="en-US" sz="1600">
              <a:latin typeface="Segoe UI Light" panose="020b0502040204020203" pitchFamily="34" charset="0"/>
              <a:cs typeface="Segoe UI" panose="020b0502040204020203" pitchFamily="34" charset="0"/>
            </a:endParaRPr>
          </a:p>
        </p:txBody>
      </p:sp>
      <p:grpSp>
        <p:nvGrpSpPr>
          <p:cNvPr id="45" name="Group 44">
            <a:extLst>
              <a:ext uri="{FF2B5EF4-FFF2-40B4-BE49-F238E27FC236}">
                <a16:creationId xmlns:a16="http://schemas.microsoft.com/office/drawing/2014/main" id="{AB5778AB-0060-3F4C-8689-83725520DC91}"/>
              </a:ext>
            </a:extLst>
          </p:cNvPr>
          <p:cNvGrpSpPr/>
          <p:nvPr/>
        </p:nvGrpSpPr>
        <p:grpSpPr>
          <a:xfrm>
            <a:off x="6766258" y="4437391"/>
            <a:ext cx="295728" cy="295728"/>
            <a:chOff x="533400" y="3133272"/>
            <a:chExt cx="361950" cy="361950"/>
          </a:xfrm>
        </p:grpSpPr>
        <p:sp>
          <p:nvSpPr>
            <p:cNvPr id="46" name="Oval 45">
              <a:extLst>
                <a:ext uri="{FF2B5EF4-FFF2-40B4-BE49-F238E27FC236}">
                  <a16:creationId xmlns:a16="http://schemas.microsoft.com/office/drawing/2014/main" id="{E0B4C7FD-D25C-BD4B-9093-D2A73C7364BC}"/>
                </a:ext>
              </a:extLst>
            </p:cNvPr>
            <p:cNvSpPr/>
            <p:nvPr/>
          </p:nvSpPr>
          <p:spPr>
            <a:xfrm>
              <a:off x="533400" y="3133272"/>
              <a:ext cx="361950" cy="361950"/>
            </a:xfrm>
            <a:prstGeom prst="ellipse">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7" name="Freeform 26">
              <a:extLst>
                <a:ext uri="{FF2B5EF4-FFF2-40B4-BE49-F238E27FC236}">
                  <a16:creationId xmlns:a16="http://schemas.microsoft.com/office/drawing/2014/main" id="{567A0F2C-1FFB-6040-BEAD-7C3A5441C85D}"/>
                </a:ext>
              </a:extLst>
            </p:cNvPr>
            <p:cNvSpPr/>
            <p:nvPr/>
          </p:nvSpPr>
          <p:spPr bwMode="auto">
            <a:xfrm>
              <a:off x="643079" y="3232561"/>
              <a:ext cx="142593" cy="163373"/>
            </a:xfrm>
            <a:custGeom>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rgbClr val="00ABF7"/>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49" name="Rectangle 48">
            <a:extLst>
              <a:ext uri="{FF2B5EF4-FFF2-40B4-BE49-F238E27FC236}">
                <a16:creationId xmlns:a16="http://schemas.microsoft.com/office/drawing/2014/main" id="{79629CB8-08BE-5C40-9F2A-3EAFD3E057F6}"/>
              </a:ext>
            </a:extLst>
          </p:cNvPr>
          <p:cNvSpPr/>
          <p:nvPr/>
        </p:nvSpPr>
        <p:spPr>
          <a:xfrm>
            <a:off x="7452015" y="5077650"/>
            <a:ext cx="4106156" cy="492443"/>
          </a:xfrm>
          <a:prstGeom prst="rect">
            <a:avLst/>
          </a:prstGeom>
        </p:spPr>
        <p:txBody>
          <a:bodyPr wrap="square" lIns="0" tIns="0" rIns="0" bIns="0" anchor="ctr">
            <a:spAutoFit/>
          </a:bodyPr>
          <a:lstStyle/>
          <a:p>
            <a:r>
              <a:rPr lang="en-ID" sz="1600">
                <a:latin typeface="Segoe UI Light" panose="020b0502040204020203" pitchFamily="34" charset="0"/>
                <a:cs typeface="Segoe UI" panose="020b0502040204020203" pitchFamily="34" charset="0"/>
              </a:rPr>
              <a:t>Lorem ipsum dolor sit amet, consectetur adipiscing elit, sed do eiusmod tempor.</a:t>
            </a:r>
            <a:endParaRPr lang="en-US" sz="1600">
              <a:latin typeface="Segoe UI Light" panose="020b0502040204020203" pitchFamily="34" charset="0"/>
              <a:cs typeface="Segoe UI" panose="020b0502040204020203" pitchFamily="34" charset="0"/>
            </a:endParaRPr>
          </a:p>
        </p:txBody>
      </p:sp>
      <p:grpSp>
        <p:nvGrpSpPr>
          <p:cNvPr id="50" name="Group 49">
            <a:extLst>
              <a:ext uri="{FF2B5EF4-FFF2-40B4-BE49-F238E27FC236}">
                <a16:creationId xmlns:a16="http://schemas.microsoft.com/office/drawing/2014/main" id="{5458883C-27F2-BC43-ACF4-73026F357E7B}"/>
              </a:ext>
            </a:extLst>
          </p:cNvPr>
          <p:cNvGrpSpPr/>
          <p:nvPr/>
        </p:nvGrpSpPr>
        <p:grpSpPr>
          <a:xfrm>
            <a:off x="6766258" y="5108428"/>
            <a:ext cx="295728" cy="295728"/>
            <a:chOff x="533400" y="3133272"/>
            <a:chExt cx="361950" cy="361950"/>
          </a:xfrm>
        </p:grpSpPr>
        <p:sp>
          <p:nvSpPr>
            <p:cNvPr id="51" name="Oval 50">
              <a:extLst>
                <a:ext uri="{FF2B5EF4-FFF2-40B4-BE49-F238E27FC236}">
                  <a16:creationId xmlns:a16="http://schemas.microsoft.com/office/drawing/2014/main" id="{37AFDF68-93CA-1F4D-95EE-92123449AB25}"/>
                </a:ext>
              </a:extLst>
            </p:cNvPr>
            <p:cNvSpPr/>
            <p:nvPr/>
          </p:nvSpPr>
          <p:spPr>
            <a:xfrm>
              <a:off x="533400" y="3133272"/>
              <a:ext cx="361950" cy="361950"/>
            </a:xfrm>
            <a:prstGeom prst="ellipse">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2" name="Freeform 26">
              <a:extLst>
                <a:ext uri="{FF2B5EF4-FFF2-40B4-BE49-F238E27FC236}">
                  <a16:creationId xmlns:a16="http://schemas.microsoft.com/office/drawing/2014/main" id="{9C78A06B-44D6-9C42-AAE8-CEB857B9BB6D}"/>
                </a:ext>
              </a:extLst>
            </p:cNvPr>
            <p:cNvSpPr/>
            <p:nvPr/>
          </p:nvSpPr>
          <p:spPr bwMode="auto">
            <a:xfrm>
              <a:off x="643080" y="3232561"/>
              <a:ext cx="142593" cy="163372"/>
            </a:xfrm>
            <a:custGeom>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rgbClr val="00ABF7"/>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55" name="Group 54">
            <a:extLst>
              <a:ext uri="{FF2B5EF4-FFF2-40B4-BE49-F238E27FC236}">
                <a16:creationId xmlns:a16="http://schemas.microsoft.com/office/drawing/2014/main" id="{38AC51B6-A2C1-5F48-8527-E12D2D3F679B}"/>
              </a:ext>
            </a:extLst>
          </p:cNvPr>
          <p:cNvGrpSpPr/>
          <p:nvPr/>
        </p:nvGrpSpPr>
        <p:grpSpPr>
          <a:xfrm>
            <a:off x="6719419" y="2258350"/>
            <a:ext cx="389406" cy="391202"/>
            <a:chOff x="9169401" y="2895601"/>
            <a:chExt cx="344488" cy="346076"/>
          </a:xfrm>
        </p:grpSpPr>
        <p:sp>
          <p:nvSpPr>
            <p:cNvPr id="56" name="Freeform 75">
              <a:extLst>
                <a:ext uri="{FF2B5EF4-FFF2-40B4-BE49-F238E27FC236}">
                  <a16:creationId xmlns:a16="http://schemas.microsoft.com/office/drawing/2014/main" id="{C4018AB6-4BA6-D74F-AD7F-309C36B6F24E}"/>
                </a:ext>
              </a:extLst>
            </p:cNvPr>
            <p:cNvSpPr/>
            <p:nvPr/>
          </p:nvSpPr>
          <p:spPr bwMode="auto">
            <a:xfrm>
              <a:off x="9169401" y="3135314"/>
              <a:ext cx="344488" cy="106363"/>
            </a:xfrm>
            <a:custGeom>
              <a:gdLst>
                <a:gd name="T0" fmla="*/ 92 w 92"/>
                <a:gd name="T1" fmla="*/ 28 h 28"/>
                <a:gd name="T2" fmla="*/ 0 w 92"/>
                <a:gd name="T3" fmla="*/ 28 h 28"/>
                <a:gd name="T4" fmla="*/ 0 w 92"/>
                <a:gd name="T5" fmla="*/ 0 h 28"/>
                <a:gd name="T6" fmla="*/ 30 w 92"/>
                <a:gd name="T7" fmla="*/ 0 h 28"/>
                <a:gd name="T8" fmla="*/ 30 w 92"/>
                <a:gd name="T9" fmla="*/ 4 h 28"/>
                <a:gd name="T10" fmla="*/ 38 w 92"/>
                <a:gd name="T11" fmla="*/ 12 h 28"/>
                <a:gd name="T12" fmla="*/ 56 w 92"/>
                <a:gd name="T13" fmla="*/ 12 h 28"/>
                <a:gd name="T14" fmla="*/ 64 w 92"/>
                <a:gd name="T15" fmla="*/ 4 h 28"/>
                <a:gd name="T16" fmla="*/ 64 w 92"/>
                <a:gd name="T17" fmla="*/ 0 h 28"/>
                <a:gd name="T18" fmla="*/ 92 w 92"/>
                <a:gd name="T19" fmla="*/ 0 h 28"/>
                <a:gd name="T20" fmla="*/ 92 w 92"/>
                <a:gd name="T21" fmla="*/ 28 h 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28">
                  <a:moveTo>
                    <a:pt x="92" y="28"/>
                  </a:moveTo>
                  <a:cubicBezTo>
                    <a:pt x="0" y="28"/>
                    <a:pt x="0" y="28"/>
                    <a:pt x="0" y="28"/>
                  </a:cubicBezTo>
                  <a:cubicBezTo>
                    <a:pt x="0" y="0"/>
                    <a:pt x="0" y="0"/>
                    <a:pt x="0" y="0"/>
                  </a:cubicBezTo>
                  <a:cubicBezTo>
                    <a:pt x="30" y="0"/>
                    <a:pt x="30" y="0"/>
                    <a:pt x="30" y="0"/>
                  </a:cubicBezTo>
                  <a:cubicBezTo>
                    <a:pt x="30" y="4"/>
                    <a:pt x="30" y="4"/>
                    <a:pt x="30" y="4"/>
                  </a:cubicBezTo>
                  <a:cubicBezTo>
                    <a:pt x="30" y="8"/>
                    <a:pt x="34" y="12"/>
                    <a:pt x="38" y="12"/>
                  </a:cubicBezTo>
                  <a:cubicBezTo>
                    <a:pt x="56" y="12"/>
                    <a:pt x="56" y="12"/>
                    <a:pt x="56" y="12"/>
                  </a:cubicBezTo>
                  <a:cubicBezTo>
                    <a:pt x="60" y="12"/>
                    <a:pt x="64" y="8"/>
                    <a:pt x="64" y="4"/>
                  </a:cubicBezTo>
                  <a:cubicBezTo>
                    <a:pt x="64" y="0"/>
                    <a:pt x="64" y="0"/>
                    <a:pt x="64" y="0"/>
                  </a:cubicBezTo>
                  <a:cubicBezTo>
                    <a:pt x="92" y="0"/>
                    <a:pt x="92" y="0"/>
                    <a:pt x="92" y="0"/>
                  </a:cubicBezTo>
                  <a:lnTo>
                    <a:pt x="92" y="28"/>
                  </a:lnTo>
                  <a:close/>
                </a:path>
              </a:pathLst>
            </a:custGeom>
            <a:noFill/>
            <a:ln w="15875"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7" name="Freeform 76">
              <a:extLst>
                <a:ext uri="{FF2B5EF4-FFF2-40B4-BE49-F238E27FC236}">
                  <a16:creationId xmlns:a16="http://schemas.microsoft.com/office/drawing/2014/main" id="{A899A684-E454-E147-97BC-15B9E88E16EA}"/>
                </a:ext>
              </a:extLst>
            </p:cNvPr>
            <p:cNvSpPr/>
            <p:nvPr/>
          </p:nvSpPr>
          <p:spPr bwMode="auto">
            <a:xfrm>
              <a:off x="9169401" y="3044826"/>
              <a:ext cx="104775" cy="90488"/>
            </a:xfrm>
            <a:custGeom>
              <a:gdLst>
                <a:gd name="T0" fmla="*/ 0 w 66"/>
                <a:gd name="T1" fmla="*/ 57 h 57"/>
                <a:gd name="T2" fmla="*/ 33 w 66"/>
                <a:gd name="T3" fmla="*/ 0 h 57"/>
                <a:gd name="T4" fmla="*/ 66 w 66"/>
                <a:gd name="T5" fmla="*/ 0 h 57"/>
              </a:gdLst>
              <a:cxnLst>
                <a:cxn ang="0">
                  <a:pos x="T0" y="T1"/>
                </a:cxn>
                <a:cxn ang="0">
                  <a:pos x="T2" y="T3"/>
                </a:cxn>
                <a:cxn ang="0">
                  <a:pos x="T4" y="T5"/>
                </a:cxn>
              </a:cxnLst>
              <a:rect l="0" t="0" r="r" b="b"/>
              <a:pathLst>
                <a:path w="66" h="57">
                  <a:moveTo>
                    <a:pt x="0" y="57"/>
                  </a:moveTo>
                  <a:lnTo>
                    <a:pt x="33" y="0"/>
                  </a:lnTo>
                  <a:lnTo>
                    <a:pt x="66" y="0"/>
                  </a:lnTo>
                </a:path>
              </a:pathLst>
            </a:custGeom>
            <a:noFill/>
            <a:ln w="15875"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8" name="Freeform 77">
              <a:extLst>
                <a:ext uri="{FF2B5EF4-FFF2-40B4-BE49-F238E27FC236}">
                  <a16:creationId xmlns:a16="http://schemas.microsoft.com/office/drawing/2014/main" id="{C9FF8FD9-B907-DD42-9EEF-3D4F91B3E5EC}"/>
                </a:ext>
              </a:extLst>
            </p:cNvPr>
            <p:cNvSpPr/>
            <p:nvPr/>
          </p:nvSpPr>
          <p:spPr bwMode="auto">
            <a:xfrm>
              <a:off x="9424988" y="3044826"/>
              <a:ext cx="88900" cy="90488"/>
            </a:xfrm>
            <a:custGeom>
              <a:gdLst>
                <a:gd name="T0" fmla="*/ 0 w 56"/>
                <a:gd name="T1" fmla="*/ 0 h 57"/>
                <a:gd name="T2" fmla="*/ 23 w 56"/>
                <a:gd name="T3" fmla="*/ 0 h 57"/>
                <a:gd name="T4" fmla="*/ 56 w 56"/>
                <a:gd name="T5" fmla="*/ 57 h 57"/>
              </a:gdLst>
              <a:cxnLst>
                <a:cxn ang="0">
                  <a:pos x="T0" y="T1"/>
                </a:cxn>
                <a:cxn ang="0">
                  <a:pos x="T2" y="T3"/>
                </a:cxn>
                <a:cxn ang="0">
                  <a:pos x="T4" y="T5"/>
                </a:cxn>
              </a:cxnLst>
              <a:rect l="0" t="0" r="r" b="b"/>
              <a:pathLst>
                <a:path w="56" h="57">
                  <a:moveTo>
                    <a:pt x="0" y="0"/>
                  </a:moveTo>
                  <a:lnTo>
                    <a:pt x="23" y="0"/>
                  </a:lnTo>
                  <a:lnTo>
                    <a:pt x="56" y="57"/>
                  </a:lnTo>
                </a:path>
              </a:pathLst>
            </a:custGeom>
            <a:noFill/>
            <a:ln w="15875"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9" name="Line 78">
              <a:extLst>
                <a:ext uri="{FF2B5EF4-FFF2-40B4-BE49-F238E27FC236}">
                  <a16:creationId xmlns:a16="http://schemas.microsoft.com/office/drawing/2014/main" id="{2F59C328-7F3D-444B-8719-4D7C4B10C01D}"/>
                </a:ext>
              </a:extLst>
            </p:cNvPr>
            <p:cNvSpPr>
              <a:spLocks noChangeShapeType="1"/>
            </p:cNvSpPr>
            <p:nvPr/>
          </p:nvSpPr>
          <p:spPr bwMode="auto">
            <a:xfrm flipH="1">
              <a:off x="9348788" y="2895601"/>
              <a:ext cx="0" cy="165100"/>
            </a:xfrm>
            <a:prstGeom prst="line">
              <a:avLst/>
            </a:prstGeom>
            <a:noFill/>
            <a:ln w="15875"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0" name="Freeform 79">
              <a:extLst>
                <a:ext uri="{FF2B5EF4-FFF2-40B4-BE49-F238E27FC236}">
                  <a16:creationId xmlns:a16="http://schemas.microsoft.com/office/drawing/2014/main" id="{79B13241-7E48-B842-80F6-D2922C68A8DF}"/>
                </a:ext>
              </a:extLst>
            </p:cNvPr>
            <p:cNvSpPr/>
            <p:nvPr/>
          </p:nvSpPr>
          <p:spPr bwMode="auto">
            <a:xfrm>
              <a:off x="9288463" y="2895601"/>
              <a:ext cx="120650" cy="60325"/>
            </a:xfrm>
            <a:custGeom>
              <a:gdLst>
                <a:gd name="T0" fmla="*/ 0 w 76"/>
                <a:gd name="T1" fmla="*/ 38 h 38"/>
                <a:gd name="T2" fmla="*/ 38 w 76"/>
                <a:gd name="T3" fmla="*/ 0 h 38"/>
                <a:gd name="T4" fmla="*/ 76 w 76"/>
                <a:gd name="T5" fmla="*/ 38 h 38"/>
              </a:gdLst>
              <a:cxnLst>
                <a:cxn ang="0">
                  <a:pos x="T0" y="T1"/>
                </a:cxn>
                <a:cxn ang="0">
                  <a:pos x="T2" y="T3"/>
                </a:cxn>
                <a:cxn ang="0">
                  <a:pos x="T4" y="T5"/>
                </a:cxn>
              </a:cxnLst>
              <a:rect l="0" t="0" r="r" b="b"/>
              <a:pathLst>
                <a:path w="76" h="38">
                  <a:moveTo>
                    <a:pt x="0" y="38"/>
                  </a:moveTo>
                  <a:lnTo>
                    <a:pt x="38" y="0"/>
                  </a:lnTo>
                  <a:lnTo>
                    <a:pt x="76" y="38"/>
                  </a:lnTo>
                </a:path>
              </a:pathLst>
            </a:custGeom>
            <a:noFill/>
            <a:ln w="15875"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61" name="Group 60">
            <a:extLst>
              <a:ext uri="{FF2B5EF4-FFF2-40B4-BE49-F238E27FC236}">
                <a16:creationId xmlns:a16="http://schemas.microsoft.com/office/drawing/2014/main" id="{8B197AAC-C4D2-CC47-861D-DC030FAE76E5}"/>
              </a:ext>
            </a:extLst>
          </p:cNvPr>
          <p:cNvGrpSpPr/>
          <p:nvPr/>
        </p:nvGrpSpPr>
        <p:grpSpPr>
          <a:xfrm>
            <a:off x="764428" y="2295995"/>
            <a:ext cx="346076" cy="315912"/>
            <a:chOff x="2678113" y="1465264"/>
            <a:chExt cx="346076" cy="315912"/>
          </a:xfrm>
        </p:grpSpPr>
        <p:sp>
          <p:nvSpPr>
            <p:cNvPr id="62" name="Freeform 170">
              <a:extLst>
                <a:ext uri="{FF2B5EF4-FFF2-40B4-BE49-F238E27FC236}">
                  <a16:creationId xmlns:a16="http://schemas.microsoft.com/office/drawing/2014/main" id="{B69BDAAD-2AE0-3D41-8BBA-13603EA3AE51}"/>
                </a:ext>
              </a:extLst>
            </p:cNvPr>
            <p:cNvSpPr/>
            <p:nvPr/>
          </p:nvSpPr>
          <p:spPr bwMode="auto">
            <a:xfrm>
              <a:off x="2678113" y="1465264"/>
              <a:ext cx="346075" cy="195263"/>
            </a:xfrm>
            <a:custGeom>
              <a:gdLst>
                <a:gd name="T0" fmla="*/ 218 w 218"/>
                <a:gd name="T1" fmla="*/ 0 h 123"/>
                <a:gd name="T2" fmla="*/ 0 w 218"/>
                <a:gd name="T3" fmla="*/ 90 h 123"/>
                <a:gd name="T4" fmla="*/ 85 w 218"/>
                <a:gd name="T5" fmla="*/ 123 h 123"/>
                <a:gd name="T6" fmla="*/ 218 w 218"/>
                <a:gd name="T7" fmla="*/ 0 h 123"/>
              </a:gdLst>
              <a:cxnLst>
                <a:cxn ang="0">
                  <a:pos x="T0" y="T1"/>
                </a:cxn>
                <a:cxn ang="0">
                  <a:pos x="T2" y="T3"/>
                </a:cxn>
                <a:cxn ang="0">
                  <a:pos x="T4" y="T5"/>
                </a:cxn>
                <a:cxn ang="0">
                  <a:pos x="T6" y="T7"/>
                </a:cxn>
              </a:cxnLst>
              <a:rect l="0" t="0" r="r" b="b"/>
              <a:pathLst>
                <a:path w="218" h="123">
                  <a:moveTo>
                    <a:pt x="218" y="0"/>
                  </a:moveTo>
                  <a:lnTo>
                    <a:pt x="0" y="90"/>
                  </a:lnTo>
                  <a:lnTo>
                    <a:pt x="85" y="123"/>
                  </a:lnTo>
                  <a:lnTo>
                    <a:pt x="218" y="0"/>
                  </a:lnTo>
                  <a:close/>
                </a:path>
              </a:pathLst>
            </a:custGeom>
            <a:noFill/>
            <a:ln w="15875" cap="flat">
              <a:solidFill>
                <a:srgbClr val="000000"/>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3" name="Freeform 171">
              <a:extLst>
                <a:ext uri="{FF2B5EF4-FFF2-40B4-BE49-F238E27FC236}">
                  <a16:creationId xmlns:a16="http://schemas.microsoft.com/office/drawing/2014/main" id="{106305FD-F93A-204B-B654-BC08099A0DC2}"/>
                </a:ext>
              </a:extLst>
            </p:cNvPr>
            <p:cNvSpPr/>
            <p:nvPr/>
          </p:nvSpPr>
          <p:spPr bwMode="auto">
            <a:xfrm>
              <a:off x="2813051" y="1465264"/>
              <a:ext cx="211138" cy="279400"/>
            </a:xfrm>
            <a:custGeom>
              <a:gdLst>
                <a:gd name="T0" fmla="*/ 133 w 133"/>
                <a:gd name="T1" fmla="*/ 0 h 176"/>
                <a:gd name="T2" fmla="*/ 95 w 133"/>
                <a:gd name="T3" fmla="*/ 176 h 176"/>
                <a:gd name="T4" fmla="*/ 0 w 133"/>
                <a:gd name="T5" fmla="*/ 123 h 176"/>
                <a:gd name="T6" fmla="*/ 133 w 133"/>
                <a:gd name="T7" fmla="*/ 0 h 176"/>
              </a:gdLst>
              <a:cxnLst>
                <a:cxn ang="0">
                  <a:pos x="T0" y="T1"/>
                </a:cxn>
                <a:cxn ang="0">
                  <a:pos x="T2" y="T3"/>
                </a:cxn>
                <a:cxn ang="0">
                  <a:pos x="T4" y="T5"/>
                </a:cxn>
                <a:cxn ang="0">
                  <a:pos x="T6" y="T7"/>
                </a:cxn>
              </a:cxnLst>
              <a:rect l="0" t="0" r="r" b="b"/>
              <a:pathLst>
                <a:path w="133" h="176">
                  <a:moveTo>
                    <a:pt x="133" y="0"/>
                  </a:moveTo>
                  <a:lnTo>
                    <a:pt x="95" y="176"/>
                  </a:lnTo>
                  <a:lnTo>
                    <a:pt x="0" y="123"/>
                  </a:lnTo>
                  <a:lnTo>
                    <a:pt x="133" y="0"/>
                  </a:lnTo>
                  <a:close/>
                </a:path>
              </a:pathLst>
            </a:custGeom>
            <a:noFill/>
            <a:ln w="15875" cap="flat">
              <a:solidFill>
                <a:srgbClr val="000000"/>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4" name="Freeform 172">
              <a:extLst>
                <a:ext uri="{FF2B5EF4-FFF2-40B4-BE49-F238E27FC236}">
                  <a16:creationId xmlns:a16="http://schemas.microsoft.com/office/drawing/2014/main" id="{B1BB78A1-9468-C24A-8405-1D6ABC57D71C}"/>
                </a:ext>
              </a:extLst>
            </p:cNvPr>
            <p:cNvSpPr/>
            <p:nvPr/>
          </p:nvSpPr>
          <p:spPr bwMode="auto">
            <a:xfrm>
              <a:off x="2813051" y="1660526"/>
              <a:ext cx="52388" cy="120650"/>
            </a:xfrm>
            <a:custGeom>
              <a:gdLst>
                <a:gd name="T0" fmla="*/ 0 w 33"/>
                <a:gd name="T1" fmla="*/ 0 h 76"/>
                <a:gd name="T2" fmla="*/ 0 w 33"/>
                <a:gd name="T3" fmla="*/ 76 h 76"/>
                <a:gd name="T4" fmla="*/ 33 w 33"/>
                <a:gd name="T5" fmla="*/ 19 h 76"/>
              </a:gdLst>
              <a:cxnLst>
                <a:cxn ang="0">
                  <a:pos x="T0" y="T1"/>
                </a:cxn>
                <a:cxn ang="0">
                  <a:pos x="T2" y="T3"/>
                </a:cxn>
                <a:cxn ang="0">
                  <a:pos x="T4" y="T5"/>
                </a:cxn>
              </a:cxnLst>
              <a:rect l="0" t="0" r="r" b="b"/>
              <a:pathLst>
                <a:path w="33" h="76">
                  <a:moveTo>
                    <a:pt x="0" y="0"/>
                  </a:moveTo>
                  <a:lnTo>
                    <a:pt x="0" y="76"/>
                  </a:lnTo>
                  <a:lnTo>
                    <a:pt x="33" y="19"/>
                  </a:lnTo>
                </a:path>
              </a:pathLst>
            </a:custGeom>
            <a:noFill/>
            <a:ln w="15875" cap="flat">
              <a:solidFill>
                <a:srgbClr val="000000"/>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cxnSp>
        <p:nvCxnSpPr>
          <p:cNvPr id="7" name="Conector recto 6">
            <a:extLst>
              <a:ext uri="{FF2B5EF4-FFF2-40B4-BE49-F238E27FC236}">
                <a16:creationId xmlns:a16="http://schemas.microsoft.com/office/drawing/2014/main" id="{0E86532B-F3C2-310C-FB88-9E602C5B8324}"/>
              </a:ext>
            </a:extLst>
          </p:cNvPr>
          <p:cNvCxnSpPr/>
          <p:nvPr/>
        </p:nvCxnSpPr>
        <p:spPr>
          <a:xfrm flipH="1">
            <a:off x="990631" y="1011118"/>
            <a:ext cx="10243035" cy="14931"/>
          </a:xfrm>
          <a:prstGeom prst="line">
            <a:avLst/>
          </a:prstGeom>
          <a:ln w="28575">
            <a:solidFill>
              <a:srgbClr val="00677F"/>
            </a:solidFill>
          </a:ln>
        </p:spPr>
        <p:style>
          <a:lnRef idx="1">
            <a:schemeClr val="accent1"/>
          </a:lnRef>
          <a:fillRef idx="0">
            <a:schemeClr val="accent1"/>
          </a:fillRef>
          <a:effectRef idx="0">
            <a:schemeClr val="accent1"/>
          </a:effectRef>
          <a:fontRef idx="minor">
            <a:schemeClr val="tx1"/>
          </a:fontRef>
        </p:style>
      </p:cxnSp>
      <p:pic>
        <p:nvPicPr>
          <p:cNvPr id="8" name="Imagen 7">
            <a:extLst>
              <a:ext uri="{FF2B5EF4-FFF2-40B4-BE49-F238E27FC236}">
                <a16:creationId xmlns:a16="http://schemas.microsoft.com/office/drawing/2014/main" id="{A0F63E77-A5AB-485F-4B97-36E489F71E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41323" y="152883"/>
            <a:ext cx="1384685" cy="1384685"/>
          </a:xfrm>
          <a:prstGeom prst="rect">
            <a:avLst/>
          </a:prstGeom>
        </p:spPr>
      </p:pic>
      <p:sp>
        <p:nvSpPr>
          <p:cNvPr id="15" name="TextBox 9">
            <a:extLst>
              <a:ext uri="{FF2B5EF4-FFF2-40B4-BE49-F238E27FC236}">
                <a16:creationId xmlns:a16="http://schemas.microsoft.com/office/drawing/2014/main" id="{4969A51C-227D-5BD1-73CF-E3C6E187CE4B}"/>
              </a:ext>
            </a:extLst>
          </p:cNvPr>
          <p:cNvSpPr txBox="1"/>
          <p:nvPr/>
        </p:nvSpPr>
        <p:spPr>
          <a:xfrm>
            <a:off x="914171" y="127378"/>
            <a:ext cx="3876061" cy="923330"/>
          </a:xfrm>
          <a:prstGeom prst="rect">
            <a:avLst/>
          </a:prstGeom>
          <a:noFill/>
        </p:spPr>
        <p:txBody>
          <a:bodyPr wrap="none" lIns="0" tIns="0" rIns="0" bIns="0" rtlCol="0">
            <a:spAutoFit/>
          </a:bodyPr>
          <a:lstStyle/>
          <a:p>
            <a:r>
              <a:rPr lang="en-US" sz="6000" b="1">
                <a:solidFill>
                  <a:schemeClr val="tx1">
                    <a:lumMod val="65000"/>
                    <a:lumOff val="35000"/>
                  </a:schemeClr>
                </a:solidFill>
                <a:latin typeface="Segoe UI" panose="020b0502040204020203" pitchFamily="34" charset="0"/>
                <a:cs typeface="Segoe UI" panose="020b0502040204020203" pitchFamily="34" charset="0"/>
              </a:rPr>
              <a:t>BAHAMAS</a:t>
            </a:r>
          </a:p>
        </p:txBody>
      </p:sp>
      <p:sp>
        <p:nvSpPr>
          <p:cNvPr id="16" name="TextBox 9">
            <a:extLst>
              <a:ext uri="{FF2B5EF4-FFF2-40B4-BE49-F238E27FC236}">
                <a16:creationId xmlns:a16="http://schemas.microsoft.com/office/drawing/2014/main" id="{F174AD6F-003B-E264-24EA-4FD2596A1E70}"/>
              </a:ext>
            </a:extLst>
          </p:cNvPr>
          <p:cNvSpPr txBox="1"/>
          <p:nvPr/>
        </p:nvSpPr>
        <p:spPr>
          <a:xfrm>
            <a:off x="911835" y="1034371"/>
            <a:ext cx="2068067" cy="430887"/>
          </a:xfrm>
          <a:prstGeom prst="rect">
            <a:avLst/>
          </a:prstGeom>
          <a:noFill/>
        </p:spPr>
        <p:txBody>
          <a:bodyPr wrap="none" lIns="0" tIns="0" rIns="0" bIns="0" rtlCol="0">
            <a:spAutoFit/>
          </a:bodyPr>
          <a:lstStyle/>
          <a:p>
            <a:pPr algn="ctr"/>
            <a:r>
              <a:rPr lang="en-US" sz="2800" b="1">
                <a:solidFill>
                  <a:srgbClr val="02BAC8"/>
                </a:solidFill>
                <a:latin typeface="Segoe UI" panose="020b0502040204020203" pitchFamily="34" charset="0"/>
                <a:cs typeface="Segoe UI" panose="020b0502040204020203" pitchFamily="34" charset="0"/>
              </a:rPr>
              <a:t>Gastronomy</a:t>
            </a:r>
          </a:p>
        </p:txBody>
      </p:sp>
      <p:grpSp>
        <p:nvGrpSpPr>
          <p:cNvPr id="17" name="Grupo 16">
            <a:extLst>
              <a:ext uri="{FF2B5EF4-FFF2-40B4-BE49-F238E27FC236}">
                <a16:creationId xmlns:a16="http://schemas.microsoft.com/office/drawing/2014/main" id="{B751F624-DB57-75AF-C9A9-3F493D627F46}"/>
              </a:ext>
            </a:extLst>
          </p:cNvPr>
          <p:cNvGrpSpPr/>
          <p:nvPr/>
        </p:nvGrpSpPr>
        <p:grpSpPr>
          <a:xfrm>
            <a:off x="217726" y="24829"/>
            <a:ext cx="792527" cy="1306401"/>
            <a:chOff x="283851" y="5461857"/>
            <a:chExt cx="846969" cy="1396143"/>
          </a:xfrm>
          <a:solidFill>
            <a:srgbClr val="06DBE7"/>
          </a:solidFill>
        </p:grpSpPr>
        <p:sp>
          <p:nvSpPr>
            <p:cNvPr id="19" name="Forma libre: forma 18">
              <a:extLst>
                <a:ext uri="{FF2B5EF4-FFF2-40B4-BE49-F238E27FC236}">
                  <a16:creationId xmlns:a16="http://schemas.microsoft.com/office/drawing/2014/main" id="{8BED277F-21BB-8972-3AE4-5331C9E5D23A}"/>
                </a:ext>
              </a:extLst>
            </p:cNvPr>
            <p:cNvSpPr/>
            <p:nvPr/>
          </p:nvSpPr>
          <p:spPr>
            <a:xfrm>
              <a:off x="283851" y="5461857"/>
              <a:ext cx="846969" cy="468186"/>
            </a:xfrm>
            <a:custGeom>
              <a:gdLst>
                <a:gd name="connsiteX0" fmla="*/ 585515 w 846969"/>
                <a:gd name="connsiteY0" fmla="*/ 123160 h 468186"/>
                <a:gd name="connsiteX1" fmla="*/ 374091 w 846969"/>
                <a:gd name="connsiteY1" fmla="*/ 150510 h 468186"/>
                <a:gd name="connsiteX2" fmla="*/ 58700 w 846969"/>
                <a:gd name="connsiteY2" fmla="*/ 260683 h 468186"/>
                <a:gd name="connsiteX3" fmla="*/ 7105 w 846969"/>
                <a:gd name="connsiteY3" fmla="*/ 260683 h 468186"/>
                <a:gd name="connsiteX4" fmla="*/ 14476 w 846969"/>
                <a:gd name="connsiteY4" fmla="*/ 205208 h 468186"/>
                <a:gd name="connsiteX5" fmla="*/ 215232 w 846969"/>
                <a:gd name="connsiteY5" fmla="*/ 41694 h 468186"/>
                <a:gd name="connsiteX6" fmla="*/ 547303 w 846969"/>
                <a:gd name="connsiteY6" fmla="*/ 4259 h 468186"/>
                <a:gd name="connsiteX7" fmla="*/ 805280 w 846969"/>
                <a:gd name="connsiteY7" fmla="*/ 54302 h 468186"/>
                <a:gd name="connsiteX8" fmla="*/ 846788 w 846969"/>
                <a:gd name="connsiteY8" fmla="*/ 87470 h 468186"/>
                <a:gd name="connsiteX9" fmla="*/ 815366 w 846969"/>
                <a:gd name="connsiteY9" fmla="*/ 131307 h 468186"/>
                <a:gd name="connsiteX10" fmla="*/ 705968 w 846969"/>
                <a:gd name="connsiteY10" fmla="*/ 242644 h 468186"/>
                <a:gd name="connsiteX11" fmla="*/ 376612 w 846969"/>
                <a:gd name="connsiteY11" fmla="*/ 464348 h 468186"/>
                <a:gd name="connsiteX12" fmla="*/ 89735 w 846969"/>
                <a:gd name="connsiteY12" fmla="*/ 417990 h 468186"/>
                <a:gd name="connsiteX13" fmla="*/ 60058 w 846969"/>
                <a:gd name="connsiteY13" fmla="*/ 386762 h 468186"/>
                <a:gd name="connsiteX14" fmla="*/ 86826 w 846969"/>
                <a:gd name="connsiteY14" fmla="*/ 349326 h 468186"/>
                <a:gd name="connsiteX15" fmla="*/ 550407 w 846969"/>
                <a:gd name="connsiteY15" fmla="*/ 135186 h 468186"/>
                <a:gd name="connsiteX16" fmla="*/ 585321 w 846969"/>
                <a:gd name="connsiteY16" fmla="*/ 123160 h 46818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46969" h="468186">
                  <a:moveTo>
                    <a:pt x="585515" y="123160"/>
                  </a:moveTo>
                  <a:cubicBezTo>
                    <a:pt x="513747" y="122191"/>
                    <a:pt x="443531" y="133829"/>
                    <a:pt x="374091" y="150510"/>
                  </a:cubicBezTo>
                  <a:cubicBezTo>
                    <a:pt x="265275" y="176501"/>
                    <a:pt x="159757" y="212385"/>
                    <a:pt x="58700" y="260683"/>
                  </a:cubicBezTo>
                  <a:cubicBezTo>
                    <a:pt x="41631" y="268830"/>
                    <a:pt x="22816" y="281050"/>
                    <a:pt x="7105" y="260683"/>
                  </a:cubicBezTo>
                  <a:cubicBezTo>
                    <a:pt x="-7636" y="241480"/>
                    <a:pt x="3420" y="222278"/>
                    <a:pt x="14476" y="205208"/>
                  </a:cubicBezTo>
                  <a:cubicBezTo>
                    <a:pt x="63162" y="128591"/>
                    <a:pt x="132990" y="77578"/>
                    <a:pt x="215232" y="41694"/>
                  </a:cubicBezTo>
                  <a:cubicBezTo>
                    <a:pt x="322108" y="-5052"/>
                    <a:pt x="434802" y="-3694"/>
                    <a:pt x="547303" y="4259"/>
                  </a:cubicBezTo>
                  <a:cubicBezTo>
                    <a:pt x="634977" y="10660"/>
                    <a:pt x="720710" y="30638"/>
                    <a:pt x="805280" y="54302"/>
                  </a:cubicBezTo>
                  <a:cubicBezTo>
                    <a:pt x="823706" y="59345"/>
                    <a:pt x="844655" y="64000"/>
                    <a:pt x="846788" y="87470"/>
                  </a:cubicBezTo>
                  <a:cubicBezTo>
                    <a:pt x="848922" y="109583"/>
                    <a:pt x="831853" y="120639"/>
                    <a:pt x="815366" y="131307"/>
                  </a:cubicBezTo>
                  <a:cubicBezTo>
                    <a:pt x="770753" y="160402"/>
                    <a:pt x="734094" y="197450"/>
                    <a:pt x="705968" y="242644"/>
                  </a:cubicBezTo>
                  <a:cubicBezTo>
                    <a:pt x="629351" y="366007"/>
                    <a:pt x="524415" y="447279"/>
                    <a:pt x="376612" y="464348"/>
                  </a:cubicBezTo>
                  <a:cubicBezTo>
                    <a:pt x="276913" y="475792"/>
                    <a:pt x="180706" y="462021"/>
                    <a:pt x="89735" y="417990"/>
                  </a:cubicBezTo>
                  <a:cubicBezTo>
                    <a:pt x="75769" y="411201"/>
                    <a:pt x="60640" y="405188"/>
                    <a:pt x="60058" y="386762"/>
                  </a:cubicBezTo>
                  <a:cubicBezTo>
                    <a:pt x="59476" y="368141"/>
                    <a:pt x="72278" y="358248"/>
                    <a:pt x="86826" y="349326"/>
                  </a:cubicBezTo>
                  <a:cubicBezTo>
                    <a:pt x="232689" y="258937"/>
                    <a:pt x="387281" y="187945"/>
                    <a:pt x="550407" y="135186"/>
                  </a:cubicBezTo>
                  <a:cubicBezTo>
                    <a:pt x="562045" y="131501"/>
                    <a:pt x="573683" y="127234"/>
                    <a:pt x="585321" y="123160"/>
                  </a:cubicBezTo>
                  <a:close/>
                </a:path>
              </a:pathLst>
            </a:custGeom>
            <a:solidFill>
              <a:srgbClr val="00ABF7"/>
            </a:solidFill>
            <a:ln w="19266" cap="flat">
              <a:noFill/>
              <a:prstDash val="solid"/>
              <a:miter/>
            </a:ln>
          </p:spPr>
          <p:txBody>
            <a:bodyPr rtlCol="0" anchor="ctr"/>
            <a:lstStyle/>
            <a:p>
              <a:endParaRPr lang="es-PE"/>
            </a:p>
          </p:txBody>
        </p:sp>
        <p:sp>
          <p:nvSpPr>
            <p:cNvPr id="22" name="Forma libre: forma 21">
              <a:extLst>
                <a:ext uri="{FF2B5EF4-FFF2-40B4-BE49-F238E27FC236}">
                  <a16:creationId xmlns:a16="http://schemas.microsoft.com/office/drawing/2014/main" id="{2EC64E09-7C17-863A-2D02-8FC6045E9918}"/>
                </a:ext>
              </a:extLst>
            </p:cNvPr>
            <p:cNvSpPr/>
            <p:nvPr/>
          </p:nvSpPr>
          <p:spPr>
            <a:xfrm>
              <a:off x="507131" y="5943613"/>
              <a:ext cx="297179" cy="914387"/>
            </a:xfrm>
            <a:custGeom>
              <a:gdLst>
                <a:gd name="connsiteX0" fmla="*/ 76327 w 297179"/>
                <a:gd name="connsiteY0" fmla="*/ 250461 h 914387"/>
                <a:gd name="connsiteX1" fmla="*/ 87189 w 297179"/>
                <a:gd name="connsiteY1" fmla="*/ 213801 h 914387"/>
                <a:gd name="connsiteX2" fmla="*/ 91651 w 297179"/>
                <a:gd name="connsiteY2" fmla="*/ 56494 h 914387"/>
                <a:gd name="connsiteX3" fmla="*/ 107168 w 297179"/>
                <a:gd name="connsiteY3" fmla="*/ 30114 h 914387"/>
                <a:gd name="connsiteX4" fmla="*/ 134323 w 297179"/>
                <a:gd name="connsiteY4" fmla="*/ 56106 h 914387"/>
                <a:gd name="connsiteX5" fmla="*/ 139366 w 297179"/>
                <a:gd name="connsiteY5" fmla="*/ 216128 h 914387"/>
                <a:gd name="connsiteX6" fmla="*/ 149065 w 297179"/>
                <a:gd name="connsiteY6" fmla="*/ 248133 h 914387"/>
                <a:gd name="connsiteX7" fmla="*/ 159733 w 297179"/>
                <a:gd name="connsiteY7" fmla="*/ 208176 h 914387"/>
                <a:gd name="connsiteX8" fmla="*/ 161091 w 297179"/>
                <a:gd name="connsiteY8" fmla="*/ 65028 h 914387"/>
                <a:gd name="connsiteX9" fmla="*/ 161867 w 297179"/>
                <a:gd name="connsiteY9" fmla="*/ 42140 h 914387"/>
                <a:gd name="connsiteX10" fmla="*/ 189798 w 297179"/>
                <a:gd name="connsiteY10" fmla="*/ 20416 h 914387"/>
                <a:gd name="connsiteX11" fmla="*/ 205121 w 297179"/>
                <a:gd name="connsiteY11" fmla="*/ 42916 h 914387"/>
                <a:gd name="connsiteX12" fmla="*/ 208613 w 297179"/>
                <a:gd name="connsiteY12" fmla="*/ 214577 h 914387"/>
                <a:gd name="connsiteX13" fmla="*/ 218699 w 297179"/>
                <a:gd name="connsiteY13" fmla="*/ 245805 h 914387"/>
                <a:gd name="connsiteX14" fmla="*/ 229173 w 297179"/>
                <a:gd name="connsiteY14" fmla="*/ 214965 h 914387"/>
                <a:gd name="connsiteX15" fmla="*/ 234604 w 297179"/>
                <a:gd name="connsiteY15" fmla="*/ 37679 h 914387"/>
                <a:gd name="connsiteX16" fmla="*/ 235574 w 297179"/>
                <a:gd name="connsiteY16" fmla="*/ 20610 h 914387"/>
                <a:gd name="connsiteX17" fmla="*/ 266027 w 297179"/>
                <a:gd name="connsiteY17" fmla="*/ 49 h 914387"/>
                <a:gd name="connsiteX18" fmla="*/ 279217 w 297179"/>
                <a:gd name="connsiteY18" fmla="*/ 20998 h 914387"/>
                <a:gd name="connsiteX19" fmla="*/ 296480 w 297179"/>
                <a:gd name="connsiteY19" fmla="*/ 271991 h 914387"/>
                <a:gd name="connsiteX20" fmla="*/ 245660 w 297179"/>
                <a:gd name="connsiteY20" fmla="*/ 388953 h 914387"/>
                <a:gd name="connsiteX21" fmla="*/ 224518 w 297179"/>
                <a:gd name="connsiteY21" fmla="*/ 403695 h 914387"/>
                <a:gd name="connsiteX22" fmla="*/ 185337 w 297179"/>
                <a:gd name="connsiteY22" fmla="*/ 477984 h 914387"/>
                <a:gd name="connsiteX23" fmla="*/ 222384 w 297179"/>
                <a:gd name="connsiteY23" fmla="*/ 855637 h 914387"/>
                <a:gd name="connsiteX24" fmla="*/ 172535 w 297179"/>
                <a:gd name="connsiteY24" fmla="*/ 914216 h 914387"/>
                <a:gd name="connsiteX25" fmla="*/ 115315 w 297179"/>
                <a:gd name="connsiteY25" fmla="*/ 914216 h 914387"/>
                <a:gd name="connsiteX26" fmla="*/ 73806 w 297179"/>
                <a:gd name="connsiteY26" fmla="*/ 865918 h 914387"/>
                <a:gd name="connsiteX27" fmla="*/ 105228 w 297179"/>
                <a:gd name="connsiteY27" fmla="*/ 668265 h 914387"/>
                <a:gd name="connsiteX28" fmla="*/ 109496 w 297179"/>
                <a:gd name="connsiteY28" fmla="*/ 459557 h 914387"/>
                <a:gd name="connsiteX29" fmla="*/ 82728 w 297179"/>
                <a:gd name="connsiteY29" fmla="*/ 411259 h 914387"/>
                <a:gd name="connsiteX30" fmla="*/ 46068 w 297179"/>
                <a:gd name="connsiteY30" fmla="*/ 383716 h 914387"/>
                <a:gd name="connsiteX31" fmla="*/ 292 w 297179"/>
                <a:gd name="connsiteY31" fmla="*/ 284017 h 914387"/>
                <a:gd name="connsiteX32" fmla="*/ 16779 w 297179"/>
                <a:gd name="connsiteY32" fmla="*/ 50093 h 914387"/>
                <a:gd name="connsiteX33" fmla="*/ 37146 w 297179"/>
                <a:gd name="connsiteY33" fmla="*/ 27205 h 914387"/>
                <a:gd name="connsiteX34" fmla="*/ 64495 w 297179"/>
                <a:gd name="connsiteY34" fmla="*/ 52420 h 914387"/>
                <a:gd name="connsiteX35" fmla="*/ 66047 w 297179"/>
                <a:gd name="connsiteY35" fmla="*/ 204102 h 914387"/>
                <a:gd name="connsiteX36" fmla="*/ 76521 w 297179"/>
                <a:gd name="connsiteY36" fmla="*/ 250073 h 91438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97179" h="914387">
                  <a:moveTo>
                    <a:pt x="76327" y="250461"/>
                  </a:moveTo>
                  <a:cubicBezTo>
                    <a:pt x="90099" y="238823"/>
                    <a:pt x="86801" y="225633"/>
                    <a:pt x="87189" y="213801"/>
                  </a:cubicBezTo>
                  <a:cubicBezTo>
                    <a:pt x="88935" y="161430"/>
                    <a:pt x="90099" y="109059"/>
                    <a:pt x="91651" y="56494"/>
                  </a:cubicBezTo>
                  <a:cubicBezTo>
                    <a:pt x="92039" y="45050"/>
                    <a:pt x="91651" y="32830"/>
                    <a:pt x="107168" y="30114"/>
                  </a:cubicBezTo>
                  <a:cubicBezTo>
                    <a:pt x="127922" y="26817"/>
                    <a:pt x="133935" y="37291"/>
                    <a:pt x="134323" y="56106"/>
                  </a:cubicBezTo>
                  <a:cubicBezTo>
                    <a:pt x="135487" y="109447"/>
                    <a:pt x="137233" y="162788"/>
                    <a:pt x="139366" y="216128"/>
                  </a:cubicBezTo>
                  <a:cubicBezTo>
                    <a:pt x="139754" y="226603"/>
                    <a:pt x="135487" y="239210"/>
                    <a:pt x="149065" y="248133"/>
                  </a:cubicBezTo>
                  <a:cubicBezTo>
                    <a:pt x="160121" y="236495"/>
                    <a:pt x="159539" y="222141"/>
                    <a:pt x="159733" y="208176"/>
                  </a:cubicBezTo>
                  <a:cubicBezTo>
                    <a:pt x="160315" y="160460"/>
                    <a:pt x="160703" y="112744"/>
                    <a:pt x="161091" y="65028"/>
                  </a:cubicBezTo>
                  <a:cubicBezTo>
                    <a:pt x="161091" y="57463"/>
                    <a:pt x="161479" y="49705"/>
                    <a:pt x="161867" y="42140"/>
                  </a:cubicBezTo>
                  <a:cubicBezTo>
                    <a:pt x="162643" y="24101"/>
                    <a:pt x="175832" y="20804"/>
                    <a:pt x="189798" y="20416"/>
                  </a:cubicBezTo>
                  <a:cubicBezTo>
                    <a:pt x="205509" y="19834"/>
                    <a:pt x="204927" y="33218"/>
                    <a:pt x="205121" y="42916"/>
                  </a:cubicBezTo>
                  <a:cubicBezTo>
                    <a:pt x="206673" y="100136"/>
                    <a:pt x="207255" y="157356"/>
                    <a:pt x="208613" y="214577"/>
                  </a:cubicBezTo>
                  <a:cubicBezTo>
                    <a:pt x="209001" y="226021"/>
                    <a:pt x="204733" y="245805"/>
                    <a:pt x="218699" y="245805"/>
                  </a:cubicBezTo>
                  <a:cubicBezTo>
                    <a:pt x="233440" y="245805"/>
                    <a:pt x="228591" y="226215"/>
                    <a:pt x="229173" y="214965"/>
                  </a:cubicBezTo>
                  <a:cubicBezTo>
                    <a:pt x="231501" y="155805"/>
                    <a:pt x="232859" y="96839"/>
                    <a:pt x="234604" y="37679"/>
                  </a:cubicBezTo>
                  <a:cubicBezTo>
                    <a:pt x="234604" y="32054"/>
                    <a:pt x="234604" y="26041"/>
                    <a:pt x="235574" y="20610"/>
                  </a:cubicBezTo>
                  <a:cubicBezTo>
                    <a:pt x="238872" y="3929"/>
                    <a:pt x="252837" y="1019"/>
                    <a:pt x="266027" y="49"/>
                  </a:cubicBezTo>
                  <a:cubicBezTo>
                    <a:pt x="280574" y="-921"/>
                    <a:pt x="278635" y="12657"/>
                    <a:pt x="279217" y="20998"/>
                  </a:cubicBezTo>
                  <a:cubicBezTo>
                    <a:pt x="285036" y="104597"/>
                    <a:pt x="288915" y="188585"/>
                    <a:pt x="296480" y="271991"/>
                  </a:cubicBezTo>
                  <a:cubicBezTo>
                    <a:pt x="300941" y="321840"/>
                    <a:pt x="284066" y="359470"/>
                    <a:pt x="245660" y="388953"/>
                  </a:cubicBezTo>
                  <a:cubicBezTo>
                    <a:pt x="238872" y="394190"/>
                    <a:pt x="231695" y="399039"/>
                    <a:pt x="224518" y="403695"/>
                  </a:cubicBezTo>
                  <a:cubicBezTo>
                    <a:pt x="197363" y="421151"/>
                    <a:pt x="186694" y="445397"/>
                    <a:pt x="185337" y="477984"/>
                  </a:cubicBezTo>
                  <a:cubicBezTo>
                    <a:pt x="179906" y="605808"/>
                    <a:pt x="198332" y="730917"/>
                    <a:pt x="222384" y="855637"/>
                  </a:cubicBezTo>
                  <a:cubicBezTo>
                    <a:pt x="231307" y="901995"/>
                    <a:pt x="220445" y="914022"/>
                    <a:pt x="172535" y="914216"/>
                  </a:cubicBezTo>
                  <a:cubicBezTo>
                    <a:pt x="153526" y="914216"/>
                    <a:pt x="134323" y="914603"/>
                    <a:pt x="115315" y="914216"/>
                  </a:cubicBezTo>
                  <a:cubicBezTo>
                    <a:pt x="80207" y="913440"/>
                    <a:pt x="68569" y="900444"/>
                    <a:pt x="73806" y="865918"/>
                  </a:cubicBezTo>
                  <a:cubicBezTo>
                    <a:pt x="83892" y="799969"/>
                    <a:pt x="96112" y="734408"/>
                    <a:pt x="105228" y="668265"/>
                  </a:cubicBezTo>
                  <a:cubicBezTo>
                    <a:pt x="114733" y="599019"/>
                    <a:pt x="109883" y="529191"/>
                    <a:pt x="109496" y="459557"/>
                  </a:cubicBezTo>
                  <a:cubicBezTo>
                    <a:pt x="109496" y="439578"/>
                    <a:pt x="99603" y="423091"/>
                    <a:pt x="82728" y="411259"/>
                  </a:cubicBezTo>
                  <a:cubicBezTo>
                    <a:pt x="70314" y="402531"/>
                    <a:pt x="58094" y="393220"/>
                    <a:pt x="46068" y="383716"/>
                  </a:cubicBezTo>
                  <a:cubicBezTo>
                    <a:pt x="13870" y="358306"/>
                    <a:pt x="-2423" y="325332"/>
                    <a:pt x="292" y="284017"/>
                  </a:cubicBezTo>
                  <a:cubicBezTo>
                    <a:pt x="5529" y="206042"/>
                    <a:pt x="11348" y="128067"/>
                    <a:pt x="16779" y="50093"/>
                  </a:cubicBezTo>
                  <a:cubicBezTo>
                    <a:pt x="17749" y="36903"/>
                    <a:pt x="18137" y="25265"/>
                    <a:pt x="37146" y="27205"/>
                  </a:cubicBezTo>
                  <a:cubicBezTo>
                    <a:pt x="53633" y="28950"/>
                    <a:pt x="64301" y="33412"/>
                    <a:pt x="64495" y="52420"/>
                  </a:cubicBezTo>
                  <a:cubicBezTo>
                    <a:pt x="64495" y="103046"/>
                    <a:pt x="65465" y="153477"/>
                    <a:pt x="66047" y="204102"/>
                  </a:cubicBezTo>
                  <a:cubicBezTo>
                    <a:pt x="66047" y="219038"/>
                    <a:pt x="65465" y="234361"/>
                    <a:pt x="76521" y="250073"/>
                  </a:cubicBezTo>
                  <a:close/>
                </a:path>
              </a:pathLst>
            </a:custGeom>
            <a:solidFill>
              <a:schemeClr val="bg1">
                <a:lumMod val="65000"/>
              </a:schemeClr>
            </a:solidFill>
            <a:ln w="19266" cap="flat">
              <a:noFill/>
              <a:prstDash val="solid"/>
              <a:miter/>
            </a:ln>
          </p:spPr>
          <p:txBody>
            <a:bodyPr rtlCol="0" anchor="ctr"/>
            <a:lstStyle/>
            <a:p>
              <a:endParaRPr lang="es-PE"/>
            </a:p>
          </p:txBody>
        </p:sp>
      </p:grpSp>
      <p:pic>
        <p:nvPicPr>
          <p:cNvPr id="30" name="Imagen 29">
            <a:extLst>
              <a:ext uri="{FF2B5EF4-FFF2-40B4-BE49-F238E27FC236}">
                <a16:creationId xmlns:a16="http://schemas.microsoft.com/office/drawing/2014/main" id="{CE84146F-AB54-4CA3-62F4-027465E8979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03427" y="3466956"/>
            <a:ext cx="2092092" cy="3436710"/>
          </a:xfrm>
          <a:prstGeom prst="rect">
            <a:avLst/>
          </a:prstGeom>
        </p:spPr>
      </p:pic>
    </p:spTree>
    <p:extLst>
      <p:ext uri="{BB962C8B-B14F-4D97-AF65-F5344CB8AC3E}">
        <p14:creationId xmlns:p14="http://schemas.microsoft.com/office/powerpoint/2010/main" val="3526611794"/>
      </p:ext>
    </p:extLst>
  </p:cSld>
  <p:clrMapOvr>
    <a:masterClrMapping/>
  </p:clrMapOvr>
  <p:transition/>
  <p:timing/>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YDQDplMbAZPZmukVBHQ6EQ"/>
</p:tagLst>
</file>

<file path=ppt/tags/tag3.xml><?xml version="1.0" encoding="utf-8"?>
<p:tagLst xmlns:p="http://schemas.openxmlformats.org/presentationml/2006/main">
  <p:tag name="AS_NET" val="4.0.30319.42000"/>
  <p:tag name="AS_OS" val="Microsoft Windows NT 10.0.14393.0"/>
  <p:tag name="AS_RELEASE_DATE" val="2019.12.14"/>
  <p:tag name="AS_TITLE" val="Aspose.Slides for .NET 4.0 Client Profile"/>
  <p:tag name="AS_VERSION" val="19.12"/>
  <p:tag name="THINKCELLUNDODONOTDELETE" val="0"/>
</p:tagLst>
</file>

<file path=ppt/theme/theme1.xml><?xml version="1.0" encoding="utf-8"?>
<a:theme xmlns:r="http://schemas.openxmlformats.org/officeDocument/2006/relationships" xmlns:a="http://schemas.openxmlformats.org/drawingml/2006/main" name="Office Theme">
  <a:themeElements>
    <a:clrScheme name="Deloitte">
      <a:dk1>
        <a:srgbClr val="000000"/>
      </a:dk1>
      <a:lt1>
        <a:srgbClr val="FFFFFF"/>
      </a:lt1>
      <a:dk2>
        <a:srgbClr val="44546A"/>
      </a:dk2>
      <a:lt2>
        <a:srgbClr val="E7E6E6"/>
      </a:lt2>
      <a:accent1>
        <a:srgbClr val="000000"/>
      </a:accent1>
      <a:accent2>
        <a:srgbClr val="85BB24"/>
      </a:accent2>
      <a:accent3>
        <a:srgbClr val="D8D9D8"/>
      </a:accent3>
      <a:accent4>
        <a:srgbClr val="FEFFFE"/>
      </a:accent4>
      <a:accent5>
        <a:srgbClr val="FEFFFE"/>
      </a:accent5>
      <a:accent6>
        <a:srgbClr val="FEFFFE"/>
      </a:accent6>
      <a:hlink>
        <a:srgbClr val="85BB24"/>
      </a:hlink>
      <a:folHlink>
        <a:srgbClr val="85BB24"/>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vt="http://schemas.openxmlformats.org/officeDocument/2006/docPropsVTypes" xmlns="http://schemas.openxmlformats.org/officeDocument/2006/extended-properties">
  <Manager>slidesppt.net</Manager>
  <Company/>
  <PresentationFormat>Panorámica</PresentationFormat>
  <Paragraphs>224</Paragraphs>
  <Slides>24</Slides>
  <Notes>13</Notes>
  <TotalTime>2329</TotalTime>
  <HiddenSlides>0</HiddenSlides>
  <MMClips>0</MMClips>
  <ScaleCrop>0</ScaleCrop>
  <HeadingPairs>
    <vt:vector baseType="variant" size="6">
      <vt:variant>
        <vt:lpstr>Fonts used</vt:lpstr>
      </vt:variant>
      <vt:variant>
        <vt:i4>18</vt:i4>
      </vt:variant>
      <vt:variant>
        <vt:lpstr>Theme</vt:lpstr>
      </vt:variant>
      <vt:variant>
        <vt:i4>1</vt:i4>
      </vt:variant>
      <vt:variant>
        <vt:lpstr>Slide Titles</vt:lpstr>
      </vt:variant>
      <vt:variant>
        <vt:i4>24</vt:i4>
      </vt:variant>
    </vt:vector>
  </HeadingPairs>
  <TitlesOfParts>
    <vt:vector baseType="lpstr" size="43">
      <vt:lpstr>Arial</vt:lpstr>
      <vt:lpstr>Calibri Light</vt:lpstr>
      <vt:lpstr>Calibri</vt:lpstr>
      <vt:lpstr>Segoe UI</vt:lpstr>
      <vt:lpstr>Segoe UI Light</vt:lpstr>
      <vt:lpstr>FZShuTi</vt:lpstr>
      <vt:lpstr>Raleway</vt:lpstr>
      <vt:lpstr>Georgia</vt:lpstr>
      <vt:lpstr>Roboto</vt:lpstr>
      <vt:lpstr>DM Sans</vt:lpstr>
      <vt:lpstr>Arial (Títulos)</vt:lpstr>
      <vt:lpstr>Rubik</vt:lpstr>
      <vt:lpstr>Source Sans Pro</vt:lpstr>
      <vt:lpstr>Montserrat</vt:lpstr>
      <vt:lpstr>Assistant Light</vt:lpstr>
      <vt:lpstr>Kanit Light</vt:lpstr>
      <vt:lpstr>Barlow</vt:lpstr>
      <vt:lpstr>Bahnschrift</vt:lpstr>
      <vt:lpstr>Office Theme</vt:lpstr>
      <vt:lpstr>PowerPoint Presentation</vt:lpstr>
      <vt:lpstr>PowerPoint Presentation</vt:lpstr>
      <vt:lpstr>PowerPoint Presentation</vt:lpstr>
      <vt:lpstr>PowerPoint Presentation</vt:lpstr>
      <vt:lpstr>PowerPoint Presentation</vt:lpstr>
      <vt:lpstr>What eat in Bahamas Count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0</LinksUpToDate>
  <SharedDoc>0</SharedDoc>
  <HyperlinksChanged>0</HyperlinksChanged>
  <Application>Aspose.Slides for .NET</Application>
  <AppVersion>19.1200</AppVersion>
</Properties>
</file>

<file path=docProps/core.xml><?xml version="1.0" encoding="utf-8"?>
<cp:coreProperties xmlns:dc="http://purl.org/dc/elements/1.1/" xmlns:dcterms="http://purl.org/dc/terms/" xmlns:dcmitype="http://purl.org/dc/dcmitype/" xmlns:xsi="http://www.w3.org/2001/XMLSchema-instance" xmlns:cp="http://schemas.openxmlformats.org/package/2006/metadata/core-properties">
  <dc:title>Presentacion de gastronomia de Bahamas</dc:title>
  <cp:category>slidesppt.net</cp:category>
  <dc:creator>slidesppt.net</dc:creator>
  <cp:lastModifiedBy>Franklin</cp:lastModifiedBy>
  <cp:revision>218</cp:revision>
  <dcterms:created xsi:type="dcterms:W3CDTF">2019-08-16T12:08:31Z</dcterms:created>
  <dcterms:modified xsi:type="dcterms:W3CDTF">2024-04-25T17:28:18Z</dcterms:modified>
</cp:coreProperties>
</file>